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tags/tag319.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0.xml" ContentType="application/vnd.openxmlformats-officedocument.them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927" r:id="rId1"/>
    <p:sldMasterId id="2147483939" r:id="rId2"/>
    <p:sldMasterId id="2147483946" r:id="rId3"/>
    <p:sldMasterId id="2147483982" r:id="rId4"/>
    <p:sldMasterId id="2147484001" r:id="rId5"/>
    <p:sldMasterId id="2147484013" r:id="rId6"/>
    <p:sldMasterId id="2147484026" r:id="rId7"/>
    <p:sldMasterId id="2147484030" r:id="rId8"/>
    <p:sldMasterId id="2147484061" r:id="rId9"/>
    <p:sldMasterId id="2147484090" r:id="rId10"/>
  </p:sldMasterIdLst>
  <p:notesMasterIdLst>
    <p:notesMasterId r:id="rId39"/>
  </p:notesMasterIdLst>
  <p:handoutMasterIdLst>
    <p:handoutMasterId r:id="rId40"/>
  </p:handoutMasterIdLst>
  <p:sldIdLst>
    <p:sldId id="396" r:id="rId11"/>
    <p:sldId id="395" r:id="rId12"/>
    <p:sldId id="367" r:id="rId13"/>
    <p:sldId id="368" r:id="rId14"/>
    <p:sldId id="369" r:id="rId15"/>
    <p:sldId id="370" r:id="rId16"/>
    <p:sldId id="371" r:id="rId17"/>
    <p:sldId id="372" r:id="rId18"/>
    <p:sldId id="373" r:id="rId19"/>
    <p:sldId id="366" r:id="rId20"/>
    <p:sldId id="378" r:id="rId21"/>
    <p:sldId id="379" r:id="rId22"/>
    <p:sldId id="380" r:id="rId23"/>
    <p:sldId id="381" r:id="rId24"/>
    <p:sldId id="382" r:id="rId25"/>
    <p:sldId id="394" r:id="rId26"/>
    <p:sldId id="385" r:id="rId27"/>
    <p:sldId id="383" r:id="rId28"/>
    <p:sldId id="386" r:id="rId29"/>
    <p:sldId id="387" r:id="rId30"/>
    <p:sldId id="388" r:id="rId31"/>
    <p:sldId id="389" r:id="rId32"/>
    <p:sldId id="384" r:id="rId33"/>
    <p:sldId id="390" r:id="rId34"/>
    <p:sldId id="391" r:id="rId35"/>
    <p:sldId id="392" r:id="rId36"/>
    <p:sldId id="393" r:id="rId37"/>
    <p:sldId id="397" r:id="rId38"/>
  </p:sldIdLst>
  <p:sldSz cx="9906000" cy="6858000" type="A4"/>
  <p:notesSz cx="6797675" cy="9874250"/>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E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60" autoAdjust="0"/>
    <p:restoredTop sz="99488" autoAdjust="0"/>
  </p:normalViewPr>
  <p:slideViewPr>
    <p:cSldViewPr>
      <p:cViewPr varScale="1">
        <p:scale>
          <a:sx n="70" d="100"/>
          <a:sy n="70" d="100"/>
        </p:scale>
        <p:origin x="1112" y="60"/>
      </p:cViewPr>
      <p:guideLst>
        <p:guide orient="horz" pos="2160"/>
        <p:guide pos="312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19-04-19T15:14:21.552" idx="1">
    <p:pos x="907" y="338"/>
    <p:text>Delete</p:text>
    <p:extLst>
      <p:ext uri="{C676402C-5697-4E1C-873F-D02D1690AC5C}">
        <p15:threadingInfo xmlns:p15="http://schemas.microsoft.com/office/powerpoint/2012/main" timeZoneBias="-33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19-04-19T15:01:09.419" idx="2">
    <p:pos x="10" y="10"/>
    <p:text>Add Screenshots</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fld id="{D4F72E54-974A-4CF8-9F9D-417A9841EC29}" type="datetime1">
              <a:rPr lang="en-US" smtClean="0"/>
              <a:t>5/28/2019</a:t>
            </a:fld>
            <a:endParaRPr lang="en-IN"/>
          </a:p>
        </p:txBody>
      </p:sp>
      <p:sp>
        <p:nvSpPr>
          <p:cNvPr id="4" name="Footer Placeholder 3"/>
          <p:cNvSpPr>
            <a:spLocks noGrp="1"/>
          </p:cNvSpPr>
          <p:nvPr>
            <p:ph type="ftr" sz="quarter" idx="2"/>
          </p:nvPr>
        </p:nvSpPr>
        <p:spPr>
          <a:xfrm>
            <a:off x="0" y="9378950"/>
            <a:ext cx="2946400" cy="495300"/>
          </a:xfrm>
          <a:prstGeom prst="rect">
            <a:avLst/>
          </a:prstGeom>
        </p:spPr>
        <p:txBody>
          <a:bodyPr vert="horz" lIns="91440" tIns="45720" rIns="91440" bIns="45720" rtlCol="0" anchor="b"/>
          <a:lstStyle>
            <a:lvl1pPr algn="l">
              <a:defRPr sz="1200"/>
            </a:lvl1pPr>
          </a:lstStyle>
          <a:p>
            <a:r>
              <a:rPr lang="en-IN" smtClean="0"/>
              <a:t>abc</a:t>
            </a:r>
            <a:endParaRPr lang="en-IN"/>
          </a:p>
        </p:txBody>
      </p:sp>
      <p:sp>
        <p:nvSpPr>
          <p:cNvPr id="5" name="Slide Number Placeholder 4"/>
          <p:cNvSpPr>
            <a:spLocks noGrp="1"/>
          </p:cNvSpPr>
          <p:nvPr>
            <p:ph type="sldNum" sz="quarter" idx="3"/>
          </p:nvPr>
        </p:nvSpPr>
        <p:spPr>
          <a:xfrm>
            <a:off x="3849688" y="9378950"/>
            <a:ext cx="2946400" cy="495300"/>
          </a:xfrm>
          <a:prstGeom prst="rect">
            <a:avLst/>
          </a:prstGeom>
        </p:spPr>
        <p:txBody>
          <a:bodyPr vert="horz" lIns="91440" tIns="45720" rIns="91440" bIns="45720" rtlCol="0" anchor="b"/>
          <a:lstStyle>
            <a:lvl1pPr algn="r">
              <a:defRPr sz="1200"/>
            </a:lvl1pPr>
          </a:lstStyle>
          <a:p>
            <a:fld id="{9AD2BC5E-C005-4059-9700-FFB9F5ABDC4A}" type="slidenum">
              <a:rPr lang="en-IN" smtClean="0"/>
              <a:t>‹#›</a:t>
            </a:fld>
            <a:endParaRPr lang="en-IN"/>
          </a:p>
        </p:txBody>
      </p:sp>
    </p:spTree>
    <p:extLst>
      <p:ext uri="{BB962C8B-B14F-4D97-AF65-F5344CB8AC3E}">
        <p14:creationId xmlns:p14="http://schemas.microsoft.com/office/powerpoint/2010/main" val="179662381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1440" tIns="45720" rIns="91440" bIns="45720" rtlCol="0"/>
          <a:lstStyle>
            <a:lvl1pPr algn="r">
              <a:defRPr sz="1200"/>
            </a:lvl1pPr>
          </a:lstStyle>
          <a:p>
            <a:fld id="{B6CB7BED-5AB9-4022-8A15-447B9350D891}" type="datetime1">
              <a:rPr lang="en-US" smtClean="0"/>
              <a:t>5/28/2019</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691063"/>
            <a:ext cx="5438775" cy="444341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950"/>
            <a:ext cx="2946400" cy="493713"/>
          </a:xfrm>
          <a:prstGeom prst="rect">
            <a:avLst/>
          </a:prstGeom>
        </p:spPr>
        <p:txBody>
          <a:bodyPr vert="horz" lIns="91440" tIns="45720" rIns="91440" bIns="45720" rtlCol="0" anchor="b"/>
          <a:lstStyle>
            <a:lvl1pPr algn="l">
              <a:defRPr sz="1200"/>
            </a:lvl1pPr>
          </a:lstStyle>
          <a:p>
            <a:r>
              <a:rPr lang="en-US" smtClean="0"/>
              <a:t>abc</a:t>
            </a: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1440" tIns="45720" rIns="91440" bIns="45720" rtlCol="0" anchor="b"/>
          <a:lstStyle>
            <a:lvl1pPr algn="r">
              <a:defRPr sz="1200"/>
            </a:lvl1pPr>
          </a:lstStyle>
          <a:p>
            <a:fld id="{376A586E-693F-4689-8EF6-2B20F8F65E16}" type="slidenum">
              <a:rPr lang="en-US" smtClean="0"/>
              <a:pPr/>
              <a:t>‹#›</a:t>
            </a:fld>
            <a:endParaRPr lang="en-US"/>
          </a:p>
        </p:txBody>
      </p:sp>
    </p:spTree>
    <p:extLst>
      <p:ext uri="{BB962C8B-B14F-4D97-AF65-F5344CB8AC3E}">
        <p14:creationId xmlns:p14="http://schemas.microsoft.com/office/powerpoint/2010/main" val="252187058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18593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420587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525820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1979425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205176889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4.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image" Target="../media/image3.jpeg"/><Relationship Id="rId4" Type="http://schemas.openxmlformats.org/officeDocument/2006/relationships/tags" Target="../tags/tag11.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26.png"/><Relationship Id="rId1" Type="http://schemas.openxmlformats.org/officeDocument/2006/relationships/slideMaster" Target="../slideMasters/slideMaster9.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hyperlink" Target="https://www.capgemini.com/optimize-your-business-and-it-operations" TargetMode="External"/></Relationships>
</file>

<file path=ppt/slideLayouts/_rels/slideLayout10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image" Target="../media/image5.png"/><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1.emf"/><Relationship Id="rId2" Type="http://schemas.openxmlformats.org/officeDocument/2006/relationships/tags" Target="../tags/tag320.xml"/><Relationship Id="rId1" Type="http://schemas.openxmlformats.org/officeDocument/2006/relationships/vmlDrawing" Target="../drawings/vmlDrawing51.vml"/><Relationship Id="rId6" Type="http://schemas.openxmlformats.org/officeDocument/2006/relationships/tags" Target="../tags/tag324.xml"/><Relationship Id="rId11" Type="http://schemas.openxmlformats.org/officeDocument/2006/relationships/oleObject" Target="../embeddings/oleObject63.bin"/><Relationship Id="rId5" Type="http://schemas.openxmlformats.org/officeDocument/2006/relationships/tags" Target="../tags/tag323.xml"/><Relationship Id="rId10" Type="http://schemas.openxmlformats.org/officeDocument/2006/relationships/image" Target="../media/image6.jpeg"/><Relationship Id="rId4" Type="http://schemas.openxmlformats.org/officeDocument/2006/relationships/tags" Target="../tags/tag322.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328.xml"/><Relationship Id="rId7" Type="http://schemas.openxmlformats.org/officeDocument/2006/relationships/image" Target="../media/image7.jpeg"/><Relationship Id="rId2" Type="http://schemas.openxmlformats.org/officeDocument/2006/relationships/tags" Target="../tags/tag327.xml"/><Relationship Id="rId1" Type="http://schemas.openxmlformats.org/officeDocument/2006/relationships/vmlDrawing" Target="../drawings/vmlDrawing52.vml"/><Relationship Id="rId6" Type="http://schemas.openxmlformats.org/officeDocument/2006/relationships/slideMaster" Target="../slideMasters/slideMaster9.xml"/><Relationship Id="rId5" Type="http://schemas.openxmlformats.org/officeDocument/2006/relationships/tags" Target="../tags/tag330.xml"/><Relationship Id="rId4" Type="http://schemas.openxmlformats.org/officeDocument/2006/relationships/tags" Target="../tags/tag329.xml"/><Relationship Id="rId9"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32.xml"/><Relationship Id="rId7" Type="http://schemas.openxmlformats.org/officeDocument/2006/relationships/image" Target="../media/image1.emf"/><Relationship Id="rId2" Type="http://schemas.openxmlformats.org/officeDocument/2006/relationships/tags" Target="../tags/tag331.xml"/><Relationship Id="rId1" Type="http://schemas.openxmlformats.org/officeDocument/2006/relationships/vmlDrawing" Target="../drawings/vmlDrawing53.vml"/><Relationship Id="rId6" Type="http://schemas.openxmlformats.org/officeDocument/2006/relationships/oleObject" Target="../embeddings/oleObject65.bin"/><Relationship Id="rId5" Type="http://schemas.openxmlformats.org/officeDocument/2006/relationships/slideMaster" Target="../slideMasters/slideMaster9.xml"/><Relationship Id="rId4" Type="http://schemas.openxmlformats.org/officeDocument/2006/relationships/tags" Target="../tags/tag33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5.xml"/><Relationship Id="rId7" Type="http://schemas.openxmlformats.org/officeDocument/2006/relationships/oleObject" Target="../embeddings/oleObject66.bin"/><Relationship Id="rId2" Type="http://schemas.openxmlformats.org/officeDocument/2006/relationships/tags" Target="../tags/tag334.xml"/><Relationship Id="rId1" Type="http://schemas.openxmlformats.org/officeDocument/2006/relationships/vmlDrawing" Target="../drawings/vmlDrawing54.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33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8.xml"/><Relationship Id="rId1" Type="http://schemas.openxmlformats.org/officeDocument/2006/relationships/vmlDrawing" Target="../drawings/vmlDrawing56.vml"/><Relationship Id="rId5" Type="http://schemas.openxmlformats.org/officeDocument/2006/relationships/image" Target="../media/image27.emf"/><Relationship Id="rId4" Type="http://schemas.openxmlformats.org/officeDocument/2006/relationships/oleObject" Target="../embeddings/oleObject68.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9.xml"/><Relationship Id="rId1" Type="http://schemas.openxmlformats.org/officeDocument/2006/relationships/vmlDrawing" Target="../drawings/vmlDrawing57.vml"/><Relationship Id="rId5" Type="http://schemas.openxmlformats.org/officeDocument/2006/relationships/image" Target="../media/image27.emf"/><Relationship Id="rId4" Type="http://schemas.openxmlformats.org/officeDocument/2006/relationships/oleObject" Target="../embeddings/oleObject69.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0.xml"/><Relationship Id="rId1" Type="http://schemas.openxmlformats.org/officeDocument/2006/relationships/vmlDrawing" Target="../drawings/vmlDrawing58.vml"/><Relationship Id="rId5" Type="http://schemas.openxmlformats.org/officeDocument/2006/relationships/image" Target="../media/image27.emf"/><Relationship Id="rId4" Type="http://schemas.openxmlformats.org/officeDocument/2006/relationships/oleObject" Target="../embeddings/oleObject70.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7.svg"/><Relationship Id="rId2" Type="http://schemas.openxmlformats.org/officeDocument/2006/relationships/tags" Target="../tags/tag341.xml"/><Relationship Id="rId1" Type="http://schemas.openxmlformats.org/officeDocument/2006/relationships/vmlDrawing" Target="../drawings/vmlDrawing59.vml"/><Relationship Id="rId6" Type="http://schemas.openxmlformats.org/officeDocument/2006/relationships/image" Target="../media/image29.png"/><Relationship Id="rId5" Type="http://schemas.openxmlformats.org/officeDocument/2006/relationships/image" Target="../media/image27.emf"/><Relationship Id="rId4" Type="http://schemas.openxmlformats.org/officeDocument/2006/relationships/oleObject" Target="../embeddings/oleObject71.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2.xml"/><Relationship Id="rId1" Type="http://schemas.openxmlformats.org/officeDocument/2006/relationships/vmlDrawing" Target="../drawings/vmlDrawing60.vml"/><Relationship Id="rId5" Type="http://schemas.openxmlformats.org/officeDocument/2006/relationships/image" Target="../media/image27.emf"/><Relationship Id="rId4" Type="http://schemas.openxmlformats.org/officeDocument/2006/relationships/oleObject" Target="../embeddings/oleObject7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3.xml"/><Relationship Id="rId1" Type="http://schemas.openxmlformats.org/officeDocument/2006/relationships/vmlDrawing" Target="../drawings/vmlDrawing61.vml"/><Relationship Id="rId5" Type="http://schemas.openxmlformats.org/officeDocument/2006/relationships/image" Target="../media/image27.emf"/><Relationship Id="rId4" Type="http://schemas.openxmlformats.org/officeDocument/2006/relationships/oleObject" Target="../embeddings/oleObject7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4.xml"/><Relationship Id="rId1" Type="http://schemas.openxmlformats.org/officeDocument/2006/relationships/vmlDrawing" Target="../drawings/vmlDrawing62.vml"/><Relationship Id="rId5" Type="http://schemas.openxmlformats.org/officeDocument/2006/relationships/image" Target="../media/image27.emf"/><Relationship Id="rId4" Type="http://schemas.openxmlformats.org/officeDocument/2006/relationships/oleObject" Target="../embeddings/oleObject74.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5.xml"/><Relationship Id="rId1" Type="http://schemas.openxmlformats.org/officeDocument/2006/relationships/vmlDrawing" Target="../drawings/vmlDrawing63.vml"/><Relationship Id="rId5" Type="http://schemas.openxmlformats.org/officeDocument/2006/relationships/image" Target="../media/image27.emf"/><Relationship Id="rId4" Type="http://schemas.openxmlformats.org/officeDocument/2006/relationships/oleObject" Target="../embeddings/oleObject7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6.xml"/><Relationship Id="rId1" Type="http://schemas.openxmlformats.org/officeDocument/2006/relationships/vmlDrawing" Target="../drawings/vmlDrawing64.vml"/><Relationship Id="rId5" Type="http://schemas.openxmlformats.org/officeDocument/2006/relationships/image" Target="../media/image27.emf"/><Relationship Id="rId4" Type="http://schemas.openxmlformats.org/officeDocument/2006/relationships/oleObject" Target="../embeddings/oleObject76.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7.xml"/><Relationship Id="rId1" Type="http://schemas.openxmlformats.org/officeDocument/2006/relationships/vmlDrawing" Target="../drawings/vmlDrawing65.vml"/><Relationship Id="rId5" Type="http://schemas.openxmlformats.org/officeDocument/2006/relationships/image" Target="../media/image27.emf"/><Relationship Id="rId4" Type="http://schemas.openxmlformats.org/officeDocument/2006/relationships/oleObject" Target="../embeddings/oleObject7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8.xml"/><Relationship Id="rId1" Type="http://schemas.openxmlformats.org/officeDocument/2006/relationships/vmlDrawing" Target="../drawings/vmlDrawing66.vml"/><Relationship Id="rId5" Type="http://schemas.openxmlformats.org/officeDocument/2006/relationships/image" Target="../media/image27.emf"/><Relationship Id="rId4" Type="http://schemas.openxmlformats.org/officeDocument/2006/relationships/oleObject" Target="../embeddings/oleObject78.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9.xml"/><Relationship Id="rId1" Type="http://schemas.openxmlformats.org/officeDocument/2006/relationships/vmlDrawing" Target="../drawings/vmlDrawing67.vml"/><Relationship Id="rId5" Type="http://schemas.openxmlformats.org/officeDocument/2006/relationships/image" Target="../media/image27.emf"/><Relationship Id="rId4" Type="http://schemas.openxmlformats.org/officeDocument/2006/relationships/oleObject" Target="../embeddings/oleObject79.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0.xml"/><Relationship Id="rId1" Type="http://schemas.openxmlformats.org/officeDocument/2006/relationships/vmlDrawing" Target="../drawings/vmlDrawing68.vml"/><Relationship Id="rId5" Type="http://schemas.openxmlformats.org/officeDocument/2006/relationships/image" Target="../media/image27.emf"/><Relationship Id="rId4" Type="http://schemas.openxmlformats.org/officeDocument/2006/relationships/oleObject" Target="../embeddings/oleObject80.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1.xml"/><Relationship Id="rId1" Type="http://schemas.openxmlformats.org/officeDocument/2006/relationships/vmlDrawing" Target="../drawings/vmlDrawing69.vml"/><Relationship Id="rId5" Type="http://schemas.openxmlformats.org/officeDocument/2006/relationships/image" Target="../media/image27.emf"/><Relationship Id="rId4" Type="http://schemas.openxmlformats.org/officeDocument/2006/relationships/oleObject" Target="../embeddings/oleObject81.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2.xml"/><Relationship Id="rId1" Type="http://schemas.openxmlformats.org/officeDocument/2006/relationships/vmlDrawing" Target="../drawings/vmlDrawing70.vml"/><Relationship Id="rId5" Type="http://schemas.openxmlformats.org/officeDocument/2006/relationships/image" Target="../media/image27.emf"/><Relationship Id="rId4" Type="http://schemas.openxmlformats.org/officeDocument/2006/relationships/oleObject" Target="../embeddings/oleObject8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3.xml"/><Relationship Id="rId1" Type="http://schemas.openxmlformats.org/officeDocument/2006/relationships/vmlDrawing" Target="../drawings/vmlDrawing71.vml"/><Relationship Id="rId5" Type="http://schemas.openxmlformats.org/officeDocument/2006/relationships/image" Target="../media/image27.emf"/><Relationship Id="rId4" Type="http://schemas.openxmlformats.org/officeDocument/2006/relationships/oleObject" Target="../embeddings/oleObject83.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2.xml"/><Relationship Id="rId7"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13.v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17.png"/><Relationship Id="rId4" Type="http://schemas.openxmlformats.org/officeDocument/2006/relationships/tags" Target="../tags/tag63.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7.png"/><Relationship Id="rId2" Type="http://schemas.openxmlformats.org/officeDocument/2006/relationships/tags" Target="../tags/tag6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10.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7.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5.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image" Target="../media/image6.jpeg"/><Relationship Id="rId4" Type="http://schemas.openxmlformats.org/officeDocument/2006/relationships/tags" Target="../tags/tag18.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4.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19.vml"/><Relationship Id="rId6" Type="http://schemas.openxmlformats.org/officeDocument/2006/relationships/tags" Target="../tags/tag88.xml"/><Relationship Id="rId11" Type="http://schemas.openxmlformats.org/officeDocument/2006/relationships/oleObject" Target="../embeddings/oleObject19.bin"/><Relationship Id="rId5" Type="http://schemas.openxmlformats.org/officeDocument/2006/relationships/tags" Target="../tags/tag87.xml"/><Relationship Id="rId10" Type="http://schemas.openxmlformats.org/officeDocument/2006/relationships/image" Target="../media/image3.jpeg"/><Relationship Id="rId4" Type="http://schemas.openxmlformats.org/officeDocument/2006/relationships/tags" Target="../tags/tag86.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5.pn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20.vml"/><Relationship Id="rId6" Type="http://schemas.openxmlformats.org/officeDocument/2006/relationships/tags" Target="../tags/tag95.xml"/><Relationship Id="rId11" Type="http://schemas.openxmlformats.org/officeDocument/2006/relationships/oleObject" Target="../embeddings/oleObject20.bin"/><Relationship Id="rId5" Type="http://schemas.openxmlformats.org/officeDocument/2006/relationships/tags" Target="../tags/tag94.xml"/><Relationship Id="rId10" Type="http://schemas.openxmlformats.org/officeDocument/2006/relationships/image" Target="../media/image6.jpeg"/><Relationship Id="rId4" Type="http://schemas.openxmlformats.org/officeDocument/2006/relationships/tags" Target="../tags/tag93.xml"/><Relationship Id="rId9" Type="http://schemas.openxmlformats.org/officeDocument/2006/relationships/slideMaster" Target="../slideMasters/slideMaster4.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99.xml"/><Relationship Id="rId7" Type="http://schemas.openxmlformats.org/officeDocument/2006/relationships/image" Target="../media/image7.jpeg"/><Relationship Id="rId2" Type="http://schemas.openxmlformats.org/officeDocument/2006/relationships/tags" Target="../tags/tag98.xml"/><Relationship Id="rId1" Type="http://schemas.openxmlformats.org/officeDocument/2006/relationships/vmlDrawing" Target="../drawings/vmlDrawing21.vml"/><Relationship Id="rId6" Type="http://schemas.openxmlformats.org/officeDocument/2006/relationships/slideMaster" Target="../slideMasters/slideMaster4.xml"/><Relationship Id="rId5" Type="http://schemas.openxmlformats.org/officeDocument/2006/relationships/tags" Target="../tags/tag101.xml"/><Relationship Id="rId4" Type="http://schemas.openxmlformats.org/officeDocument/2006/relationships/tags" Target="../tags/tag100.xml"/><Relationship Id="rId9"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104.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xml"/><Relationship Id="rId7" Type="http://schemas.openxmlformats.org/officeDocument/2006/relationships/oleObject" Target="../embeddings/oleObject23.bin"/><Relationship Id="rId2" Type="http://schemas.openxmlformats.org/officeDocument/2006/relationships/tags" Target="../tags/tag10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108.xml"/><Relationship Id="rId4" Type="http://schemas.openxmlformats.org/officeDocument/2006/relationships/tags" Target="../tags/tag107.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xml"/><Relationship Id="rId7" Type="http://schemas.openxmlformats.org/officeDocument/2006/relationships/oleObject" Target="../embeddings/oleObject24.bin"/><Relationship Id="rId2" Type="http://schemas.openxmlformats.org/officeDocument/2006/relationships/tags" Target="../tags/tag109.xml"/><Relationship Id="rId1" Type="http://schemas.openxmlformats.org/officeDocument/2006/relationships/vmlDrawing" Target="../drawings/vmlDrawing24.vml"/><Relationship Id="rId6" Type="http://schemas.openxmlformats.org/officeDocument/2006/relationships/slideMaster" Target="../slideMasters/slideMaster4.xml"/><Relationship Id="rId5" Type="http://schemas.openxmlformats.org/officeDocument/2006/relationships/tags" Target="../tags/tag112.xml"/><Relationship Id="rId4" Type="http://schemas.openxmlformats.org/officeDocument/2006/relationships/tags" Target="../tags/tag111.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vmlDrawing" Target="../drawings/vmlDrawing25.v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emf"/><Relationship Id="rId4" Type="http://schemas.openxmlformats.org/officeDocument/2006/relationships/tags" Target="../tags/tag115.xml"/><Relationship Id="rId9"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9.xml"/><Relationship Id="rId7" Type="http://schemas.openxmlformats.org/officeDocument/2006/relationships/slideMaster" Target="../slideMasters/slideMaster5.xml"/><Relationship Id="rId12" Type="http://schemas.openxmlformats.org/officeDocument/2006/relationships/image" Target="../media/image5.png"/><Relationship Id="rId2" Type="http://schemas.openxmlformats.org/officeDocument/2006/relationships/tags" Target="../tags/tag128.xml"/><Relationship Id="rId1" Type="http://schemas.openxmlformats.org/officeDocument/2006/relationships/vmlDrawing" Target="../drawings/vmlDrawing27.vml"/><Relationship Id="rId6" Type="http://schemas.openxmlformats.org/officeDocument/2006/relationships/tags" Target="../tags/tag132.xml"/><Relationship Id="rId11" Type="http://schemas.openxmlformats.org/officeDocument/2006/relationships/image" Target="../media/image4.emf"/><Relationship Id="rId5" Type="http://schemas.openxmlformats.org/officeDocument/2006/relationships/tags" Target="../tags/tag131.xml"/><Relationship Id="rId10" Type="http://schemas.openxmlformats.org/officeDocument/2006/relationships/image" Target="../media/image1.emf"/><Relationship Id="rId4" Type="http://schemas.openxmlformats.org/officeDocument/2006/relationships/tags" Target="../tags/tag130.xml"/><Relationship Id="rId9"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4.xml"/><Relationship Id="rId7" Type="http://schemas.openxmlformats.org/officeDocument/2006/relationships/slideMaster" Target="../slideMasters/slideMaster5.xml"/><Relationship Id="rId12" Type="http://schemas.openxmlformats.org/officeDocument/2006/relationships/image" Target="../media/image4.emf"/><Relationship Id="rId2" Type="http://schemas.openxmlformats.org/officeDocument/2006/relationships/tags" Target="../tags/tag133.xml"/><Relationship Id="rId1" Type="http://schemas.openxmlformats.org/officeDocument/2006/relationships/vmlDrawing" Target="../drawings/vmlDrawing28.vml"/><Relationship Id="rId6" Type="http://schemas.openxmlformats.org/officeDocument/2006/relationships/tags" Target="../tags/tag137.xml"/><Relationship Id="rId11" Type="http://schemas.openxmlformats.org/officeDocument/2006/relationships/image" Target="../media/image5.png"/><Relationship Id="rId5" Type="http://schemas.openxmlformats.org/officeDocument/2006/relationships/tags" Target="../tags/tag136.xml"/><Relationship Id="rId10" Type="http://schemas.openxmlformats.org/officeDocument/2006/relationships/image" Target="../media/image1.emf"/><Relationship Id="rId4" Type="http://schemas.openxmlformats.org/officeDocument/2006/relationships/tags" Target="../tags/tag135.xml"/><Relationship Id="rId9"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image" Target="../media/image1.emf"/><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oleObject" Target="../embeddings/oleObject29.bin"/><Relationship Id="rId2" Type="http://schemas.openxmlformats.org/officeDocument/2006/relationships/tags" Target="../tags/tag138.xml"/><Relationship Id="rId16" Type="http://schemas.openxmlformats.org/officeDocument/2006/relationships/oleObject" Target="../embeddings/oleObject30.bin"/><Relationship Id="rId1" Type="http://schemas.openxmlformats.org/officeDocument/2006/relationships/vmlDrawing" Target="../drawings/vmlDrawing29.vml"/><Relationship Id="rId6" Type="http://schemas.openxmlformats.org/officeDocument/2006/relationships/tags" Target="../tags/tag142.xml"/><Relationship Id="rId11" Type="http://schemas.openxmlformats.org/officeDocument/2006/relationships/slideMaster" Target="../slideMasters/slideMaster5.xml"/><Relationship Id="rId5" Type="http://schemas.openxmlformats.org/officeDocument/2006/relationships/tags" Target="../tags/tag141.xml"/><Relationship Id="rId15" Type="http://schemas.openxmlformats.org/officeDocument/2006/relationships/image" Target="../media/image7.jpeg"/><Relationship Id="rId10" Type="http://schemas.openxmlformats.org/officeDocument/2006/relationships/tags" Target="../tags/tag146.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2.png"/><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30.vml"/><Relationship Id="rId6" Type="http://schemas.openxmlformats.org/officeDocument/2006/relationships/tags" Target="../tags/tag151.xml"/><Relationship Id="rId11" Type="http://schemas.openxmlformats.org/officeDocument/2006/relationships/oleObject" Target="../embeddings/oleObject31.bin"/><Relationship Id="rId5" Type="http://schemas.openxmlformats.org/officeDocument/2006/relationships/tags" Target="../tags/tag150.xml"/><Relationship Id="rId10" Type="http://schemas.openxmlformats.org/officeDocument/2006/relationships/slideMaster" Target="../slideMasters/slideMaster5.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image" Target="../media/image2.png"/><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1.emf"/><Relationship Id="rId2" Type="http://schemas.openxmlformats.org/officeDocument/2006/relationships/tags" Target="../tags/tag155.xml"/><Relationship Id="rId1" Type="http://schemas.openxmlformats.org/officeDocument/2006/relationships/vmlDrawing" Target="../drawings/vmlDrawing31.vml"/><Relationship Id="rId6" Type="http://schemas.openxmlformats.org/officeDocument/2006/relationships/tags" Target="../tags/tag159.xml"/><Relationship Id="rId11" Type="http://schemas.openxmlformats.org/officeDocument/2006/relationships/oleObject" Target="../embeddings/oleObject33.bin"/><Relationship Id="rId5" Type="http://schemas.openxmlformats.org/officeDocument/2006/relationships/tags" Target="../tags/tag158.xml"/><Relationship Id="rId10" Type="http://schemas.openxmlformats.org/officeDocument/2006/relationships/slideMaster" Target="../slideMasters/slideMaster5.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2.png"/><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1.emf"/><Relationship Id="rId2" Type="http://schemas.openxmlformats.org/officeDocument/2006/relationships/tags" Target="../tags/tag163.xml"/><Relationship Id="rId1" Type="http://schemas.openxmlformats.org/officeDocument/2006/relationships/vmlDrawing" Target="../drawings/vmlDrawing32.vml"/><Relationship Id="rId6" Type="http://schemas.openxmlformats.org/officeDocument/2006/relationships/tags" Target="../tags/tag167.xml"/><Relationship Id="rId11" Type="http://schemas.openxmlformats.org/officeDocument/2006/relationships/oleObject" Target="../embeddings/oleObject35.bin"/><Relationship Id="rId5" Type="http://schemas.openxmlformats.org/officeDocument/2006/relationships/tags" Target="../tags/tag166.xml"/><Relationship Id="rId10" Type="http://schemas.openxmlformats.org/officeDocument/2006/relationships/slideMaster" Target="../slideMasters/slideMaster5.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image" Target="../media/image2.png"/><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image" Target="../media/image1.emf"/><Relationship Id="rId2" Type="http://schemas.openxmlformats.org/officeDocument/2006/relationships/tags" Target="../tags/tag171.xml"/><Relationship Id="rId1" Type="http://schemas.openxmlformats.org/officeDocument/2006/relationships/vmlDrawing" Target="../drawings/vmlDrawing33.vml"/><Relationship Id="rId6" Type="http://schemas.openxmlformats.org/officeDocument/2006/relationships/tags" Target="../tags/tag175.xml"/><Relationship Id="rId11" Type="http://schemas.openxmlformats.org/officeDocument/2006/relationships/oleObject" Target="../embeddings/oleObject37.bin"/><Relationship Id="rId5" Type="http://schemas.openxmlformats.org/officeDocument/2006/relationships/tags" Target="../tags/tag174.xml"/><Relationship Id="rId10" Type="http://schemas.openxmlformats.org/officeDocument/2006/relationships/slideMaster" Target="../slideMasters/slideMaster5.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185.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2.png"/><Relationship Id="rId2" Type="http://schemas.openxmlformats.org/officeDocument/2006/relationships/tags" Target="../tags/tag179.xml"/><Relationship Id="rId1" Type="http://schemas.openxmlformats.org/officeDocument/2006/relationships/vmlDrawing" Target="../drawings/vmlDrawing34.vml"/><Relationship Id="rId6" Type="http://schemas.openxmlformats.org/officeDocument/2006/relationships/tags" Target="../tags/tag183.xml"/><Relationship Id="rId11" Type="http://schemas.openxmlformats.org/officeDocument/2006/relationships/image" Target="../media/image1.emf"/><Relationship Id="rId5" Type="http://schemas.openxmlformats.org/officeDocument/2006/relationships/tags" Target="../tags/tag182.xml"/><Relationship Id="rId10" Type="http://schemas.openxmlformats.org/officeDocument/2006/relationships/oleObject" Target="../embeddings/oleObject39.bin"/><Relationship Id="rId4" Type="http://schemas.openxmlformats.org/officeDocument/2006/relationships/tags" Target="../tags/tag181.xml"/><Relationship Id="rId9"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2.png"/><Relationship Id="rId2" Type="http://schemas.openxmlformats.org/officeDocument/2006/relationships/tags" Target="../tags/tag186.xml"/><Relationship Id="rId1" Type="http://schemas.openxmlformats.org/officeDocument/2006/relationships/vmlDrawing" Target="../drawings/vmlDrawing35.vml"/><Relationship Id="rId6" Type="http://schemas.openxmlformats.org/officeDocument/2006/relationships/tags" Target="../tags/tag190.xml"/><Relationship Id="rId11" Type="http://schemas.openxmlformats.org/officeDocument/2006/relationships/image" Target="../media/image1.emf"/><Relationship Id="rId5" Type="http://schemas.openxmlformats.org/officeDocument/2006/relationships/tags" Target="../tags/tag189.xml"/><Relationship Id="rId10" Type="http://schemas.openxmlformats.org/officeDocument/2006/relationships/oleObject" Target="../embeddings/oleObject40.bin"/><Relationship Id="rId4" Type="http://schemas.openxmlformats.org/officeDocument/2006/relationships/tags" Target="../tags/tag188.xml"/><Relationship Id="rId9"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oleObject" Target="../embeddings/oleObject42.bin"/><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image" Target="../media/image3.jpeg"/><Relationship Id="rId2" Type="http://schemas.openxmlformats.org/officeDocument/2006/relationships/tags" Target="../tags/tag202.xml"/><Relationship Id="rId16" Type="http://schemas.openxmlformats.org/officeDocument/2006/relationships/image" Target="../media/image5.png"/><Relationship Id="rId1" Type="http://schemas.openxmlformats.org/officeDocument/2006/relationships/vmlDrawing" Target="../drawings/vmlDrawing37.vml"/><Relationship Id="rId6" Type="http://schemas.openxmlformats.org/officeDocument/2006/relationships/tags" Target="../tags/tag206.xml"/><Relationship Id="rId11" Type="http://schemas.openxmlformats.org/officeDocument/2006/relationships/slideMaster" Target="../slideMasters/slideMaster6.xml"/><Relationship Id="rId5" Type="http://schemas.openxmlformats.org/officeDocument/2006/relationships/tags" Target="../tags/tag205.xml"/><Relationship Id="rId15" Type="http://schemas.openxmlformats.org/officeDocument/2006/relationships/image" Target="../media/image4.emf"/><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oleObject" Target="../embeddings/oleObject43.bin"/><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6.jpeg"/><Relationship Id="rId2" Type="http://schemas.openxmlformats.org/officeDocument/2006/relationships/tags" Target="../tags/tag211.xml"/><Relationship Id="rId16" Type="http://schemas.openxmlformats.org/officeDocument/2006/relationships/image" Target="../media/image4.emf"/><Relationship Id="rId1" Type="http://schemas.openxmlformats.org/officeDocument/2006/relationships/vmlDrawing" Target="../drawings/vmlDrawing38.vml"/><Relationship Id="rId6" Type="http://schemas.openxmlformats.org/officeDocument/2006/relationships/tags" Target="../tags/tag215.xml"/><Relationship Id="rId11" Type="http://schemas.openxmlformats.org/officeDocument/2006/relationships/slideMaster" Target="../slideMasters/slideMaster6.xml"/><Relationship Id="rId5" Type="http://schemas.openxmlformats.org/officeDocument/2006/relationships/tags" Target="../tags/tag214.xml"/><Relationship Id="rId15" Type="http://schemas.openxmlformats.org/officeDocument/2006/relationships/image" Target="../media/image5.png"/><Relationship Id="rId10" Type="http://schemas.openxmlformats.org/officeDocument/2006/relationships/tags" Target="../tags/tag219.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oleObject" Target="../embeddings/oleObject44.bin"/><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6.xml"/><Relationship Id="rId17" Type="http://schemas.openxmlformats.org/officeDocument/2006/relationships/oleObject" Target="../embeddings/oleObject45.bin"/><Relationship Id="rId2" Type="http://schemas.openxmlformats.org/officeDocument/2006/relationships/tags" Target="../tags/tag220.xml"/><Relationship Id="rId16" Type="http://schemas.openxmlformats.org/officeDocument/2006/relationships/image" Target="../media/image7.jpeg"/><Relationship Id="rId1" Type="http://schemas.openxmlformats.org/officeDocument/2006/relationships/vmlDrawing" Target="../drawings/vmlDrawing39.v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image" Target="../media/image2.png"/><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image" Target="../media/image2.png"/><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1.emf"/><Relationship Id="rId2" Type="http://schemas.openxmlformats.org/officeDocument/2006/relationships/tags" Target="../tags/tag230.xml"/><Relationship Id="rId1" Type="http://schemas.openxmlformats.org/officeDocument/2006/relationships/vmlDrawing" Target="../drawings/vmlDrawing40.vml"/><Relationship Id="rId6" Type="http://schemas.openxmlformats.org/officeDocument/2006/relationships/tags" Target="../tags/tag234.xml"/><Relationship Id="rId11" Type="http://schemas.openxmlformats.org/officeDocument/2006/relationships/oleObject" Target="../embeddings/oleObject46.bin"/><Relationship Id="rId5" Type="http://schemas.openxmlformats.org/officeDocument/2006/relationships/tags" Target="../tags/tag233.xml"/><Relationship Id="rId10" Type="http://schemas.openxmlformats.org/officeDocument/2006/relationships/slideMaster" Target="../slideMasters/slideMaster6.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oleObject" Target="../embeddings/oleObject47.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image" Target="../media/image2.png"/><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image" Target="../media/image1.emf"/><Relationship Id="rId2" Type="http://schemas.openxmlformats.org/officeDocument/2006/relationships/tags" Target="../tags/tag238.xml"/><Relationship Id="rId1" Type="http://schemas.openxmlformats.org/officeDocument/2006/relationships/vmlDrawing" Target="../drawings/vmlDrawing41.vml"/><Relationship Id="rId6" Type="http://schemas.openxmlformats.org/officeDocument/2006/relationships/tags" Target="../tags/tag242.xml"/><Relationship Id="rId11" Type="http://schemas.openxmlformats.org/officeDocument/2006/relationships/oleObject" Target="../embeddings/oleObject48.bin"/><Relationship Id="rId5" Type="http://schemas.openxmlformats.org/officeDocument/2006/relationships/tags" Target="../tags/tag241.xml"/><Relationship Id="rId10" Type="http://schemas.openxmlformats.org/officeDocument/2006/relationships/slideMaster" Target="../slideMasters/slideMaster6.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oleObject" Target="../embeddings/oleObject49.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image" Target="../media/image2.png"/><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image" Target="../media/image1.emf"/><Relationship Id="rId2" Type="http://schemas.openxmlformats.org/officeDocument/2006/relationships/tags" Target="../tags/tag246.xml"/><Relationship Id="rId1" Type="http://schemas.openxmlformats.org/officeDocument/2006/relationships/vmlDrawing" Target="../drawings/vmlDrawing42.vml"/><Relationship Id="rId6" Type="http://schemas.openxmlformats.org/officeDocument/2006/relationships/tags" Target="../tags/tag250.xml"/><Relationship Id="rId11" Type="http://schemas.openxmlformats.org/officeDocument/2006/relationships/oleObject" Target="../embeddings/oleObject50.bin"/><Relationship Id="rId5" Type="http://schemas.openxmlformats.org/officeDocument/2006/relationships/tags" Target="../tags/tag249.xml"/><Relationship Id="rId10" Type="http://schemas.openxmlformats.org/officeDocument/2006/relationships/slideMaster" Target="../slideMasters/slideMaster6.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oleObject" Target="../embeddings/oleObject51.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image" Target="../media/image2.png"/><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image" Target="../media/image1.emf"/><Relationship Id="rId2" Type="http://schemas.openxmlformats.org/officeDocument/2006/relationships/tags" Target="../tags/tag254.xml"/><Relationship Id="rId1" Type="http://schemas.openxmlformats.org/officeDocument/2006/relationships/vmlDrawing" Target="../drawings/vmlDrawing43.vml"/><Relationship Id="rId6" Type="http://schemas.openxmlformats.org/officeDocument/2006/relationships/tags" Target="../tags/tag258.xml"/><Relationship Id="rId11" Type="http://schemas.openxmlformats.org/officeDocument/2006/relationships/oleObject" Target="../embeddings/oleObject52.bin"/><Relationship Id="rId5" Type="http://schemas.openxmlformats.org/officeDocument/2006/relationships/tags" Target="../tags/tag257.xml"/><Relationship Id="rId10" Type="http://schemas.openxmlformats.org/officeDocument/2006/relationships/slideMaster" Target="../slideMasters/slideMaster6.xml"/><Relationship Id="rId4" Type="http://schemas.openxmlformats.org/officeDocument/2006/relationships/tags" Target="../tags/tag256.xml"/><Relationship Id="rId9" Type="http://schemas.openxmlformats.org/officeDocument/2006/relationships/tags" Target="../tags/tag261.xml"/><Relationship Id="rId14" Type="http://schemas.openxmlformats.org/officeDocument/2006/relationships/oleObject" Target="../embeddings/oleObject53.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68.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2.png"/><Relationship Id="rId2" Type="http://schemas.openxmlformats.org/officeDocument/2006/relationships/tags" Target="../tags/tag262.xml"/><Relationship Id="rId1" Type="http://schemas.openxmlformats.org/officeDocument/2006/relationships/vmlDrawing" Target="../drawings/vmlDrawing44.vml"/><Relationship Id="rId6" Type="http://schemas.openxmlformats.org/officeDocument/2006/relationships/tags" Target="../tags/tag266.xml"/><Relationship Id="rId11" Type="http://schemas.openxmlformats.org/officeDocument/2006/relationships/image" Target="../media/image1.emf"/><Relationship Id="rId5" Type="http://schemas.openxmlformats.org/officeDocument/2006/relationships/tags" Target="../tags/tag265.xml"/><Relationship Id="rId10" Type="http://schemas.openxmlformats.org/officeDocument/2006/relationships/oleObject" Target="../embeddings/oleObject54.bin"/><Relationship Id="rId4" Type="http://schemas.openxmlformats.org/officeDocument/2006/relationships/tags" Target="../tags/tag264.xml"/><Relationship Id="rId9"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275.xml"/><Relationship Id="rId3" Type="http://schemas.openxmlformats.org/officeDocument/2006/relationships/tags" Target="../tags/tag270.xml"/><Relationship Id="rId7" Type="http://schemas.openxmlformats.org/officeDocument/2006/relationships/tags" Target="../tags/tag274.xml"/><Relationship Id="rId12" Type="http://schemas.openxmlformats.org/officeDocument/2006/relationships/image" Target="../media/image2.png"/><Relationship Id="rId2" Type="http://schemas.openxmlformats.org/officeDocument/2006/relationships/tags" Target="../tags/tag269.xml"/><Relationship Id="rId1" Type="http://schemas.openxmlformats.org/officeDocument/2006/relationships/vmlDrawing" Target="../drawings/vmlDrawing45.vml"/><Relationship Id="rId6" Type="http://schemas.openxmlformats.org/officeDocument/2006/relationships/tags" Target="../tags/tag273.xml"/><Relationship Id="rId11" Type="http://schemas.openxmlformats.org/officeDocument/2006/relationships/image" Target="../media/image1.emf"/><Relationship Id="rId5" Type="http://schemas.openxmlformats.org/officeDocument/2006/relationships/tags" Target="../tags/tag272.xml"/><Relationship Id="rId10" Type="http://schemas.openxmlformats.org/officeDocument/2006/relationships/oleObject" Target="../embeddings/oleObject55.bin"/><Relationship Id="rId4" Type="http://schemas.openxmlformats.org/officeDocument/2006/relationships/tags" Target="../tags/tag271.xml"/><Relationship Id="rId9"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6.bin"/><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xml"/><Relationship Id="rId7" Type="http://schemas.openxmlformats.org/officeDocument/2006/relationships/oleObject" Target="../embeddings/oleObject56.bin"/><Relationship Id="rId2" Type="http://schemas.openxmlformats.org/officeDocument/2006/relationships/tags" Target="../tags/tag276.xml"/><Relationship Id="rId1" Type="http://schemas.openxmlformats.org/officeDocument/2006/relationships/vmlDrawing" Target="../drawings/vmlDrawing46.vml"/><Relationship Id="rId6" Type="http://schemas.openxmlformats.org/officeDocument/2006/relationships/image" Target="../media/image10.jpeg"/><Relationship Id="rId5" Type="http://schemas.openxmlformats.org/officeDocument/2006/relationships/slideMaster" Target="../slideMasters/slideMaster6.xml"/><Relationship Id="rId4" Type="http://schemas.openxmlformats.org/officeDocument/2006/relationships/tags" Target="../tags/tag27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tags" Target="../tags/tag301.xml"/><Relationship Id="rId18" Type="http://schemas.openxmlformats.org/officeDocument/2006/relationships/slideMaster" Target="../slideMasters/slideMaster7.xml"/><Relationship Id="rId26" Type="http://schemas.openxmlformats.org/officeDocument/2006/relationships/image" Target="../media/image13.png"/><Relationship Id="rId3" Type="http://schemas.openxmlformats.org/officeDocument/2006/relationships/tags" Target="../tags/tag291.xml"/><Relationship Id="rId21" Type="http://schemas.openxmlformats.org/officeDocument/2006/relationships/image" Target="../media/image18.png"/><Relationship Id="rId34" Type="http://schemas.openxmlformats.org/officeDocument/2006/relationships/image" Target="../media/image17.png"/><Relationship Id="rId7" Type="http://schemas.openxmlformats.org/officeDocument/2006/relationships/tags" Target="../tags/tag295.xml"/><Relationship Id="rId12" Type="http://schemas.openxmlformats.org/officeDocument/2006/relationships/tags" Target="../tags/tag300.xml"/><Relationship Id="rId17" Type="http://schemas.openxmlformats.org/officeDocument/2006/relationships/tags" Target="../tags/tag305.xml"/><Relationship Id="rId25" Type="http://schemas.openxmlformats.org/officeDocument/2006/relationships/hyperlink" Target="http://www.linkedin.com/company/capgemini" TargetMode="External"/><Relationship Id="rId33" Type="http://schemas.openxmlformats.org/officeDocument/2006/relationships/oleObject" Target="../embeddings/oleObject59.bin"/><Relationship Id="rId2" Type="http://schemas.openxmlformats.org/officeDocument/2006/relationships/tags" Target="../tags/tag290.xml"/><Relationship Id="rId16" Type="http://schemas.openxmlformats.org/officeDocument/2006/relationships/tags" Target="../tags/tag304.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48.vml"/><Relationship Id="rId6" Type="http://schemas.openxmlformats.org/officeDocument/2006/relationships/tags" Target="../tags/tag294.xml"/><Relationship Id="rId11" Type="http://schemas.openxmlformats.org/officeDocument/2006/relationships/tags" Target="../tags/tag299.xml"/><Relationship Id="rId24" Type="http://schemas.openxmlformats.org/officeDocument/2006/relationships/image" Target="../media/image12.png"/><Relationship Id="rId32" Type="http://schemas.openxmlformats.org/officeDocument/2006/relationships/image" Target="../media/image16.gif"/><Relationship Id="rId5" Type="http://schemas.openxmlformats.org/officeDocument/2006/relationships/tags" Target="../tags/tag293.xml"/><Relationship Id="rId15" Type="http://schemas.openxmlformats.org/officeDocument/2006/relationships/tags" Target="../tags/tag303.xml"/><Relationship Id="rId23" Type="http://schemas.openxmlformats.org/officeDocument/2006/relationships/hyperlink" Target="http://www.facebook.com/Capgemini" TargetMode="External"/><Relationship Id="rId28" Type="http://schemas.openxmlformats.org/officeDocument/2006/relationships/image" Target="../media/image14.png"/><Relationship Id="rId10" Type="http://schemas.openxmlformats.org/officeDocument/2006/relationships/tags" Target="../tags/tag298.xml"/><Relationship Id="rId19" Type="http://schemas.openxmlformats.org/officeDocument/2006/relationships/oleObject" Target="../embeddings/oleObject58.bin"/><Relationship Id="rId31" Type="http://schemas.openxmlformats.org/officeDocument/2006/relationships/hyperlink" Target="http://www.slideshare.net/capgemini" TargetMode="Externa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tags" Target="../tags/tag302.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5.png"/></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tags" Target="../tags/tag317.xml"/><Relationship Id="rId18" Type="http://schemas.openxmlformats.org/officeDocument/2006/relationships/image" Target="../media/image18.png"/><Relationship Id="rId26" Type="http://schemas.openxmlformats.org/officeDocument/2006/relationships/hyperlink" Target="http://www.youtube.com/capgemini" TargetMode="External"/><Relationship Id="rId3" Type="http://schemas.openxmlformats.org/officeDocument/2006/relationships/tags" Target="../tags/tag307.xml"/><Relationship Id="rId21" Type="http://schemas.openxmlformats.org/officeDocument/2006/relationships/image" Target="../media/image12.png"/><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image" Target="../media/image1.emf"/><Relationship Id="rId25" Type="http://schemas.openxmlformats.org/officeDocument/2006/relationships/image" Target="../media/image14.png"/><Relationship Id="rId2" Type="http://schemas.openxmlformats.org/officeDocument/2006/relationships/tags" Target="../tags/tag306.xml"/><Relationship Id="rId16" Type="http://schemas.openxmlformats.org/officeDocument/2006/relationships/oleObject" Target="../embeddings/oleObject60.bin"/><Relationship Id="rId20" Type="http://schemas.openxmlformats.org/officeDocument/2006/relationships/hyperlink" Target="http://www.facebook.com/Capgemini" TargetMode="External"/><Relationship Id="rId29" Type="http://schemas.openxmlformats.org/officeDocument/2006/relationships/image" Target="../media/image16.gif"/><Relationship Id="rId1" Type="http://schemas.openxmlformats.org/officeDocument/2006/relationships/vmlDrawing" Target="../drawings/vmlDrawing49.vml"/><Relationship Id="rId6" Type="http://schemas.openxmlformats.org/officeDocument/2006/relationships/tags" Target="../tags/tag310.xml"/><Relationship Id="rId11" Type="http://schemas.openxmlformats.org/officeDocument/2006/relationships/tags" Target="../tags/tag315.xml"/><Relationship Id="rId24" Type="http://schemas.openxmlformats.org/officeDocument/2006/relationships/hyperlink" Target="http://www.twitter.com/capgemini" TargetMode="External"/><Relationship Id="rId5" Type="http://schemas.openxmlformats.org/officeDocument/2006/relationships/tags" Target="../tags/tag309.xml"/><Relationship Id="rId15" Type="http://schemas.openxmlformats.org/officeDocument/2006/relationships/slideMaster" Target="../slideMasters/slideMaster7.xml"/><Relationship Id="rId23" Type="http://schemas.openxmlformats.org/officeDocument/2006/relationships/image" Target="../media/image13.png"/><Relationship Id="rId28" Type="http://schemas.openxmlformats.org/officeDocument/2006/relationships/hyperlink" Target="http://www.slideshare.net/capgemini" TargetMode="External"/><Relationship Id="rId10" Type="http://schemas.openxmlformats.org/officeDocument/2006/relationships/tags" Target="../tags/tag314.xml"/><Relationship Id="rId19" Type="http://schemas.openxmlformats.org/officeDocument/2006/relationships/image" Target="../media/image4.emf"/><Relationship Id="rId31" Type="http://schemas.openxmlformats.org/officeDocument/2006/relationships/image" Target="../media/image17.png"/><Relationship Id="rId4" Type="http://schemas.openxmlformats.org/officeDocument/2006/relationships/tags" Target="../tags/tag308.xml"/><Relationship Id="rId9" Type="http://schemas.openxmlformats.org/officeDocument/2006/relationships/tags" Target="../tags/tag313.xml"/><Relationship Id="rId14" Type="http://schemas.openxmlformats.org/officeDocument/2006/relationships/tags" Target="../tags/tag318.xml"/><Relationship Id="rId22" Type="http://schemas.openxmlformats.org/officeDocument/2006/relationships/hyperlink" Target="http://www.linkedin.com/company/capgemini" TargetMode="External"/><Relationship Id="rId27" Type="http://schemas.openxmlformats.org/officeDocument/2006/relationships/image" Target="../media/image15.png"/><Relationship Id="rId30" Type="http://schemas.openxmlformats.org/officeDocument/2006/relationships/oleObject" Target="../embeddings/oleObject61.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0.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9.png"/></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1.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3.png"/><Relationship Id="rId1" Type="http://schemas.openxmlformats.org/officeDocument/2006/relationships/slideMaster" Target="../slideMasters/slideMaster8.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9.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4.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emf"/><Relationship Id="rId4" Type="http://schemas.openxmlformats.org/officeDocument/2006/relationships/tags" Target="../tags/tag40.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5.png"/><Relationship Id="rId1" Type="http://schemas.openxmlformats.org/officeDocument/2006/relationships/slideMaster" Target="../slideMasters/slideMaster8.xml"/><Relationship Id="rId4" Type="http://schemas.openxmlformats.org/officeDocument/2006/relationships/hyperlink" Target="https://www.capgemini.com/optimize-your-business-and-it-operations" TargetMode="External"/></Relationships>
</file>

<file path=ppt/slideLayouts/_rels/slideLayout7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6.png"/><Relationship Id="rId1" Type="http://schemas.openxmlformats.org/officeDocument/2006/relationships/slideMaster" Target="../slideMasters/slideMaster8.xml"/><Relationship Id="rId6" Type="http://schemas.openxmlformats.org/officeDocument/2006/relationships/image" Target="../media/image2.svg"/><Relationship Id="rId5" Type="http://schemas.openxmlformats.org/officeDocument/2006/relationships/image" Target="../media/image19.png"/><Relationship Id="rId4" Type="http://schemas.openxmlformats.org/officeDocument/2006/relationships/hyperlink" Target="https://www.capgemini.com/optimize-your-business-and-it-operations" TargetMode="Externa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9.xml"/><Relationship Id="rId1" Type="http://schemas.openxmlformats.org/officeDocument/2006/relationships/vmlDrawing" Target="../drawings/vmlDrawing50.vml"/><Relationship Id="rId5" Type="http://schemas.openxmlformats.org/officeDocument/2006/relationships/image" Target="../media/image27.emf"/><Relationship Id="rId4" Type="http://schemas.openxmlformats.org/officeDocument/2006/relationships/oleObject" Target="../embeddings/oleObject62.bin"/></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8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8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3.png"/><Relationship Id="rId1" Type="http://schemas.openxmlformats.org/officeDocument/2006/relationships/slideMaster" Target="../slideMasters/slideMaster9.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4.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5.png"/><Relationship Id="rId1" Type="http://schemas.openxmlformats.org/officeDocument/2006/relationships/slideMaster" Target="../slideMasters/slideMaster9.xml"/><Relationship Id="rId4" Type="http://schemas.openxmlformats.org/officeDocument/2006/relationships/hyperlink" Target="https://www.capgemini.com/optimize-your-business-and-it-operations" TargetMode="External"/></Relationships>
</file>

<file path=ppt/slideLayouts/_rels/slideLayout9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2" name="think-cell Slide" r:id="rId11" imgW="360" imgH="360" progId="">
                  <p:embed/>
                </p:oleObj>
              </mc:Choice>
              <mc:Fallback>
                <p:oleObj name="think-cell Slide" r:id="rId11" imgW="360" imgH="360" progId="">
                  <p:embed/>
                  <p:pic>
                    <p:nvPicPr>
                      <p:cNvPr id="0" name="Picture 28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1"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77207" name="think-cell Slide" r:id="rId4" imgW="360" imgH="360" progId="">
                  <p:embed/>
                </p:oleObj>
              </mc:Choice>
              <mc:Fallback>
                <p:oleObj name="think-cell Slide" r:id="rId4" imgW="360" imgH="360" progId="">
                  <p:embed/>
                  <p:pic>
                    <p:nvPicPr>
                      <p:cNvPr id="0" name="Picture 28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p:nvSpPr>
        <p:spPr>
          <a:xfrm>
            <a:off x="0" y="4437112"/>
            <a:ext cx="9906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31491" y="1700808"/>
            <a:ext cx="4738886" cy="432048"/>
          </a:xfrm>
          <a:prstGeom prst="rect">
            <a:avLst/>
          </a:prstGeom>
        </p:spPr>
        <p:txBody>
          <a:bodyPr anchor="ctr">
            <a:noAutofit/>
          </a:bodyPr>
          <a:lstStyle>
            <a:lvl1pPr>
              <a:lnSpc>
                <a:spcPts val="1453"/>
              </a:lnSpc>
              <a:spcAft>
                <a:spcPts val="0"/>
              </a:spcAft>
              <a:defRPr sz="1189">
                <a:solidFill>
                  <a:srgbClr val="12ABDB"/>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8199268" y="-166653"/>
            <a:ext cx="2862135"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502134" y="5585038"/>
            <a:ext cx="1375115" cy="432048"/>
          </a:xfrm>
          <a:prstGeom prst="rect">
            <a:avLst/>
          </a:prstGeom>
        </p:spPr>
        <p:txBody>
          <a:bodyPr anchor="ctr">
            <a:noAutofit/>
          </a:bodyPr>
          <a:lstStyle>
            <a:lvl1pPr algn="ctr">
              <a:lnSpc>
                <a:spcPts val="925"/>
              </a:lnSpc>
              <a:spcAft>
                <a:spcPts val="0"/>
              </a:spcAft>
              <a:defRPr sz="858">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040316" y="5585038"/>
            <a:ext cx="1375115" cy="432048"/>
          </a:xfrm>
          <a:prstGeom prst="rect">
            <a:avLst/>
          </a:prstGeom>
        </p:spPr>
        <p:txBody>
          <a:bodyPr anchor="ctr">
            <a:noAutofit/>
          </a:bodyPr>
          <a:lstStyle>
            <a:lvl1pPr algn="ctr">
              <a:lnSpc>
                <a:spcPts val="925"/>
              </a:lnSpc>
              <a:spcAft>
                <a:spcPts val="0"/>
              </a:spcAft>
              <a:defRPr sz="858">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578498" y="5585038"/>
            <a:ext cx="1375115" cy="432048"/>
          </a:xfrm>
          <a:prstGeom prst="rect">
            <a:avLst/>
          </a:prstGeom>
        </p:spPr>
        <p:txBody>
          <a:bodyPr anchor="ctr">
            <a:noAutofit/>
          </a:bodyPr>
          <a:lstStyle>
            <a:lvl1pPr algn="ctr">
              <a:lnSpc>
                <a:spcPts val="925"/>
              </a:lnSpc>
              <a:spcAft>
                <a:spcPts val="0"/>
              </a:spcAft>
              <a:defRPr sz="858">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5116679" y="5585038"/>
            <a:ext cx="1375115" cy="432048"/>
          </a:xfrm>
          <a:prstGeom prst="rect">
            <a:avLst/>
          </a:prstGeom>
        </p:spPr>
        <p:txBody>
          <a:bodyPr anchor="ctr">
            <a:noAutofit/>
          </a:bodyPr>
          <a:lstStyle>
            <a:lvl1pPr algn="ctr">
              <a:lnSpc>
                <a:spcPts val="925"/>
              </a:lnSpc>
              <a:spcAft>
                <a:spcPts val="0"/>
              </a:spcAft>
              <a:defRPr sz="858">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654861" y="5585038"/>
            <a:ext cx="1375115" cy="432048"/>
          </a:xfrm>
          <a:prstGeom prst="rect">
            <a:avLst/>
          </a:prstGeom>
        </p:spPr>
        <p:txBody>
          <a:bodyPr anchor="ctr">
            <a:noAutofit/>
          </a:bodyPr>
          <a:lstStyle>
            <a:lvl1pPr algn="ctr">
              <a:lnSpc>
                <a:spcPts val="925"/>
              </a:lnSpc>
              <a:spcAft>
                <a:spcPts val="0"/>
              </a:spcAft>
              <a:defRPr sz="858">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8193043" y="5585038"/>
            <a:ext cx="1375115" cy="432048"/>
          </a:xfrm>
          <a:prstGeom prst="rect">
            <a:avLst/>
          </a:prstGeom>
        </p:spPr>
        <p:txBody>
          <a:bodyPr anchor="ctr">
            <a:noAutofit/>
          </a:bodyPr>
          <a:lstStyle>
            <a:lvl1pPr algn="r">
              <a:lnSpc>
                <a:spcPts val="1056"/>
              </a:lnSpc>
              <a:defRPr sz="925" b="1">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46522" y="2326859"/>
            <a:ext cx="2558751" cy="1994493"/>
          </a:xfrm>
          <a:prstGeom prst="rect">
            <a:avLst/>
          </a:prstGeom>
        </p:spPr>
        <p:txBody>
          <a:bodyPr>
            <a:noAutofit/>
          </a:bodyPr>
          <a:lstStyle>
            <a:lvl1pPr>
              <a:lnSpc>
                <a:spcPts val="1056"/>
              </a:lnSpc>
              <a:defRPr sz="925">
                <a:solidFill>
                  <a:schemeClr val="tx1"/>
                </a:solidFill>
              </a:defRPr>
            </a:lvl1pPr>
            <a:lvl2pPr marL="114232" indent="-111087">
              <a:lnSpc>
                <a:spcPts val="925"/>
              </a:lnSpc>
              <a:defRPr sz="792">
                <a:solidFill>
                  <a:schemeClr val="tx1"/>
                </a:solidFill>
              </a:defRPr>
            </a:lvl2pPr>
            <a:lvl3pPr marL="229512" indent="-115280">
              <a:lnSpc>
                <a:spcPts val="925"/>
              </a:lnSpc>
              <a:defRPr sz="792">
                <a:solidFill>
                  <a:schemeClr val="tx1"/>
                </a:solidFill>
              </a:defRPr>
            </a:lvl3pPr>
            <a:lvl4pPr marL="336408" indent="-106896">
              <a:lnSpc>
                <a:spcPts val="792"/>
              </a:lnSpc>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136810" y="2326859"/>
            <a:ext cx="2558751" cy="1994493"/>
          </a:xfrm>
          <a:prstGeom prst="rect">
            <a:avLst/>
          </a:prstGeom>
        </p:spPr>
        <p:txBody>
          <a:bodyPr>
            <a:noAutofit/>
          </a:bodyPr>
          <a:lstStyle>
            <a:lvl1pPr>
              <a:lnSpc>
                <a:spcPts val="1056"/>
              </a:lnSpc>
              <a:defRPr sz="925">
                <a:solidFill>
                  <a:schemeClr val="tx1"/>
                </a:solidFill>
              </a:defRPr>
            </a:lvl1pPr>
            <a:lvl2pPr marL="114232" indent="-111087">
              <a:lnSpc>
                <a:spcPts val="925"/>
              </a:lnSpc>
              <a:defRPr sz="792">
                <a:solidFill>
                  <a:schemeClr val="tx1"/>
                </a:solidFill>
              </a:defRPr>
            </a:lvl2pPr>
            <a:lvl3pPr marL="229512" indent="-115280">
              <a:lnSpc>
                <a:spcPts val="925"/>
              </a:lnSpc>
              <a:defRPr sz="792">
                <a:solidFill>
                  <a:schemeClr val="tx1"/>
                </a:solidFill>
              </a:defRPr>
            </a:lvl3pPr>
            <a:lvl4pPr marL="336408" indent="-106896">
              <a:lnSpc>
                <a:spcPts val="792"/>
              </a:lnSpc>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927097" y="2326859"/>
            <a:ext cx="2558751" cy="1994493"/>
          </a:xfrm>
          <a:prstGeom prst="rect">
            <a:avLst/>
          </a:prstGeom>
        </p:spPr>
        <p:txBody>
          <a:bodyPr>
            <a:noAutofit/>
          </a:bodyPr>
          <a:lstStyle>
            <a:lvl1pPr>
              <a:lnSpc>
                <a:spcPts val="1056"/>
              </a:lnSpc>
              <a:defRPr sz="925">
                <a:solidFill>
                  <a:schemeClr val="tx1"/>
                </a:solidFill>
              </a:defRPr>
            </a:lvl1pPr>
            <a:lvl2pPr marL="114232" indent="-111087">
              <a:lnSpc>
                <a:spcPts val="925"/>
              </a:lnSpc>
              <a:defRPr sz="792">
                <a:solidFill>
                  <a:schemeClr val="tx1"/>
                </a:solidFill>
              </a:defRPr>
            </a:lvl2pPr>
            <a:lvl3pPr marL="229512" indent="-115280">
              <a:lnSpc>
                <a:spcPts val="925"/>
              </a:lnSpc>
              <a:defRPr sz="792">
                <a:solidFill>
                  <a:schemeClr val="tx1"/>
                </a:solidFill>
              </a:defRPr>
            </a:lvl3pPr>
            <a:lvl4pPr marL="336408" indent="-106896">
              <a:lnSpc>
                <a:spcPts val="792"/>
              </a:lnSpc>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9382583" y="188640"/>
            <a:ext cx="344789"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p:nvCxnSpPr>
        <p:spPr>
          <a:xfrm>
            <a:off x="331491" y="2235647"/>
            <a:ext cx="8154356"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2154535"/>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41735" y="5733255"/>
            <a:ext cx="1576188" cy="504056"/>
          </a:xfrm>
          <a:prstGeom prst="rect">
            <a:avLst/>
          </a:prstGeom>
          <a:solidFill>
            <a:srgbClr val="E6E7E7"/>
          </a:solidFill>
        </p:spPr>
        <p:txBody>
          <a:bodyPr anchor="ctr">
            <a:noAutofit/>
          </a:bodyPr>
          <a:lstStyle>
            <a:lvl1pPr algn="ctr">
              <a:lnSpc>
                <a:spcPts val="925"/>
              </a:lnSpc>
              <a:spcBef>
                <a:spcPts val="0"/>
              </a:spcBef>
              <a:spcAft>
                <a:spcPts val="0"/>
              </a:spcAft>
              <a:defRPr sz="792" b="0"/>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270258" y="5737641"/>
            <a:ext cx="1576188" cy="504056"/>
          </a:xfrm>
          <a:prstGeom prst="rect">
            <a:avLst/>
          </a:prstGeom>
          <a:solidFill>
            <a:srgbClr val="E6E7E7"/>
          </a:solidFill>
        </p:spPr>
        <p:txBody>
          <a:bodyPr anchor="ctr">
            <a:noAutofit/>
          </a:bodyPr>
          <a:lstStyle>
            <a:lvl1pPr algn="ctr">
              <a:lnSpc>
                <a:spcPts val="925"/>
              </a:lnSpc>
              <a:spcBef>
                <a:spcPts val="0"/>
              </a:spcBef>
              <a:spcAft>
                <a:spcPts val="0"/>
              </a:spcAft>
              <a:defRPr sz="792" b="0"/>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003572" y="5737641"/>
            <a:ext cx="1576188" cy="504056"/>
          </a:xfrm>
          <a:prstGeom prst="rect">
            <a:avLst/>
          </a:prstGeom>
          <a:solidFill>
            <a:srgbClr val="E6E7E7"/>
          </a:solidFill>
        </p:spPr>
        <p:txBody>
          <a:bodyPr anchor="ctr">
            <a:noAutofit/>
          </a:bodyPr>
          <a:lstStyle>
            <a:lvl1pPr algn="ctr">
              <a:lnSpc>
                <a:spcPts val="925"/>
              </a:lnSpc>
              <a:spcBef>
                <a:spcPts val="0"/>
              </a:spcBef>
              <a:spcAft>
                <a:spcPts val="0"/>
              </a:spcAft>
              <a:defRPr sz="792" b="0"/>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736413" y="5733156"/>
            <a:ext cx="1576188" cy="504056"/>
          </a:xfrm>
          <a:prstGeom prst="rect">
            <a:avLst/>
          </a:prstGeom>
          <a:solidFill>
            <a:srgbClr val="E6E7E7"/>
          </a:solidFill>
        </p:spPr>
        <p:txBody>
          <a:bodyPr anchor="ctr">
            <a:noAutofit/>
          </a:bodyPr>
          <a:lstStyle>
            <a:lvl1pPr algn="ctr">
              <a:lnSpc>
                <a:spcPts val="925"/>
              </a:lnSpc>
              <a:spcBef>
                <a:spcPts val="0"/>
              </a:spcBef>
              <a:spcAft>
                <a:spcPts val="0"/>
              </a:spcAft>
              <a:defRPr sz="792" b="0"/>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7469253" y="5733156"/>
            <a:ext cx="1576188" cy="504056"/>
          </a:xfrm>
          <a:prstGeom prst="rect">
            <a:avLst/>
          </a:prstGeom>
          <a:solidFill>
            <a:srgbClr val="E6E7E7"/>
          </a:solidFill>
        </p:spPr>
        <p:txBody>
          <a:bodyPr anchor="ctr">
            <a:noAutofit/>
          </a:bodyPr>
          <a:lstStyle>
            <a:lvl1pPr algn="ctr">
              <a:lnSpc>
                <a:spcPts val="925"/>
              </a:lnSpc>
              <a:spcBef>
                <a:spcPts val="0"/>
              </a:spcBef>
              <a:spcAft>
                <a:spcPts val="0"/>
              </a:spcAft>
              <a:defRPr sz="792" b="0"/>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963779" y="1958081"/>
            <a:ext cx="1170130" cy="1152128"/>
          </a:xfrm>
          <a:prstGeom prst="rect">
            <a:avLst/>
          </a:prstGeom>
          <a:solidFill>
            <a:srgbClr val="0070AD"/>
          </a:solidFill>
        </p:spPr>
        <p:txBody>
          <a:bodyPr rIns="0" anchor="ctr">
            <a:noAutofit/>
          </a:bodyPr>
          <a:lstStyle>
            <a:lvl1pPr algn="ctr">
              <a:lnSpc>
                <a:spcPts val="1189"/>
              </a:lnSpc>
              <a:spcBef>
                <a:spcPts val="0"/>
              </a:spcBef>
              <a:spcAft>
                <a:spcPts val="0"/>
              </a:spcAft>
              <a:defRPr sz="1056" b="0">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5187026" y="3428999"/>
            <a:ext cx="1170130" cy="1152128"/>
          </a:xfrm>
          <a:prstGeom prst="rect">
            <a:avLst/>
          </a:prstGeom>
          <a:solidFill>
            <a:srgbClr val="12ABDB"/>
          </a:solidFill>
        </p:spPr>
        <p:txBody>
          <a:bodyPr rIns="0" anchor="ctr">
            <a:noAutofit/>
          </a:bodyPr>
          <a:lstStyle>
            <a:lvl1pPr algn="ctr">
              <a:lnSpc>
                <a:spcPts val="1189"/>
              </a:lnSpc>
              <a:spcBef>
                <a:spcPts val="0"/>
              </a:spcBef>
              <a:spcAft>
                <a:spcPts val="0"/>
              </a:spcAft>
              <a:defRPr sz="1056" b="0">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916833" y="1916832"/>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5149477" y="3389316"/>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82329" y="3389316"/>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717716" y="3711981"/>
            <a:ext cx="1007297" cy="368562"/>
          </a:xfrm>
          <a:prstGeom prst="rect">
            <a:avLst/>
          </a:prstGeom>
          <a:noFill/>
        </p:spPr>
        <p:txBody>
          <a:bodyPr wrap="square" rtlCol="0">
            <a:spAutoFit/>
          </a:bodyPr>
          <a:lstStyle/>
          <a:p>
            <a:pPr algn="r">
              <a:lnSpc>
                <a:spcPct val="85000"/>
              </a:lnSpc>
            </a:pPr>
            <a:r>
              <a:rPr lang="en-US" sz="1056" b="1" kern="0" dirty="0">
                <a:solidFill>
                  <a:prstClr val="white"/>
                </a:solidFill>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p:nvCxnSpPr>
        <p:spPr>
          <a:xfrm>
            <a:off x="354884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p:nvCxnSpPr>
        <p:spPr>
          <a:xfrm>
            <a:off x="5772091"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p:nvCxnSpPr>
        <p:spPr>
          <a:xfrm>
            <a:off x="4777481" y="4004369"/>
            <a:ext cx="351039"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p:nvCxnSpPr>
        <p:spPr>
          <a:xfrm>
            <a:off x="2203195"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p:nvCxnSpPr>
        <p:spPr>
          <a:xfrm>
            <a:off x="1310119" y="5226817"/>
            <a:ext cx="697775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p:nvCxnSpPr>
        <p:spPr>
          <a:xfrm>
            <a:off x="1325748" y="522910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p:nvCxnSpPr>
        <p:spPr>
          <a:xfrm>
            <a:off x="3058589" y="52292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p:nvCxnSpPr>
        <p:spPr>
          <a:xfrm>
            <a:off x="4791430" y="52292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p:nvCxnSpPr>
        <p:spPr>
          <a:xfrm>
            <a:off x="6524270" y="5229202"/>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p:nvCxnSpPr>
        <p:spPr>
          <a:xfrm>
            <a:off x="8270654" y="5219677"/>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4190474" y="2091773"/>
            <a:ext cx="2693241" cy="880224"/>
          </a:xfrm>
          <a:prstGeom prst="rect">
            <a:avLst/>
          </a:prstGeom>
        </p:spPr>
        <p:txBody>
          <a:bodyPr>
            <a:noAutofit/>
          </a:bodyPr>
          <a:lstStyle>
            <a:lvl1pPr>
              <a:lnSpc>
                <a:spcPts val="925"/>
              </a:lnSpc>
              <a:spcBef>
                <a:spcPts val="0"/>
              </a:spcBef>
              <a:spcAft>
                <a:spcPts val="0"/>
              </a:spcAft>
              <a:defRPr sz="792"/>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943372" y="3564257"/>
            <a:ext cx="2693241" cy="880224"/>
          </a:xfrm>
          <a:prstGeom prst="rect">
            <a:avLst/>
          </a:prstGeom>
        </p:spPr>
        <p:txBody>
          <a:bodyPr>
            <a:noAutofit/>
          </a:bodyPr>
          <a:lstStyle>
            <a:lvl1pPr>
              <a:lnSpc>
                <a:spcPts val="925"/>
              </a:lnSpc>
              <a:spcBef>
                <a:spcPts val="0"/>
              </a:spcBef>
              <a:spcAft>
                <a:spcPts val="0"/>
              </a:spcAft>
              <a:defRPr sz="792"/>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6416005" y="3564257"/>
            <a:ext cx="2693241" cy="880224"/>
          </a:xfrm>
          <a:prstGeom prst="rect">
            <a:avLst/>
          </a:prstGeom>
        </p:spPr>
        <p:txBody>
          <a:bodyPr>
            <a:noAutofit/>
          </a:bodyPr>
          <a:lstStyle>
            <a:lvl1pPr>
              <a:lnSpc>
                <a:spcPts val="925"/>
              </a:lnSpc>
              <a:spcBef>
                <a:spcPts val="0"/>
              </a:spcBef>
              <a:spcAft>
                <a:spcPts val="0"/>
              </a:spcAft>
              <a:defRPr sz="792"/>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715864" y="3428106"/>
            <a:ext cx="1170130" cy="1152128"/>
          </a:xfrm>
          <a:prstGeom prst="rect">
            <a:avLst/>
          </a:prstGeom>
          <a:solidFill>
            <a:srgbClr val="12ABDB"/>
          </a:solidFill>
        </p:spPr>
        <p:txBody>
          <a:bodyPr rIns="0" anchor="ctr">
            <a:noAutofit/>
          </a:bodyPr>
          <a:lstStyle>
            <a:lvl1pPr algn="ctr">
              <a:lnSpc>
                <a:spcPts val="1189"/>
              </a:lnSpc>
              <a:spcBef>
                <a:spcPts val="0"/>
              </a:spcBef>
              <a:spcAft>
                <a:spcPts val="0"/>
              </a:spcAft>
              <a:defRPr sz="1056" b="0">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333670130"/>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380048-2DB8-46B7-AF04-F3ACAA5142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FB61F5A3-74BD-4830-A7D6-DE40C9CA0D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5C8B6185-4451-4F5C-95CC-98180443204E}"/>
              </a:ext>
            </a:extLst>
          </p:cNvPr>
          <p:cNvSpPr>
            <a:spLocks noGrp="1"/>
          </p:cNvSpPr>
          <p:nvPr>
            <p:ph type="dt" sz="half" idx="10"/>
          </p:nvPr>
        </p:nvSpPr>
        <p:spPr/>
        <p:txBody>
          <a:bodyPr/>
          <a:lstStyle/>
          <a:p>
            <a:endParaRPr lang="en-US">
              <a:solidFill>
                <a:srgbClr val="000000"/>
              </a:solidFill>
            </a:endParaRPr>
          </a:p>
        </p:txBody>
      </p:sp>
      <p:sp>
        <p:nvSpPr>
          <p:cNvPr id="5" name="Footer Placeholder 4">
            <a:extLst>
              <a:ext uri="{FF2B5EF4-FFF2-40B4-BE49-F238E27FC236}">
                <a16:creationId xmlns="" xmlns:a16="http://schemas.microsoft.com/office/drawing/2014/main" id="{746A123F-5441-4D29-A8D9-4B2885847A76}"/>
              </a:ext>
            </a:extLst>
          </p:cNvPr>
          <p:cNvSpPr>
            <a:spLocks noGrp="1"/>
          </p:cNvSpPr>
          <p:nvPr>
            <p:ph type="ftr" sz="quarter" idx="11"/>
          </p:nvPr>
        </p:nvSpPr>
        <p:spPr/>
        <p:txBody>
          <a:bodyPr/>
          <a:lstStyle/>
          <a:p>
            <a:r>
              <a:rPr lang="en-US" smtClean="0">
                <a:solidFill>
                  <a:srgbClr val="000000"/>
                </a:solidFill>
              </a:rPr>
              <a:t>ML_foundation</a:t>
            </a:r>
            <a:endParaRPr lang="en-US" dirty="0">
              <a:solidFill>
                <a:srgbClr val="000000"/>
              </a:solidFill>
            </a:endParaRPr>
          </a:p>
        </p:txBody>
      </p:sp>
      <p:sp>
        <p:nvSpPr>
          <p:cNvPr id="6" name="Slide Number Placeholder 5">
            <a:extLst>
              <a:ext uri="{FF2B5EF4-FFF2-40B4-BE49-F238E27FC236}">
                <a16:creationId xmlns="" xmlns:a16="http://schemas.microsoft.com/office/drawing/2014/main" id="{BE51D83F-6199-40AD-8A08-7CF0BB171C93}"/>
              </a:ext>
            </a:extLst>
          </p:cNvPr>
          <p:cNvSpPr>
            <a:spLocks noGrp="1"/>
          </p:cNvSpPr>
          <p:nvPr>
            <p:ph type="sldNum" sz="quarter" idx="12"/>
          </p:nvPr>
        </p:nvSpPr>
        <p:spPr/>
        <p:txBody>
          <a:bodyPr/>
          <a:lstStyle/>
          <a:p>
            <a:endParaRPr lang="en-US" dirty="0">
              <a:solidFill>
                <a:srgbClr val="000000"/>
              </a:solidFill>
            </a:endParaRPr>
          </a:p>
        </p:txBody>
      </p:sp>
    </p:spTree>
    <p:extLst>
      <p:ext uri="{BB962C8B-B14F-4D97-AF65-F5344CB8AC3E}">
        <p14:creationId xmlns:p14="http://schemas.microsoft.com/office/powerpoint/2010/main" val="40390666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FFA4E53-AFD8-46FE-94B0-9AF637B410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2B999288-9E03-4B44-8C96-B48B1E313958}"/>
              </a:ext>
            </a:extLst>
          </p:cNvPr>
          <p:cNvSpPr>
            <a:spLocks noGrp="1"/>
          </p:cNvSpPr>
          <p:nvPr>
            <p:ph type="dt" sz="half" idx="10"/>
          </p:nvPr>
        </p:nvSpPr>
        <p:spPr/>
        <p:txBody>
          <a:bodyPr/>
          <a:lstStyle/>
          <a:p>
            <a:endParaRPr lang="en-US">
              <a:solidFill>
                <a:srgbClr val="000000"/>
              </a:solidFill>
            </a:endParaRPr>
          </a:p>
        </p:txBody>
      </p:sp>
      <p:sp>
        <p:nvSpPr>
          <p:cNvPr id="4" name="Footer Placeholder 3">
            <a:extLst>
              <a:ext uri="{FF2B5EF4-FFF2-40B4-BE49-F238E27FC236}">
                <a16:creationId xmlns="" xmlns:a16="http://schemas.microsoft.com/office/drawing/2014/main" id="{FC68DFDF-B6FA-4CCB-AFF0-E1E15D8F9B5A}"/>
              </a:ext>
            </a:extLst>
          </p:cNvPr>
          <p:cNvSpPr>
            <a:spLocks noGrp="1"/>
          </p:cNvSpPr>
          <p:nvPr>
            <p:ph type="ftr" sz="quarter" idx="11"/>
          </p:nvPr>
        </p:nvSpPr>
        <p:spPr/>
        <p:txBody>
          <a:bodyPr/>
          <a:lstStyle/>
          <a:p>
            <a:r>
              <a:rPr lang="en-US" smtClean="0">
                <a:solidFill>
                  <a:srgbClr val="000000"/>
                </a:solidFill>
              </a:rPr>
              <a:t>ML_foundation</a:t>
            </a:r>
            <a:endParaRPr lang="en-US">
              <a:solidFill>
                <a:srgbClr val="000000"/>
              </a:solidFill>
            </a:endParaRPr>
          </a:p>
        </p:txBody>
      </p:sp>
      <p:sp>
        <p:nvSpPr>
          <p:cNvPr id="5" name="Slide Number Placeholder 4">
            <a:extLst>
              <a:ext uri="{FF2B5EF4-FFF2-40B4-BE49-F238E27FC236}">
                <a16:creationId xmlns="" xmlns:a16="http://schemas.microsoft.com/office/drawing/2014/main" id="{C475D360-C92B-4FAF-921E-A3A009A76ECC}"/>
              </a:ext>
            </a:extLst>
          </p:cNvPr>
          <p:cNvSpPr>
            <a:spLocks noGrp="1"/>
          </p:cNvSpPr>
          <p:nvPr>
            <p:ph type="sldNum" sz="quarter" idx="12"/>
          </p:nvPr>
        </p:nvSpPr>
        <p:spPr/>
        <p:txBody>
          <a:bodyPr/>
          <a:lstStyle/>
          <a:p>
            <a:fld id="{64454EE8-B39C-4B5F-9538-289AA0133854}"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257323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36899"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0"/>
            <a:ext cx="5415248" cy="2414915"/>
          </a:xfrm>
        </p:spPr>
        <p:txBody>
          <a:bodyPr vert="horz" lIns="36000" tIns="36000" rIns="360000" bIns="36000" rtlCol="0" anchor="ctr">
            <a:noAutofit/>
          </a:bodyPr>
          <a:lstStyle>
            <a:lvl1pPr algn="r" defTabSz="808998" rtl="0" eaLnBrk="1" latinLnBrk="0" hangingPunct="1">
              <a:spcBef>
                <a:spcPct val="0"/>
              </a:spcBef>
              <a:buNone/>
              <a:defRPr lang="en-US" sz="2925"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336955" y="4609876"/>
            <a:ext cx="4569047" cy="1806302"/>
          </a:xfrm>
        </p:spPr>
        <p:txBody>
          <a:bodyPr vert="horz" lIns="36000" tIns="36000" rIns="360000" bIns="36000" rtlCol="0">
            <a:noAutofit/>
          </a:bodyPr>
          <a:lstStyle>
            <a:lvl1pPr marL="0" indent="0" algn="r" defTabSz="808998" rtl="0" eaLnBrk="1" latinLnBrk="0" hangingPunct="1">
              <a:spcBef>
                <a:spcPts val="0"/>
              </a:spcBef>
              <a:buFontTx/>
              <a:buNone/>
              <a:defRPr lang="fr-FR" sz="195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51" y="2"/>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6860" tIns="34918" rIns="26860" bIns="34918" rtlCol="0" anchor="ctr"/>
          <a:lstStyle/>
          <a:p>
            <a:pPr algn="ctr"/>
            <a:endParaRPr lang="en-US" sz="813" dirty="0">
              <a:solidFill>
                <a:prstClr val="white"/>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225" tIns="34113" rIns="68225" bIns="34113" rtlCol="0" anchor="ctr"/>
          <a:lstStyle/>
          <a:p>
            <a:pPr algn="ctr"/>
            <a:endParaRPr lang="en-US" sz="1056"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7" y="6520698"/>
            <a:ext cx="3001425" cy="239021"/>
          </a:xfrm>
          <a:prstGeom prst="rect">
            <a:avLst/>
          </a:prstGeom>
          <a:noFill/>
        </p:spPr>
      </p:pic>
    </p:spTree>
    <p:extLst>
      <p:ext uri="{BB962C8B-B14F-4D97-AF65-F5344CB8AC3E}">
        <p14:creationId xmlns:p14="http://schemas.microsoft.com/office/powerpoint/2010/main" val="18144351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37923"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0895" tIns="40448" rIns="80895" bIns="40448" numCol="1" anchor="t" anchorCtr="0" compatLnSpc="1">
            <a:prstTxWarp prst="textNoShape">
              <a:avLst/>
            </a:prstTxWarp>
          </a:bodyPr>
          <a:lstStyle/>
          <a:p>
            <a:endParaRPr lang="fr-FR" sz="1544" dirty="0">
              <a:solidFill>
                <a:srgbClr val="000000"/>
              </a:solidFill>
            </a:endParaRPr>
          </a:p>
        </p:txBody>
      </p:sp>
      <p:sp>
        <p:nvSpPr>
          <p:cNvPr id="6" name="Espace réservé du contenu 5"/>
          <p:cNvSpPr>
            <a:spLocks noGrp="1"/>
          </p:cNvSpPr>
          <p:nvPr>
            <p:ph sz="quarter" idx="10" hasCustomPrompt="1"/>
            <p:custDataLst>
              <p:tags r:id="rId5"/>
            </p:custDataLst>
          </p:nvPr>
        </p:nvSpPr>
        <p:spPr>
          <a:xfrm>
            <a:off x="323488" y="1501981"/>
            <a:ext cx="6807652" cy="2950251"/>
          </a:xfrm>
        </p:spPr>
        <p:txBody>
          <a:bodyPr/>
          <a:lstStyle/>
          <a:p>
            <a:pPr lvl="0"/>
            <a:r>
              <a:rPr lang="en-US" noProof="0" dirty="0"/>
              <a:t>Click to edit Master text style</a:t>
            </a:r>
          </a:p>
        </p:txBody>
      </p:sp>
    </p:spTree>
    <p:extLst>
      <p:ext uri="{BB962C8B-B14F-4D97-AF65-F5344CB8AC3E}">
        <p14:creationId xmlns:p14="http://schemas.microsoft.com/office/powerpoint/2010/main" val="23747665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47061" cy="143985"/>
        </p:xfrm>
        <a:graphic>
          <a:graphicData uri="http://schemas.openxmlformats.org/presentationml/2006/ole">
            <mc:AlternateContent xmlns:mc="http://schemas.openxmlformats.org/markup-compatibility/2006">
              <mc:Choice xmlns:v="urn:schemas-microsoft-com:vml" Requires="v">
                <p:oleObj spid="_x0000_s33894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9"/>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510008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5" name="Text Placeholder 4"/>
          <p:cNvSpPr>
            <a:spLocks noGrp="1"/>
          </p:cNvSpPr>
          <p:nvPr>
            <p:ph type="body" sz="quarter" idx="11"/>
          </p:nvPr>
        </p:nvSpPr>
        <p:spPr>
          <a:xfrm>
            <a:off x="386956" y="1084272"/>
            <a:ext cx="9120055" cy="5087937"/>
          </a:xfrm>
        </p:spPr>
        <p:txBody>
          <a:bodyPr/>
          <a:lstStyle>
            <a:lvl1pPr>
              <a:buClr>
                <a:schemeClr val="tx1"/>
              </a:buClr>
              <a:defRPr/>
            </a:lvl1pPr>
            <a:lvl2pPr>
              <a:buClr>
                <a:schemeClr val="tx1"/>
              </a:buClr>
              <a:defRPr/>
            </a:lvl2pPr>
            <a:lvl3pPr>
              <a:buClr>
                <a:schemeClr val="tx1"/>
              </a:buClr>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3"/>
          <p:cNvSpPr>
            <a:spLocks noGrp="1"/>
          </p:cNvSpPr>
          <p:nvPr>
            <p:ph type="sldNum" sz="quarter" idx="12"/>
          </p:nvPr>
        </p:nvSpPr>
        <p:spPr>
          <a:xfrm>
            <a:off x="9648000" y="6732004"/>
            <a:ext cx="252000" cy="104775"/>
          </a:xfrm>
          <a:prstGeom prst="rect">
            <a:avLst/>
          </a:prstGeom>
        </p:spPr>
        <p:txBody>
          <a:bodyPr/>
          <a:lstStyle/>
          <a:p>
            <a:fld id="{C3B29725-EB05-4625-A355-066760C2369B}" type="slidenum">
              <a:rPr lang="nl-NL" smtClean="0">
                <a:solidFill>
                  <a:srgbClr val="000000"/>
                </a:solidFill>
              </a:rPr>
              <a:pPr/>
              <a:t>‹#›</a:t>
            </a:fld>
            <a:endParaRPr lang="nl-NL" dirty="0">
              <a:solidFill>
                <a:srgbClr val="000000"/>
              </a:solidFill>
            </a:endParaRPr>
          </a:p>
        </p:txBody>
      </p:sp>
      <p:sp>
        <p:nvSpPr>
          <p:cNvPr id="6" name="Footer Placeholder 5"/>
          <p:cNvSpPr>
            <a:spLocks noGrp="1"/>
          </p:cNvSpPr>
          <p:nvPr>
            <p:ph type="ftr" sz="quarter" idx="13"/>
          </p:nvPr>
        </p:nvSpPr>
        <p:spPr>
          <a:xfrm>
            <a:off x="8632822" y="6554792"/>
            <a:ext cx="1265237" cy="104775"/>
          </a:xfrm>
          <a:prstGeom prst="rect">
            <a:avLst/>
          </a:prstGeom>
        </p:spPr>
        <p:txBody>
          <a:bodyPr/>
          <a:lstStyle/>
          <a:p>
            <a:r>
              <a:rPr lang="en-US" smtClean="0">
                <a:solidFill>
                  <a:srgbClr val="000000"/>
                </a:solidFill>
              </a:rPr>
              <a:t>ML_foundation</a:t>
            </a:r>
            <a:endParaRPr lang="nl-NL" dirty="0">
              <a:solidFill>
                <a:srgbClr val="000000"/>
              </a:solidFill>
            </a:endParaRPr>
          </a:p>
        </p:txBody>
      </p:sp>
    </p:spTree>
    <p:extLst>
      <p:ext uri="{BB962C8B-B14F-4D97-AF65-F5344CB8AC3E}">
        <p14:creationId xmlns:p14="http://schemas.microsoft.com/office/powerpoint/2010/main" val="325591662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3997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6860" tIns="34918" rIns="26860" bIns="34918" rtlCol="0" anchor="ctr"/>
          <a:lstStyle/>
          <a:p>
            <a:pPr algn="ctr"/>
            <a:endParaRPr lang="en-US" sz="813" dirty="0">
              <a:solidFill>
                <a:prstClr val="white"/>
              </a:solidFill>
              <a:latin typeface="Arial"/>
              <a:cs typeface="Arial"/>
            </a:endParaRPr>
          </a:p>
        </p:txBody>
      </p:sp>
      <p:sp>
        <p:nvSpPr>
          <p:cNvPr id="2" name="Titre 1"/>
          <p:cNvSpPr>
            <a:spLocks noGrp="1"/>
          </p:cNvSpPr>
          <p:nvPr>
            <p:ph type="title" hasCustomPrompt="1"/>
            <p:custDataLst>
              <p:tags r:id="rId4"/>
            </p:custDataLst>
          </p:nvPr>
        </p:nvSpPr>
        <p:spPr>
          <a:xfrm>
            <a:off x="0" y="4490507"/>
            <a:ext cx="9906000" cy="1362097"/>
          </a:xfrm>
          <a:prstGeom prst="rect">
            <a:avLst/>
          </a:prstGeom>
        </p:spPr>
        <p:txBody>
          <a:bodyPr vert="horz" lIns="826470" tIns="33059" rIns="66118" bIns="33059" rtlCol="0" anchor="ctr" anchorCtr="0">
            <a:noAutofit/>
          </a:bodyPr>
          <a:lstStyle>
            <a:lvl1pPr algn="l" defTabSz="742903" rtl="0" eaLnBrk="1" latinLnBrk="0" hangingPunct="1">
              <a:spcBef>
                <a:spcPct val="0"/>
              </a:spcBef>
              <a:buNone/>
              <a:defRPr lang="en-US" sz="325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extLst>
      <p:ext uri="{BB962C8B-B14F-4D97-AF65-F5344CB8AC3E}">
        <p14:creationId xmlns:p14="http://schemas.microsoft.com/office/powerpoint/2010/main" val="27363619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84720" y="1815353"/>
            <a:ext cx="950625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3759703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9039254"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184720" y="1815352"/>
            <a:ext cx="950625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184721" y="1148607"/>
            <a:ext cx="950625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2148402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184721"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184721"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5260138" y="1420990"/>
            <a:ext cx="4387500" cy="743987"/>
          </a:xfrm>
          <a:prstGeom prst="rect">
            <a:avLst/>
          </a:prstGeom>
        </p:spPr>
        <p:txBody>
          <a:bodyPr anchor="ctr" anchorCtr="0">
            <a:noAutofit/>
          </a:bodyPr>
          <a:lstStyle>
            <a:lvl1pPr>
              <a:lnSpc>
                <a:spcPct val="100000"/>
              </a:lnSpc>
              <a:defRPr sz="1463" b="1">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9336778" y="164829"/>
            <a:ext cx="344789" cy="459624"/>
          </a:xfrm>
          <a:prstGeom prst="rect">
            <a:avLst/>
          </a:prstGeom>
        </p:spPr>
      </p:pic>
      <p:sp>
        <p:nvSpPr>
          <p:cNvPr id="2" name="Titre 1"/>
          <p:cNvSpPr>
            <a:spLocks noGrp="1"/>
          </p:cNvSpPr>
          <p:nvPr>
            <p:ph type="title"/>
          </p:nvPr>
        </p:nvSpPr>
        <p:spPr>
          <a:xfrm>
            <a:off x="184721" y="0"/>
            <a:ext cx="9039254" cy="1104900"/>
          </a:xfrm>
        </p:spPr>
        <p:txBody>
          <a:bodyPr/>
          <a:lstStyle/>
          <a:p>
            <a:r>
              <a:rPr lang="fr-FR"/>
              <a:t>Modifiez le style du titr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5260138" y="2205319"/>
            <a:ext cx="4387500" cy="4076234"/>
          </a:xfrm>
          <a:prstGeom prst="rect">
            <a:avLst/>
          </a:prstGeom>
        </p:spPr>
        <p:txBody>
          <a:bodyPr>
            <a:noAutofit/>
          </a:bodyPr>
          <a:lstStyle>
            <a:lvl1pPr>
              <a:lnSpc>
                <a:spcPct val="100000"/>
              </a:lnSpc>
              <a:spcBef>
                <a:spcPts val="0"/>
              </a:spcBef>
              <a:defRPr sz="1300"/>
            </a:lvl1pPr>
            <a:lvl2pPr>
              <a:lnSpc>
                <a:spcPct val="100000"/>
              </a:lnSpc>
              <a:spcBef>
                <a:spcPts val="0"/>
              </a:spcBef>
              <a:defRPr sz="1300"/>
            </a:lvl2pPr>
            <a:lvl3pPr>
              <a:lnSpc>
                <a:spcPct val="100000"/>
              </a:lnSpc>
              <a:spcBef>
                <a:spcPts val="0"/>
              </a:spcBef>
              <a:defRPr sz="1300"/>
            </a:lvl3pPr>
            <a:lvl4pPr>
              <a:lnSpc>
                <a:spcPct val="100000"/>
              </a:lnSpc>
              <a:spcBef>
                <a:spcPts val="0"/>
              </a:spcBef>
              <a:defRPr sz="1300"/>
            </a:lvl4pPr>
            <a:lvl5pPr>
              <a:lnSpc>
                <a:spcPct val="100000"/>
              </a:lnSpc>
              <a:spcBef>
                <a:spcPts val="0"/>
              </a:spcBef>
              <a:defRPr sz="13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6475958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201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
            <a:ext cx="7474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GB" sz="1463" dirty="0">
              <a:solidFill>
                <a:srgbClr val="FFFFFF"/>
              </a:solidFill>
            </a:endParaRPr>
          </a:p>
        </p:txBody>
      </p:sp>
      <p:sp>
        <p:nvSpPr>
          <p:cNvPr id="21510" name="Freeform 6"/>
          <p:cNvSpPr>
            <a:spLocks/>
          </p:cNvSpPr>
          <p:nvPr/>
        </p:nvSpPr>
        <p:spPr bwMode="auto">
          <a:xfrm>
            <a:off x="0" y="0"/>
            <a:ext cx="7474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792084" y="0"/>
            <a:ext cx="8431890"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184719" y="1815351"/>
            <a:ext cx="950625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792084" y="1148607"/>
            <a:ext cx="8889484"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742950" cy="914400"/>
          </a:xfrm>
        </p:spPr>
        <p:txBody>
          <a:bodyPr anchor="ctr">
            <a:normAutofit/>
          </a:bodyPr>
          <a:lstStyle>
            <a:lvl1pPr marL="0" indent="0" algn="ctr" defTabSz="742950" rtl="0" eaLnBrk="1" latinLnBrk="0" hangingPunct="1">
              <a:lnSpc>
                <a:spcPct val="90000"/>
              </a:lnSpc>
              <a:spcBef>
                <a:spcPts val="813"/>
              </a:spcBef>
              <a:buFont typeface="Arial" panose="020B0604020202020204" pitchFamily="34" charset="0"/>
              <a:buNone/>
              <a:defRPr lang="en-GB" sz="325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980329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304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3655095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flipV="1">
            <a:off x="1" y="0"/>
            <a:ext cx="4228260"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dirty="0">
              <a:solidFill>
                <a:srgbClr val="FFFFFF"/>
              </a:solidFill>
            </a:endParaRP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636293" y="5278426"/>
            <a:ext cx="2678526" cy="331986"/>
          </a:xfrm>
          <a:prstGeom prst="rect">
            <a:avLst/>
          </a:prstGeom>
          <a:noFill/>
        </p:spPr>
        <p:txBody>
          <a:bodyPr anchor="ctr">
            <a:noAutofit/>
          </a:bodyPr>
          <a:lstStyle>
            <a:lvl1pPr algn="l">
              <a:defRPr sz="1300" b="1">
                <a:solidFill>
                  <a:schemeClr val="accent2"/>
                </a:solidFill>
              </a:defRPr>
            </a:lvl1pPr>
            <a:lvl2pPr>
              <a:defRPr sz="1138"/>
            </a:lvl2pPr>
            <a:lvl3pPr>
              <a:defRPr sz="975"/>
            </a:lvl3pPr>
            <a:lvl4pPr>
              <a:defRPr sz="894"/>
            </a:lvl4pPr>
            <a:lvl5pPr>
              <a:defRPr sz="894"/>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636293" y="3916351"/>
            <a:ext cx="2678526" cy="412363"/>
          </a:xfrm>
          <a:prstGeom prst="rect">
            <a:avLst/>
          </a:prstGeom>
          <a:noFill/>
        </p:spPr>
        <p:txBody>
          <a:bodyPr anchor="ctr">
            <a:noAutofit/>
          </a:bodyPr>
          <a:lstStyle>
            <a:lvl1pPr algn="l">
              <a:defRPr sz="1625" b="1">
                <a:solidFill>
                  <a:schemeClr val="accent2"/>
                </a:solidFill>
              </a:defRPr>
            </a:lvl1pPr>
            <a:lvl2pPr>
              <a:defRPr sz="1138"/>
            </a:lvl2pPr>
            <a:lvl3pPr>
              <a:defRPr sz="975"/>
            </a:lvl3pPr>
            <a:lvl4pPr>
              <a:defRPr sz="894"/>
            </a:lvl4pPr>
            <a:lvl5pPr>
              <a:defRPr sz="894"/>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635441" y="4344097"/>
            <a:ext cx="2684617" cy="894840"/>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635441" y="5601397"/>
            <a:ext cx="2679377" cy="713864"/>
          </a:xfrm>
          <a:prstGeom prst="rect">
            <a:avLst/>
          </a:prstGeom>
        </p:spPr>
        <p:txBody>
          <a:bodyPr>
            <a:noAutofit/>
          </a:bodyPr>
          <a:lstStyle>
            <a:lvl1pPr>
              <a:lnSpc>
                <a:spcPct val="100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p:nvSpPr>
        <p:spPr>
          <a:xfrm>
            <a:off x="1122218" y="1147034"/>
            <a:ext cx="211999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a:solidFill>
                <a:srgbClr val="FFFFFF"/>
              </a:solidFill>
            </a:endParaRPr>
          </a:p>
        </p:txBody>
      </p:sp>
    </p:spTree>
    <p:extLst>
      <p:ext uri="{BB962C8B-B14F-4D97-AF65-F5344CB8AC3E}">
        <p14:creationId xmlns:p14="http://schemas.microsoft.com/office/powerpoint/2010/main" val="22973576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5470279" cy="1104900"/>
          </a:xfrm>
          <a:prstGeom prst="rect">
            <a:avLst/>
          </a:prstGeom>
        </p:spPr>
        <p:txBody>
          <a:bodyPr/>
          <a:lstStyle/>
          <a:p>
            <a:r>
              <a:rPr lang="fr-FR"/>
              <a:t>Modifiez le style du titre</a:t>
            </a:r>
            <a:endParaRPr lang="en-GB" dirty="0"/>
          </a:p>
        </p:txBody>
      </p:sp>
      <p:sp>
        <p:nvSpPr>
          <p:cNvPr id="3" name="Freeform 6"/>
          <p:cNvSpPr>
            <a:spLocks/>
          </p:cNvSpPr>
          <p:nvPr/>
        </p:nvSpPr>
        <p:spPr bwMode="auto">
          <a:xfrm>
            <a:off x="5160665" y="325439"/>
            <a:ext cx="4745336"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4" name="Retângulo 43">
            <a:extLst>
              <a:ext uri="{FF2B5EF4-FFF2-40B4-BE49-F238E27FC236}">
                <a16:creationId xmlns="" xmlns:a16="http://schemas.microsoft.com/office/drawing/2014/main"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solidFill>
                <a:cs typeface="Verdana" panose="020B0604030504040204" pitchFamily="34" charset="0"/>
              </a:rPr>
              <a:pPr algn="r" defTabSz="742950"/>
              <a:t>‹#›</a:t>
            </a:fld>
            <a:endParaRPr lang="en-US" sz="650" dirty="0">
              <a:solidFill>
                <a:srgbClr val="FFFFFF"/>
              </a:solidFill>
              <a:cs typeface="Verdana" panose="020B0604030504040204" pitchFamily="34" charset="0"/>
            </a:endParaRPr>
          </a:p>
        </p:txBody>
      </p:sp>
      <p:sp>
        <p:nvSpPr>
          <p:cNvPr id="5" name="Text Placeholder 7">
            <a:extLst>
              <a:ext uri="{FF2B5EF4-FFF2-40B4-BE49-F238E27FC236}">
                <a16:creationId xmlns="" xmlns:a16="http://schemas.microsoft.com/office/drawing/2014/main"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solidFill>
              </a:rPr>
              <a:t>© Capgemini 2017. All rights reserved |</a:t>
            </a:r>
          </a:p>
        </p:txBody>
      </p:sp>
      <p:sp>
        <p:nvSpPr>
          <p:cNvPr id="6"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6298649" y="2813833"/>
            <a:ext cx="3088464" cy="2629024"/>
          </a:xfrm>
          <a:prstGeom prst="rect">
            <a:avLst/>
          </a:prstGeom>
        </p:spPr>
        <p:txBody>
          <a:bodyPr>
            <a:noAutofit/>
          </a:bodyPr>
          <a:lstStyle>
            <a:lvl1pPr algn="l">
              <a:lnSpc>
                <a:spcPct val="85000"/>
              </a:lnSpc>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 </a:t>
            </a:r>
          </a:p>
        </p:txBody>
      </p:sp>
      <p:sp>
        <p:nvSpPr>
          <p:cNvPr id="8" name="Espace réservé du texte 7"/>
          <p:cNvSpPr>
            <a:spLocks noGrp="1"/>
          </p:cNvSpPr>
          <p:nvPr>
            <p:ph type="body" sz="quarter" idx="13"/>
          </p:nvPr>
        </p:nvSpPr>
        <p:spPr>
          <a:xfrm>
            <a:off x="184448" y="1808164"/>
            <a:ext cx="4885928" cy="46815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262637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406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7357269" y="6489700"/>
            <a:ext cx="2548731"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GB" sz="1463" dirty="0">
              <a:solidFill>
                <a:srgbClr val="FFFFFF"/>
              </a:solidFill>
            </a:endParaRPr>
          </a:p>
        </p:txBody>
      </p:sp>
      <p:sp>
        <p:nvSpPr>
          <p:cNvPr id="3" name="Freeform: Shape 9">
            <a:extLst>
              <a:ext uri="{FF2B5EF4-FFF2-40B4-BE49-F238E27FC236}">
                <a16:creationId xmlns="" xmlns:a16="http://schemas.microsoft.com/office/drawing/2014/main" id="{531E77B6-0DD5-446F-A826-892DFC23D785}"/>
              </a:ext>
            </a:extLst>
          </p:cNvPr>
          <p:cNvSpPr>
            <a:spLocks/>
          </p:cNvSpPr>
          <p:nvPr/>
        </p:nvSpPr>
        <p:spPr bwMode="auto">
          <a:xfrm rot="16200000" flipH="1">
            <a:off x="3904798" y="871312"/>
            <a:ext cx="6872513" cy="5129891"/>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74295" tIns="37148" rIns="74295" bIns="37148" numCol="1" anchor="t" anchorCtr="0" compatLnSpc="1">
            <a:prstTxWarp prst="textNoShape">
              <a:avLst/>
            </a:prstTxWarp>
            <a:noAutofit/>
          </a:bodyPr>
          <a:lstStyle/>
          <a:p>
            <a:pPr defTabSz="742950"/>
            <a:endParaRPr lang="en-US" sz="1463" dirty="0">
              <a:solidFill>
                <a:prstClr val="black"/>
              </a:solidFill>
            </a:endParaRPr>
          </a:p>
        </p:txBody>
      </p:sp>
      <p:sp>
        <p:nvSpPr>
          <p:cNvPr id="7" name="Retângulo 43">
            <a:extLst>
              <a:ext uri="{FF2B5EF4-FFF2-40B4-BE49-F238E27FC236}">
                <a16:creationId xmlns="" xmlns:a16="http://schemas.microsoft.com/office/drawing/2014/main"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50000"/>
                  </a:srgbClr>
                </a:solidFill>
                <a:cs typeface="Verdana" panose="020B0604030504040204" pitchFamily="34" charset="0"/>
              </a:rPr>
              <a:pPr algn="r" defTabSz="742950"/>
              <a:t>‹#›</a:t>
            </a:fld>
            <a:endParaRPr lang="en-US" sz="650" dirty="0">
              <a:solidFill>
                <a:srgbClr val="FFFFFF">
                  <a:lumMod val="50000"/>
                </a:srgbClr>
              </a:solidFill>
              <a:cs typeface="Verdana" panose="020B0604030504040204" pitchFamily="34" charset="0"/>
            </a:endParaRP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50000"/>
                  </a:srgbClr>
                </a:solidFill>
              </a:rPr>
              <a:t>© Capgemini 2017. All rights reserved |</a:t>
            </a:r>
          </a:p>
        </p:txBody>
      </p:sp>
      <p:sp>
        <p:nvSpPr>
          <p:cNvPr id="2" name="Title 1"/>
          <p:cNvSpPr>
            <a:spLocks noGrp="1"/>
          </p:cNvSpPr>
          <p:nvPr>
            <p:ph type="title"/>
          </p:nvPr>
        </p:nvSpPr>
        <p:spPr>
          <a:xfrm>
            <a:off x="184721" y="-1"/>
            <a:ext cx="4579593" cy="1785257"/>
          </a:xfrm>
          <a:prstGeom prst="rect">
            <a:avLst/>
          </a:prstGeom>
        </p:spPr>
        <p:txBody>
          <a:bodyPr/>
          <a:lstStyle/>
          <a:p>
            <a:r>
              <a:rPr lang="fr-FR"/>
              <a:t>Modifiez le style du titre</a:t>
            </a:r>
            <a:endParaRPr lang="en-GB" dirty="0"/>
          </a:p>
        </p:txBody>
      </p:sp>
      <p:sp>
        <p:nvSpPr>
          <p:cNvPr id="4"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5"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1" name="Espace réservé du texte 10"/>
          <p:cNvSpPr>
            <a:spLocks noGrp="1"/>
          </p:cNvSpPr>
          <p:nvPr>
            <p:ph type="body" sz="quarter" idx="10"/>
          </p:nvPr>
        </p:nvSpPr>
        <p:spPr>
          <a:xfrm>
            <a:off x="184448" y="2565000"/>
            <a:ext cx="7518499"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0082526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1_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509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 xmlns:a16="http://schemas.microsoft.com/office/drawing/2014/main" id="{10113F8D-52D8-4246-B9BC-1A6D3EF8C72C}"/>
              </a:ext>
            </a:extLst>
          </p:cNvPr>
          <p:cNvPicPr>
            <a:picLocks noChangeAspect="1"/>
          </p:cNvPicPr>
          <p:nvPr/>
        </p:nvPicPr>
        <p:blipFill>
          <a:blip r:embed="rId6" cstate="print">
            <a:extLst>
              <a:ext uri="{96DAC541-7B7A-43D3-8B79-37D633B846F1}">
                <asvg:svgBlip xmlns="" xmlns:asvg="http://schemas.microsoft.com/office/drawing/2016/SVG/main" r:embed="rId7"/>
              </a:ext>
            </a:extLst>
          </a:blip>
          <a:srcRect b="25000"/>
          <a:stretch>
            <a:fillRect/>
          </a:stretch>
        </p:blipFill>
        <p:spPr>
          <a:xfrm>
            <a:off x="0" y="1485900"/>
            <a:ext cx="5218767"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184721" y="0"/>
            <a:ext cx="9039254"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418262" y="12267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3"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418262" y="1912986"/>
            <a:ext cx="3013076" cy="555448"/>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418262" y="25934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5"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418262" y="327678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6"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418262" y="39601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7"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418262" y="464788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8"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418262" y="53268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9"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418262" y="600837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20"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6089353" cy="5476875"/>
          </a:xfrm>
          <a:prstGeom prst="rect">
            <a:avLst/>
          </a:prstGeom>
        </p:spPr>
        <p:txBody>
          <a:bodyPr anchor="ctr"/>
          <a:lstStyle>
            <a:lvl1pPr algn="ctr">
              <a:defRPr/>
            </a:lvl1pPr>
          </a:lstStyle>
          <a:p>
            <a:r>
              <a:rPr lang="fr-FR" dirty="0"/>
              <a:t>Cliquez sur l'icône pour ajouter une image</a:t>
            </a:r>
            <a:endParaRPr lang="pt-PT"/>
          </a:p>
        </p:txBody>
      </p:sp>
    </p:spTree>
    <p:extLst>
      <p:ext uri="{BB962C8B-B14F-4D97-AF65-F5344CB8AC3E}">
        <p14:creationId xmlns:p14="http://schemas.microsoft.com/office/powerpoint/2010/main" val="40343189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611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 xmlns:a16="http://schemas.microsoft.com/office/drawing/2014/main" id="{1F7E5A44-800E-4E01-9E39-BE8EDB371110}"/>
              </a:ext>
            </a:extLst>
          </p:cNvPr>
          <p:cNvSpPr/>
          <p:nvPr/>
        </p:nvSpPr>
        <p:spPr>
          <a:xfrm>
            <a:off x="5433397" y="0"/>
            <a:ext cx="447260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a:solidFill>
                <a:srgbClr val="FFFFFF"/>
              </a:solidFill>
            </a:endParaRPr>
          </a:p>
        </p:txBody>
      </p:sp>
      <p:sp>
        <p:nvSpPr>
          <p:cNvPr id="23"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646420" y="1259377"/>
            <a:ext cx="3822791" cy="2801255"/>
          </a:xfrm>
          <a:prstGeom prst="rect">
            <a:avLst/>
          </a:prstGeom>
        </p:spPr>
        <p:txBody>
          <a:bodyPr>
            <a:noAutofit/>
          </a:bodyPr>
          <a:lstStyle>
            <a:lvl1pPr marL="0" indent="0" algn="l">
              <a:lnSpc>
                <a:spcPct val="100000"/>
              </a:lnSpc>
              <a:spcBef>
                <a:spcPts val="0"/>
              </a:spcBef>
              <a:buNone/>
              <a:defRPr sz="13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5646420" y="5568661"/>
            <a:ext cx="3822791" cy="333830"/>
          </a:xfrm>
          <a:prstGeom prst="rect">
            <a:avLst/>
          </a:prstGeom>
        </p:spPr>
        <p:txBody>
          <a:bodyPr>
            <a:noAutofit/>
          </a:bodyPr>
          <a:lstStyle>
            <a:lvl1pPr marL="0" indent="0" algn="ctr">
              <a:lnSpc>
                <a:spcPct val="100000"/>
              </a:lnSpc>
              <a:spcBef>
                <a:spcPts val="0"/>
              </a:spcBef>
              <a:buNone/>
              <a:defRPr sz="1219"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5646420" y="4581129"/>
            <a:ext cx="3822791" cy="983347"/>
          </a:xfrm>
          <a:prstGeom prst="rect">
            <a:avLst/>
          </a:prstGeom>
        </p:spPr>
        <p:txBody>
          <a:bodyPr>
            <a:noAutofit/>
          </a:bodyPr>
          <a:lstStyle>
            <a:lvl1pPr marL="0" indent="0" algn="ctr">
              <a:lnSpc>
                <a:spcPct val="100000"/>
              </a:lnSpc>
              <a:spcBef>
                <a:spcPts val="0"/>
              </a:spcBef>
              <a:buNone/>
              <a:defRPr sz="5363"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184722" y="0"/>
            <a:ext cx="5169236" cy="1104900"/>
          </a:xfrm>
          <a:prstGeom prst="rect">
            <a:avLst/>
          </a:prstGeom>
        </p:spPr>
        <p:txBody>
          <a:bodyPr/>
          <a:lstStyle/>
          <a:p>
            <a:r>
              <a:rPr lang="fr-FR"/>
              <a:t>Modifiez le style du titre</a:t>
            </a:r>
            <a:endParaRPr lang="en-GB" dirty="0"/>
          </a:p>
        </p:txBody>
      </p:sp>
      <p:sp>
        <p:nvSpPr>
          <p:cNvPr id="31"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2"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3" name="Retângulo 43">
            <a:extLst>
              <a:ext uri="{FF2B5EF4-FFF2-40B4-BE49-F238E27FC236}">
                <a16:creationId xmlns="" xmlns:a16="http://schemas.microsoft.com/office/drawing/2014/main"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50000"/>
                  </a:srgbClr>
                </a:solidFill>
                <a:cs typeface="Verdana" panose="020B0604030504040204" pitchFamily="34" charset="0"/>
              </a:rPr>
              <a:pPr algn="r" defTabSz="742950"/>
              <a:t>‹#›</a:t>
            </a:fld>
            <a:endParaRPr lang="en-US" sz="650" dirty="0">
              <a:solidFill>
                <a:srgbClr val="FFFFFF">
                  <a:lumMod val="50000"/>
                </a:srgbClr>
              </a:solidFill>
              <a:cs typeface="Verdana" panose="020B0604030504040204" pitchFamily="34" charset="0"/>
            </a:endParaRPr>
          </a:p>
        </p:txBody>
      </p:sp>
      <p:sp>
        <p:nvSpPr>
          <p:cNvPr id="34" name="Text Placeholder 7">
            <a:extLst>
              <a:ext uri="{FF2B5EF4-FFF2-40B4-BE49-F238E27FC236}">
                <a16:creationId xmlns="" xmlns:a16="http://schemas.microsoft.com/office/drawing/2014/main"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50000"/>
                  </a:srgbClr>
                </a:solidFill>
              </a:rPr>
              <a:t>© Capgemini 2017. All rights reserved |</a:t>
            </a:r>
          </a:p>
        </p:txBody>
      </p:sp>
    </p:spTree>
    <p:extLst>
      <p:ext uri="{BB962C8B-B14F-4D97-AF65-F5344CB8AC3E}">
        <p14:creationId xmlns:p14="http://schemas.microsoft.com/office/powerpoint/2010/main" val="29313826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713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 xmlns:a16="http://schemas.microsoft.com/office/drawing/2014/main" id="{9455EBB8-DB3C-45D2-B02F-0B36A58E555B}"/>
              </a:ext>
            </a:extLst>
          </p:cNvPr>
          <p:cNvSpPr/>
          <p:nvPr/>
        </p:nvSpPr>
        <p:spPr>
          <a:xfrm>
            <a:off x="0"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a:solidFill>
                <a:srgbClr val="FFFFFF"/>
              </a:solidFill>
            </a:endParaRPr>
          </a:p>
        </p:txBody>
      </p:sp>
      <p:sp>
        <p:nvSpPr>
          <p:cNvPr id="74761" name="Freeform 9"/>
          <p:cNvSpPr>
            <a:spLocks/>
          </p:cNvSpPr>
          <p:nvPr/>
        </p:nvSpPr>
        <p:spPr bwMode="auto">
          <a:xfrm>
            <a:off x="0" y="0"/>
            <a:ext cx="3587615"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1" y="1"/>
            <a:ext cx="2952179"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187973" y="3420284"/>
            <a:ext cx="3482858" cy="2993216"/>
          </a:xfrm>
          <a:prstGeom prst="rect">
            <a:avLst/>
          </a:prstGeom>
        </p:spPr>
        <p:txBody>
          <a:bodyPr>
            <a:noAutofit/>
          </a:bodyPr>
          <a:lstStyle>
            <a:lvl1pPr>
              <a:lnSpc>
                <a:spcPct val="100000"/>
              </a:lnSpc>
              <a:defRPr sz="1300"/>
            </a:lvl1pPr>
            <a:lvl2pPr>
              <a:lnSpc>
                <a:spcPct val="100000"/>
              </a:lnSpc>
              <a:defRPr sz="1300"/>
            </a:lvl2pPr>
            <a:lvl3pPr>
              <a:lnSpc>
                <a:spcPct val="100000"/>
              </a:lnSpc>
              <a:defRPr sz="1300"/>
            </a:lvl3pPr>
            <a:lvl4pPr>
              <a:lnSpc>
                <a:spcPct val="100000"/>
              </a:lnSpc>
              <a:defRPr sz="1300"/>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 xmlns:a16="http://schemas.microsoft.com/office/drawing/2014/main" id="{3F6EE60C-2261-45A0-AD6F-B5F767C57B57}"/>
              </a:ext>
            </a:extLst>
          </p:cNvPr>
          <p:cNvSpPr>
            <a:spLocks noGrp="1"/>
          </p:cNvSpPr>
          <p:nvPr>
            <p:ph type="body" sz="quarter" idx="29" hasCustomPrompt="1"/>
          </p:nvPr>
        </p:nvSpPr>
        <p:spPr>
          <a:xfrm>
            <a:off x="5672364" y="518015"/>
            <a:ext cx="3266622" cy="412363"/>
          </a:xfrm>
          <a:prstGeom prst="rect">
            <a:avLst/>
          </a:prstGeom>
          <a:noFill/>
        </p:spPr>
        <p:txBody>
          <a:bodyPr anchor="ctr">
            <a:noAutofit/>
          </a:bodyPr>
          <a:lstStyle>
            <a:lvl1pPr algn="l">
              <a:defRPr sz="1300" b="1">
                <a:solidFill>
                  <a:srgbClr val="0070AD"/>
                </a:solidFill>
              </a:defRPr>
            </a:lvl1pPr>
            <a:lvl2pPr>
              <a:defRPr sz="1138"/>
            </a:lvl2pPr>
            <a:lvl3pPr>
              <a:defRPr sz="975"/>
            </a:lvl3pPr>
            <a:lvl4pPr>
              <a:defRPr sz="894"/>
            </a:lvl4pPr>
            <a:lvl5pPr>
              <a:defRPr sz="894"/>
            </a:lvl5pPr>
          </a:lstStyle>
          <a:p>
            <a:pPr lvl="0"/>
            <a:r>
              <a:rPr lang="en-US" dirty="0"/>
              <a:t>Click to insert title</a:t>
            </a:r>
          </a:p>
        </p:txBody>
      </p:sp>
      <p:sp>
        <p:nvSpPr>
          <p:cNvPr id="16" name="Text Placeholder 7">
            <a:extLst>
              <a:ext uri="{FF2B5EF4-FFF2-40B4-BE49-F238E27FC236}">
                <a16:creationId xmlns="" xmlns:a16="http://schemas.microsoft.com/office/drawing/2014/main" id="{ABE7F41D-73F9-4353-AE3F-71AB8377048D}"/>
              </a:ext>
            </a:extLst>
          </p:cNvPr>
          <p:cNvSpPr>
            <a:spLocks noGrp="1"/>
          </p:cNvSpPr>
          <p:nvPr>
            <p:ph type="body" sz="quarter" idx="30" hasCustomPrompt="1"/>
          </p:nvPr>
        </p:nvSpPr>
        <p:spPr>
          <a:xfrm>
            <a:off x="5672365" y="936969"/>
            <a:ext cx="3266622" cy="1177616"/>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 xmlns:a16="http://schemas.microsoft.com/office/drawing/2014/main" id="{83D9B326-443F-495A-B788-21C48AC85AE2}"/>
              </a:ext>
            </a:extLst>
          </p:cNvPr>
          <p:cNvSpPr>
            <a:spLocks noGrp="1"/>
          </p:cNvSpPr>
          <p:nvPr>
            <p:ph type="body" sz="quarter" idx="31" hasCustomPrompt="1"/>
          </p:nvPr>
        </p:nvSpPr>
        <p:spPr>
          <a:xfrm>
            <a:off x="5672364" y="4647263"/>
            <a:ext cx="3266622" cy="412363"/>
          </a:xfrm>
          <a:prstGeom prst="rect">
            <a:avLst/>
          </a:prstGeom>
          <a:noFill/>
        </p:spPr>
        <p:txBody>
          <a:bodyPr anchor="ctr">
            <a:noAutofit/>
          </a:bodyPr>
          <a:lstStyle>
            <a:lvl1pPr algn="l">
              <a:defRPr sz="1300" b="1">
                <a:solidFill>
                  <a:srgbClr val="0070AD"/>
                </a:solidFill>
              </a:defRPr>
            </a:lvl1pPr>
            <a:lvl2pPr>
              <a:defRPr sz="1138"/>
            </a:lvl2pPr>
            <a:lvl3pPr>
              <a:defRPr sz="975"/>
            </a:lvl3pPr>
            <a:lvl4pPr>
              <a:defRPr sz="894"/>
            </a:lvl4pPr>
            <a:lvl5pPr>
              <a:defRPr sz="894"/>
            </a:lvl5pPr>
          </a:lstStyle>
          <a:p>
            <a:pPr lvl="0"/>
            <a:r>
              <a:rPr lang="en-US" dirty="0"/>
              <a:t>Click to insert title</a:t>
            </a:r>
          </a:p>
        </p:txBody>
      </p:sp>
      <p:sp>
        <p:nvSpPr>
          <p:cNvPr id="18" name="Text Placeholder 7">
            <a:extLst>
              <a:ext uri="{FF2B5EF4-FFF2-40B4-BE49-F238E27FC236}">
                <a16:creationId xmlns="" xmlns:a16="http://schemas.microsoft.com/office/drawing/2014/main" id="{00358894-025F-4D0E-AF6E-F99EDF29800A}"/>
              </a:ext>
            </a:extLst>
          </p:cNvPr>
          <p:cNvSpPr>
            <a:spLocks noGrp="1"/>
          </p:cNvSpPr>
          <p:nvPr>
            <p:ph type="body" sz="quarter" idx="32" hasCustomPrompt="1"/>
          </p:nvPr>
        </p:nvSpPr>
        <p:spPr>
          <a:xfrm>
            <a:off x="5672365" y="5066217"/>
            <a:ext cx="3266622" cy="1177616"/>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 xmlns:a16="http://schemas.microsoft.com/office/drawing/2014/main" id="{EE5AF299-5A92-48E3-B18F-F7FE7AB9EED4}"/>
              </a:ext>
            </a:extLst>
          </p:cNvPr>
          <p:cNvSpPr>
            <a:spLocks noGrp="1"/>
          </p:cNvSpPr>
          <p:nvPr>
            <p:ph type="body" sz="quarter" idx="33" hasCustomPrompt="1"/>
          </p:nvPr>
        </p:nvSpPr>
        <p:spPr>
          <a:xfrm>
            <a:off x="5672364" y="2563382"/>
            <a:ext cx="3266622" cy="412363"/>
          </a:xfrm>
          <a:prstGeom prst="rect">
            <a:avLst/>
          </a:prstGeom>
          <a:noFill/>
        </p:spPr>
        <p:txBody>
          <a:bodyPr anchor="ctr">
            <a:noAutofit/>
          </a:bodyPr>
          <a:lstStyle>
            <a:lvl1pPr algn="l">
              <a:defRPr sz="1300" b="1">
                <a:solidFill>
                  <a:srgbClr val="0070AD"/>
                </a:solidFill>
              </a:defRPr>
            </a:lvl1pPr>
            <a:lvl2pPr>
              <a:defRPr sz="1138"/>
            </a:lvl2pPr>
            <a:lvl3pPr>
              <a:defRPr sz="975"/>
            </a:lvl3pPr>
            <a:lvl4pPr>
              <a:defRPr sz="894"/>
            </a:lvl4pPr>
            <a:lvl5pPr>
              <a:defRPr sz="894"/>
            </a:lvl5pPr>
          </a:lstStyle>
          <a:p>
            <a:pPr lvl="0"/>
            <a:r>
              <a:rPr lang="en-US" dirty="0"/>
              <a:t>Click to insert title</a:t>
            </a:r>
          </a:p>
        </p:txBody>
      </p:sp>
      <p:sp>
        <p:nvSpPr>
          <p:cNvPr id="20" name="Text Placeholder 7">
            <a:extLst>
              <a:ext uri="{FF2B5EF4-FFF2-40B4-BE49-F238E27FC236}">
                <a16:creationId xmlns="" xmlns:a16="http://schemas.microsoft.com/office/drawing/2014/main" id="{F951F368-6540-4675-9A52-0824638E0EF4}"/>
              </a:ext>
            </a:extLst>
          </p:cNvPr>
          <p:cNvSpPr>
            <a:spLocks noGrp="1"/>
          </p:cNvSpPr>
          <p:nvPr>
            <p:ph type="body" sz="quarter" idx="34" hasCustomPrompt="1"/>
          </p:nvPr>
        </p:nvSpPr>
        <p:spPr>
          <a:xfrm>
            <a:off x="5672365" y="2982336"/>
            <a:ext cx="3266622" cy="1177616"/>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642524" y="1040485"/>
            <a:ext cx="701401" cy="482705"/>
          </a:xfrm>
          <a:prstGeom prst="rect">
            <a:avLst/>
          </a:prstGeom>
          <a:noFill/>
        </p:spPr>
        <p:txBody>
          <a:bodyPr wrap="none" anchor="ctr">
            <a:noAutofit/>
          </a:bodyPr>
          <a:lstStyle>
            <a:lvl1pPr algn="ctr">
              <a:defRPr sz="2925"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2"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642524" y="2996222"/>
            <a:ext cx="701401" cy="482705"/>
          </a:xfrm>
          <a:prstGeom prst="rect">
            <a:avLst/>
          </a:prstGeom>
          <a:noFill/>
        </p:spPr>
        <p:txBody>
          <a:bodyPr wrap="none" anchor="ctr">
            <a:noAutofit/>
          </a:bodyPr>
          <a:lstStyle>
            <a:lvl1pPr algn="ctr">
              <a:defRPr sz="2925"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3"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642524" y="5107842"/>
            <a:ext cx="701401" cy="482705"/>
          </a:xfrm>
          <a:prstGeom prst="rect">
            <a:avLst/>
          </a:prstGeom>
          <a:noFill/>
        </p:spPr>
        <p:txBody>
          <a:bodyPr wrap="none" anchor="ctr">
            <a:noAutofit/>
          </a:bodyPr>
          <a:lstStyle>
            <a:lvl1pPr algn="ctr">
              <a:defRPr sz="2925" b="0">
                <a:solidFill>
                  <a:srgbClr val="2C004B"/>
                </a:solidFill>
              </a:defRPr>
            </a:lvl1pPr>
            <a:lvl2pPr>
              <a:defRPr sz="1138"/>
            </a:lvl2pPr>
            <a:lvl3pPr>
              <a:defRPr sz="975"/>
            </a:lvl3pPr>
            <a:lvl4pPr>
              <a:defRPr sz="894"/>
            </a:lvl4pPr>
            <a:lvl5pPr>
              <a:defRPr sz="894"/>
            </a:lvl5pPr>
          </a:lstStyle>
          <a:p>
            <a:pPr lvl="0"/>
            <a:r>
              <a:rPr lang="en-US" dirty="0"/>
              <a:t>Nº</a:t>
            </a:r>
          </a:p>
        </p:txBody>
      </p:sp>
    </p:spTree>
    <p:extLst>
      <p:ext uri="{BB962C8B-B14F-4D97-AF65-F5344CB8AC3E}">
        <p14:creationId xmlns:p14="http://schemas.microsoft.com/office/powerpoint/2010/main" val="4064951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ntacts Info">
    <p:spTree>
      <p:nvGrpSpPr>
        <p:cNvPr id="1" name=""/>
        <p:cNvGrpSpPr/>
        <p:nvPr/>
      </p:nvGrpSpPr>
      <p:grpSpPr>
        <a:xfrm>
          <a:off x="0" y="0"/>
          <a:ext cx="0" cy="0"/>
          <a:chOff x="0" y="0"/>
          <a:chExt cx="0" cy="0"/>
        </a:xfrm>
      </p:grpSpPr>
      <p:pic>
        <p:nvPicPr>
          <p:cNvPr id="3" name="Picture 12"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220663" y="6381770"/>
            <a:ext cx="1558925" cy="339725"/>
          </a:xfrm>
          <a:prstGeom prst="rect">
            <a:avLst/>
          </a:prstGeom>
          <a:noFill/>
          <a:ln w="9525">
            <a:noFill/>
            <a:miter lim="800000"/>
            <a:headEnd/>
            <a:tailEnd/>
          </a:ln>
        </p:spPr>
      </p:pic>
      <p:sp>
        <p:nvSpPr>
          <p:cNvPr id="4" name="Rectangle 26"/>
          <p:cNvSpPr>
            <a:spLocks noChangeArrowheads="1"/>
          </p:cNvSpPr>
          <p:nvPr userDrawn="1"/>
        </p:nvSpPr>
        <p:spPr bwMode="auto">
          <a:xfrm>
            <a:off x="0" y="6286520"/>
            <a:ext cx="990758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dirty="0">
              <a:solidFill>
                <a:prstClr val="black"/>
              </a:solidFill>
            </a:endParaRPr>
          </a:p>
        </p:txBody>
      </p:sp>
      <p:sp>
        <p:nvSpPr>
          <p:cNvPr id="5" name="Freeform 23"/>
          <p:cNvSpPr>
            <a:spLocks/>
          </p:cNvSpPr>
          <p:nvPr/>
        </p:nvSpPr>
        <p:spPr bwMode="auto">
          <a:xfrm>
            <a:off x="0" y="2"/>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prstClr val="black"/>
              </a:solidFill>
            </a:endParaRPr>
          </a:p>
        </p:txBody>
      </p:sp>
      <p:sp>
        <p:nvSpPr>
          <p:cNvPr id="2" name="Titre 1"/>
          <p:cNvSpPr>
            <a:spLocks noGrp="1"/>
          </p:cNvSpPr>
          <p:nvPr>
            <p:ph type="title"/>
          </p:nvPr>
        </p:nvSpPr>
        <p:spPr>
          <a:xfrm>
            <a:off x="0" y="409334"/>
            <a:ext cx="9906000" cy="369332"/>
          </a:xfrm>
        </p:spPr>
        <p:txBody>
          <a:bodyPr/>
          <a:lstStyle>
            <a:lvl1pPr>
              <a:defRPr baseline="0">
                <a:solidFill>
                  <a:schemeClr val="tx2"/>
                </a:solidFill>
              </a:defRPr>
            </a:lvl1pPr>
          </a:lstStyle>
          <a:p>
            <a:r>
              <a:rPr lang="en-US" noProof="0" smtClean="0"/>
              <a:t>Click to edit Master title style</a:t>
            </a:r>
            <a:endParaRPr lang="en-US" noProof="0" dirty="0"/>
          </a:p>
        </p:txBody>
      </p:sp>
      <p:sp>
        <p:nvSpPr>
          <p:cNvPr id="8" name="Rectangle 19"/>
          <p:cNvSpPr>
            <a:spLocks noGrp="1" noChangeArrowheads="1"/>
          </p:cNvSpPr>
          <p:nvPr>
            <p:ph type="sldNum" sz="quarter" idx="11"/>
          </p:nvPr>
        </p:nvSpPr>
        <p:spPr>
          <a:xfrm>
            <a:off x="9647238" y="6732608"/>
            <a:ext cx="252412" cy="104775"/>
          </a:xfrm>
          <a:prstGeom prst="rect">
            <a:avLst/>
          </a:prstGeom>
        </p:spPr>
        <p:txBody>
          <a:bodyPr/>
          <a:lstStyle>
            <a:lvl1pPr algn="r" eaLnBrk="0" hangingPunct="0">
              <a:lnSpc>
                <a:spcPct val="85000"/>
              </a:lnSpc>
              <a:defRPr sz="800" b="0">
                <a:solidFill>
                  <a:srgbClr val="000000"/>
                </a:solidFill>
                <a:latin typeface="Arial" charset="0"/>
                <a:cs typeface="Arial" charset="0"/>
              </a:defRPr>
            </a:lvl1pPr>
          </a:lstStyle>
          <a:p>
            <a:pPr fontAlgn="base">
              <a:spcBef>
                <a:spcPct val="0"/>
              </a:spcBef>
              <a:spcAft>
                <a:spcPct val="0"/>
              </a:spcAft>
              <a:defRPr/>
            </a:pPr>
            <a:fld id="{6EB33DB0-12C1-484E-9CAD-F6AE3ED3D3DC}" type="slidenum">
              <a:rPr lang="en-US"/>
              <a:pPr fontAlgn="base">
                <a:spcBef>
                  <a:spcPct val="0"/>
                </a:spcBef>
                <a:spcAft>
                  <a:spcPct val="0"/>
                </a:spcAft>
                <a:defRPr/>
              </a:pPr>
              <a:t>‹#›</a:t>
            </a:fld>
            <a:endParaRPr lang="en-US" dirty="0"/>
          </a:p>
        </p:txBody>
      </p:sp>
      <p:sp>
        <p:nvSpPr>
          <p:cNvPr id="9" name="Rectangle 17"/>
          <p:cNvSpPr>
            <a:spLocks noGrp="1" noChangeArrowheads="1"/>
          </p:cNvSpPr>
          <p:nvPr>
            <p:ph type="dt" sz="half" idx="12"/>
          </p:nvPr>
        </p:nvSpPr>
        <p:spPr>
          <a:xfrm>
            <a:off x="6788156" y="6669360"/>
            <a:ext cx="2879725" cy="165100"/>
          </a:xfrm>
          <a:prstGeom prst="rect">
            <a:avLst/>
          </a:prstGeom>
        </p:spPr>
        <p:txBody>
          <a:bodyPr/>
          <a:lstStyle>
            <a:lvl1pPr algn="r" eaLnBrk="0" hangingPunct="0">
              <a:lnSpc>
                <a:spcPct val="85000"/>
              </a:lnSpc>
              <a:defRPr sz="600" smtClean="0">
                <a:solidFill>
                  <a:schemeClr val="tx1"/>
                </a:solidFill>
              </a:defRPr>
            </a:lvl1pPr>
          </a:lstStyle>
          <a:p>
            <a:pPr fontAlgn="base">
              <a:spcBef>
                <a:spcPct val="0"/>
              </a:spcBef>
              <a:spcAft>
                <a:spcPct val="0"/>
              </a:spcAft>
              <a:defRPr/>
            </a:pPr>
            <a:fld id="{3FA1793A-8C97-4B9D-AC17-F9B0C14AC624}" type="datetime1">
              <a:rPr lang="en-US" smtClean="0">
                <a:solidFill>
                  <a:prstClr val="black"/>
                </a:solidFill>
              </a:rPr>
              <a:t>5/28/2019</a:t>
            </a:fld>
            <a:endParaRPr lang="en-US" dirty="0">
              <a:solidFill>
                <a:prstClr val="black"/>
              </a:solidFill>
            </a:endParaRPr>
          </a:p>
        </p:txBody>
      </p:sp>
      <p:sp>
        <p:nvSpPr>
          <p:cNvPr id="10" name="Rectangle 11"/>
          <p:cNvSpPr>
            <a:spLocks noChangeArrowheads="1"/>
          </p:cNvSpPr>
          <p:nvPr userDrawn="1"/>
        </p:nvSpPr>
        <p:spPr bwMode="auto">
          <a:xfrm>
            <a:off x="7257257" y="6381328"/>
            <a:ext cx="2808312" cy="215444"/>
          </a:xfrm>
          <a:prstGeom prst="rect">
            <a:avLst/>
          </a:prstGeom>
          <a:noFill/>
          <a:ln w="19050">
            <a:noFill/>
            <a:miter lim="800000"/>
            <a:headEnd/>
            <a:tailEnd/>
          </a:ln>
          <a:effectLst/>
        </p:spPr>
        <p:txBody>
          <a:bodyPr wrap="square" lIns="36000" rIns="72000">
            <a:spAutoFit/>
          </a:bodyPr>
          <a:lstStyle/>
          <a:p>
            <a:pPr fontAlgn="base">
              <a:spcBef>
                <a:spcPct val="0"/>
              </a:spcBef>
              <a:spcAft>
                <a:spcPct val="0"/>
              </a:spcAft>
              <a:defRPr/>
            </a:pPr>
            <a:r>
              <a:rPr lang="en-US" sz="800" dirty="0">
                <a:solidFill>
                  <a:prstClr val="black"/>
                </a:solidFill>
              </a:rPr>
              <a:t>IDP Monthly Review - AppsTwo OBU – April 2012</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816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p:nvSpPr>
        <p:spPr bwMode="auto">
          <a:xfrm>
            <a:off x="5841261" y="0"/>
            <a:ext cx="4064739"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1" y="0"/>
            <a:ext cx="5605572"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792686" y="295729"/>
            <a:ext cx="2490969" cy="876300"/>
          </a:xfrm>
          <a:prstGeom prst="rect">
            <a:avLst/>
          </a:prstGeom>
        </p:spPr>
        <p:txBody>
          <a:bodyPr anchor="t">
            <a:noAutofit/>
          </a:bodyPr>
          <a:lstStyle>
            <a:lvl1pPr algn="ctr">
              <a:lnSpc>
                <a:spcPct val="100000"/>
              </a:lnSpc>
              <a:defRPr sz="1300" b="1"/>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US" dirty="0"/>
              <a:t>Click to insert text</a:t>
            </a:r>
          </a:p>
        </p:txBody>
      </p:sp>
      <p:sp>
        <p:nvSpPr>
          <p:cNvPr id="24"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5"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Tree>
    <p:extLst>
      <p:ext uri="{BB962C8B-B14F-4D97-AF65-F5344CB8AC3E}">
        <p14:creationId xmlns:p14="http://schemas.microsoft.com/office/powerpoint/2010/main" val="26416895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918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84721" y="0"/>
            <a:ext cx="8258965" cy="1104900"/>
          </a:xfrm>
          <a:prstGeom prst="rect">
            <a:avLst/>
          </a:prstGeom>
        </p:spPr>
        <p:txBody>
          <a:bodyPr/>
          <a:lstStyle/>
          <a:p>
            <a:r>
              <a:rPr lang="fr-FR"/>
              <a:t>Modifiez le style du titre</a:t>
            </a:r>
            <a:endParaRPr lang="en-GB" dirty="0"/>
          </a:p>
        </p:txBody>
      </p:sp>
      <p:sp>
        <p:nvSpPr>
          <p:cNvPr id="77840" name="Freeform 16"/>
          <p:cNvSpPr>
            <a:spLocks/>
          </p:cNvSpPr>
          <p:nvPr/>
        </p:nvSpPr>
        <p:spPr bwMode="auto">
          <a:xfrm>
            <a:off x="8489578" y="0"/>
            <a:ext cx="1426462"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0"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1"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Tree>
    <p:extLst>
      <p:ext uri="{BB962C8B-B14F-4D97-AF65-F5344CB8AC3E}">
        <p14:creationId xmlns:p14="http://schemas.microsoft.com/office/powerpoint/2010/main" val="369898160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1_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021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 xmlns:a16="http://schemas.microsoft.com/office/drawing/2014/main" id="{C50C01FB-E2BF-4470-A153-6F7BF3CCF3F9}"/>
              </a:ext>
            </a:extLst>
          </p:cNvPr>
          <p:cNvSpPr/>
          <p:nvPr/>
        </p:nvSpPr>
        <p:spPr>
          <a:xfrm>
            <a:off x="0" y="4437112"/>
            <a:ext cx="9906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pt-PT" sz="1463">
              <a:solidFill>
                <a:srgbClr val="FFFFFF"/>
              </a:solidFill>
            </a:endParaRPr>
          </a:p>
        </p:txBody>
      </p:sp>
      <p:sp>
        <p:nvSpPr>
          <p:cNvPr id="5"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697830" y="1927056"/>
            <a:ext cx="7384262" cy="432048"/>
          </a:xfrm>
          <a:prstGeom prst="rect">
            <a:avLst/>
          </a:prstGeom>
        </p:spPr>
        <p:txBody>
          <a:bodyPr anchor="ctr">
            <a:noAutofit/>
          </a:bodyPr>
          <a:lstStyle>
            <a:lvl1pPr>
              <a:lnSpc>
                <a:spcPct val="100000"/>
              </a:lnSpc>
              <a:defRPr sz="1463">
                <a:solidFill>
                  <a:srgbClr val="12ABDB"/>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itle</a:t>
            </a:r>
          </a:p>
        </p:txBody>
      </p:sp>
      <p:sp>
        <p:nvSpPr>
          <p:cNvPr id="9"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502133"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0"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000773"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499414"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2"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998055"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3"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496696"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4" name="Text Placeholder 7">
            <a:extLst>
              <a:ext uri="{FF2B5EF4-FFF2-40B4-BE49-F238E27FC236}">
                <a16:creationId xmlns="" xmlns:a16="http://schemas.microsoft.com/office/drawing/2014/main" id="{266B7D82-19EF-4C8A-8D75-AEA2758E426F}"/>
              </a:ext>
            </a:extLst>
          </p:cNvPr>
          <p:cNvSpPr>
            <a:spLocks noGrp="1"/>
          </p:cNvSpPr>
          <p:nvPr>
            <p:ph type="body" sz="quarter" idx="40" hasCustomPrompt="1"/>
          </p:nvPr>
        </p:nvSpPr>
        <p:spPr>
          <a:xfrm>
            <a:off x="7995338" y="5661248"/>
            <a:ext cx="1375115" cy="432048"/>
          </a:xfrm>
          <a:prstGeom prst="rect">
            <a:avLst/>
          </a:prstGeom>
        </p:spPr>
        <p:txBody>
          <a:bodyPr anchor="ctr">
            <a:noAutofit/>
          </a:bodyPr>
          <a:lstStyle>
            <a:lvl1pPr algn="ctr">
              <a:lnSpc>
                <a:spcPct val="85000"/>
              </a:lnSpc>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 name="Title 1"/>
          <p:cNvSpPr>
            <a:spLocks noGrp="1"/>
          </p:cNvSpPr>
          <p:nvPr>
            <p:ph type="title"/>
          </p:nvPr>
        </p:nvSpPr>
        <p:spPr>
          <a:xfrm>
            <a:off x="184721" y="0"/>
            <a:ext cx="8258965" cy="1104900"/>
          </a:xfrm>
          <a:prstGeom prst="rect">
            <a:avLst/>
          </a:prstGeom>
        </p:spPr>
        <p:txBody>
          <a:bodyPr/>
          <a:lstStyle/>
          <a:p>
            <a:r>
              <a:rPr lang="fr-FR"/>
              <a:t>Modifiez le style du titre</a:t>
            </a:r>
            <a:endParaRPr lang="en-GB" dirty="0"/>
          </a:p>
        </p:txBody>
      </p:sp>
      <p:sp>
        <p:nvSpPr>
          <p:cNvPr id="77840" name="Freeform 16"/>
          <p:cNvSpPr>
            <a:spLocks/>
          </p:cNvSpPr>
          <p:nvPr/>
        </p:nvSpPr>
        <p:spPr bwMode="auto">
          <a:xfrm>
            <a:off x="8489578" y="0"/>
            <a:ext cx="1426462"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0"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1"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32" name="Text Placeholder 7">
            <a:extLst>
              <a:ext uri="{FF2B5EF4-FFF2-40B4-BE49-F238E27FC236}">
                <a16:creationId xmlns="" xmlns:a16="http://schemas.microsoft.com/office/drawing/2014/main" id="{ABE7F41D-73F9-4353-AE3F-71AB8377048D}"/>
              </a:ext>
            </a:extLst>
          </p:cNvPr>
          <p:cNvSpPr>
            <a:spLocks noGrp="1"/>
          </p:cNvSpPr>
          <p:nvPr>
            <p:ph type="body" sz="quarter" idx="30" hasCustomPrompt="1"/>
          </p:nvPr>
        </p:nvSpPr>
        <p:spPr>
          <a:xfrm>
            <a:off x="697830" y="2493917"/>
            <a:ext cx="2233811" cy="1670309"/>
          </a:xfrm>
          <a:prstGeom prst="rect">
            <a:avLst/>
          </a:prstGeom>
        </p:spPr>
        <p:txBody>
          <a:bodyPr>
            <a:noAutofit/>
          </a:bodyPr>
          <a:lstStyle>
            <a:lvl1pPr>
              <a:lnSpc>
                <a:spcPct val="100000"/>
              </a:lnSpc>
              <a:spcBef>
                <a:spcPts val="0"/>
              </a:spcBef>
              <a:defRPr sz="975"/>
            </a:lvl1pPr>
            <a:lvl2pPr>
              <a:lnSpc>
                <a:spcPct val="100000"/>
              </a:lnSpc>
              <a:spcBef>
                <a:spcPts val="0"/>
              </a:spcBef>
              <a:defRPr sz="975"/>
            </a:lvl2pPr>
            <a:lvl3pPr>
              <a:lnSpc>
                <a:spcPct val="100000"/>
              </a:lnSpc>
              <a:spcBef>
                <a:spcPts val="0"/>
              </a:spcBef>
              <a:defRPr sz="975"/>
            </a:lvl3pPr>
            <a:lvl4pPr>
              <a:lnSpc>
                <a:spcPct val="100000"/>
              </a:lnSpc>
              <a:spcBef>
                <a:spcPts val="0"/>
              </a:spcBef>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ABE7F41D-73F9-4353-AE3F-71AB8377048D}"/>
              </a:ext>
            </a:extLst>
          </p:cNvPr>
          <p:cNvSpPr>
            <a:spLocks noGrp="1"/>
          </p:cNvSpPr>
          <p:nvPr>
            <p:ph type="body" sz="quarter" idx="41" hasCustomPrompt="1"/>
          </p:nvPr>
        </p:nvSpPr>
        <p:spPr>
          <a:xfrm>
            <a:off x="3273055" y="2493917"/>
            <a:ext cx="2233811" cy="1670309"/>
          </a:xfrm>
          <a:prstGeom prst="rect">
            <a:avLst/>
          </a:prstGeom>
        </p:spPr>
        <p:txBody>
          <a:bodyPr>
            <a:noAutofit/>
          </a:bodyPr>
          <a:lstStyle>
            <a:lvl1pPr>
              <a:lnSpc>
                <a:spcPct val="100000"/>
              </a:lnSpc>
              <a:spcBef>
                <a:spcPts val="0"/>
              </a:spcBef>
              <a:defRPr sz="975"/>
            </a:lvl1pPr>
            <a:lvl2pPr>
              <a:lnSpc>
                <a:spcPct val="100000"/>
              </a:lnSpc>
              <a:spcBef>
                <a:spcPts val="0"/>
              </a:spcBef>
              <a:defRPr sz="975"/>
            </a:lvl2pPr>
            <a:lvl3pPr>
              <a:lnSpc>
                <a:spcPct val="100000"/>
              </a:lnSpc>
              <a:spcBef>
                <a:spcPts val="0"/>
              </a:spcBef>
              <a:defRPr sz="975"/>
            </a:lvl3pPr>
            <a:lvl4pPr>
              <a:lnSpc>
                <a:spcPct val="100000"/>
              </a:lnSpc>
              <a:spcBef>
                <a:spcPts val="0"/>
              </a:spcBef>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 xmlns:a16="http://schemas.microsoft.com/office/drawing/2014/main" id="{ABE7F41D-73F9-4353-AE3F-71AB8377048D}"/>
              </a:ext>
            </a:extLst>
          </p:cNvPr>
          <p:cNvSpPr>
            <a:spLocks noGrp="1"/>
          </p:cNvSpPr>
          <p:nvPr>
            <p:ph type="body" sz="quarter" idx="42" hasCustomPrompt="1"/>
          </p:nvPr>
        </p:nvSpPr>
        <p:spPr>
          <a:xfrm>
            <a:off x="5848281" y="2493917"/>
            <a:ext cx="2233811" cy="1670309"/>
          </a:xfrm>
          <a:prstGeom prst="rect">
            <a:avLst/>
          </a:prstGeom>
        </p:spPr>
        <p:txBody>
          <a:bodyPr>
            <a:noAutofit/>
          </a:bodyPr>
          <a:lstStyle>
            <a:lvl1pPr>
              <a:lnSpc>
                <a:spcPct val="100000"/>
              </a:lnSpc>
              <a:spcBef>
                <a:spcPts val="0"/>
              </a:spcBef>
              <a:defRPr sz="975"/>
            </a:lvl1pPr>
            <a:lvl2pPr>
              <a:lnSpc>
                <a:spcPct val="100000"/>
              </a:lnSpc>
              <a:spcBef>
                <a:spcPts val="0"/>
              </a:spcBef>
              <a:defRPr sz="975"/>
            </a:lvl2pPr>
            <a:lvl3pPr>
              <a:lnSpc>
                <a:spcPct val="100000"/>
              </a:lnSpc>
              <a:spcBef>
                <a:spcPts val="0"/>
              </a:spcBef>
              <a:defRPr sz="975"/>
            </a:lvl3pPr>
            <a:lvl4pPr>
              <a:lnSpc>
                <a:spcPct val="100000"/>
              </a:lnSpc>
              <a:spcBef>
                <a:spcPts val="0"/>
              </a:spcBef>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 xmlns:a16="http://schemas.microsoft.com/office/drawing/2014/main"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65000"/>
                  </a:srgbClr>
                </a:solidFill>
                <a:cs typeface="Verdana" panose="020B0604030504040204" pitchFamily="34" charset="0"/>
              </a:rPr>
              <a:pPr algn="r" defTabSz="742950"/>
              <a:t>‹#›</a:t>
            </a:fld>
            <a:endParaRPr lang="en-US" sz="650" dirty="0">
              <a:solidFill>
                <a:srgbClr val="FFFFFF">
                  <a:lumMod val="65000"/>
                </a:srgbClr>
              </a:solidFill>
              <a:cs typeface="Verdana" panose="020B0604030504040204" pitchFamily="34" charset="0"/>
            </a:endParaRPr>
          </a:p>
        </p:txBody>
      </p:sp>
      <p:sp>
        <p:nvSpPr>
          <p:cNvPr id="36" name="Text Placeholder 7">
            <a:extLst>
              <a:ext uri="{FF2B5EF4-FFF2-40B4-BE49-F238E27FC236}">
                <a16:creationId xmlns="" xmlns:a16="http://schemas.microsoft.com/office/drawing/2014/main"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65000"/>
                  </a:srgbClr>
                </a:solidFill>
              </a:rPr>
              <a:t>© Capgemini 2017. All rights reserved |</a:t>
            </a:r>
          </a:p>
        </p:txBody>
      </p:sp>
    </p:spTree>
    <p:extLst>
      <p:ext uri="{BB962C8B-B14F-4D97-AF65-F5344CB8AC3E}">
        <p14:creationId xmlns:p14="http://schemas.microsoft.com/office/powerpoint/2010/main" val="33141714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123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p:nvSpPr>
        <p:spPr bwMode="auto">
          <a:xfrm>
            <a:off x="0" y="0"/>
            <a:ext cx="5593868"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78854" name="Freeform 6"/>
          <p:cNvSpPr>
            <a:spLocks/>
          </p:cNvSpPr>
          <p:nvPr/>
        </p:nvSpPr>
        <p:spPr bwMode="auto">
          <a:xfrm>
            <a:off x="8443317" y="2719389"/>
            <a:ext cx="10319"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0" name="Title 1"/>
          <p:cNvSpPr>
            <a:spLocks noGrp="1"/>
          </p:cNvSpPr>
          <p:nvPr>
            <p:ph type="title"/>
          </p:nvPr>
        </p:nvSpPr>
        <p:spPr>
          <a:xfrm>
            <a:off x="184722" y="0"/>
            <a:ext cx="4112340"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6415663" y="124201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2"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6415663" y="549546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3" name="Text Placeholder 7">
            <a:extLst>
              <a:ext uri="{FF2B5EF4-FFF2-40B4-BE49-F238E27FC236}">
                <a16:creationId xmlns="" xmlns:a16="http://schemas.microsoft.com/office/drawing/2014/main" id="{ABF327CC-2917-45F5-82B2-75A9F742E63A}"/>
              </a:ext>
            </a:extLst>
          </p:cNvPr>
          <p:cNvSpPr>
            <a:spLocks noGrp="1"/>
          </p:cNvSpPr>
          <p:nvPr>
            <p:ph type="body" sz="quarter" idx="39" hasCustomPrompt="1"/>
          </p:nvPr>
        </p:nvSpPr>
        <p:spPr>
          <a:xfrm>
            <a:off x="6415663" y="464477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4" name="Text Placeholder 7">
            <a:extLst>
              <a:ext uri="{FF2B5EF4-FFF2-40B4-BE49-F238E27FC236}">
                <a16:creationId xmlns="" xmlns:a16="http://schemas.microsoft.com/office/drawing/2014/main" id="{169195DA-4761-45A5-B68F-E20845F04F0C}"/>
              </a:ext>
            </a:extLst>
          </p:cNvPr>
          <p:cNvSpPr>
            <a:spLocks noGrp="1"/>
          </p:cNvSpPr>
          <p:nvPr>
            <p:ph type="body" sz="quarter" idx="40" hasCustomPrompt="1"/>
          </p:nvPr>
        </p:nvSpPr>
        <p:spPr>
          <a:xfrm>
            <a:off x="6415663" y="379408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5" name="Text Placeholder 7">
            <a:extLst>
              <a:ext uri="{FF2B5EF4-FFF2-40B4-BE49-F238E27FC236}">
                <a16:creationId xmlns="" xmlns:a16="http://schemas.microsoft.com/office/drawing/2014/main" id="{343313FC-7C2A-4C39-A322-E5328A14AED9}"/>
              </a:ext>
            </a:extLst>
          </p:cNvPr>
          <p:cNvSpPr>
            <a:spLocks noGrp="1"/>
          </p:cNvSpPr>
          <p:nvPr>
            <p:ph type="body" sz="quarter" idx="41" hasCustomPrompt="1"/>
          </p:nvPr>
        </p:nvSpPr>
        <p:spPr>
          <a:xfrm>
            <a:off x="6415663" y="294339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6" name="Text Placeholder 7">
            <a:extLst>
              <a:ext uri="{FF2B5EF4-FFF2-40B4-BE49-F238E27FC236}">
                <a16:creationId xmlns="" xmlns:a16="http://schemas.microsoft.com/office/drawing/2014/main" id="{C9E896F1-84B5-4E7A-BD88-FFAFED8559EB}"/>
              </a:ext>
            </a:extLst>
          </p:cNvPr>
          <p:cNvSpPr>
            <a:spLocks noGrp="1"/>
          </p:cNvSpPr>
          <p:nvPr>
            <p:ph type="body" sz="quarter" idx="42" hasCustomPrompt="1"/>
          </p:nvPr>
        </p:nvSpPr>
        <p:spPr>
          <a:xfrm>
            <a:off x="6415663" y="2092709"/>
            <a:ext cx="2922726" cy="524886"/>
          </a:xfrm>
          <a:prstGeom prst="rect">
            <a:avLst/>
          </a:prstGeom>
        </p:spPr>
        <p:txBody>
          <a:bodyPr anchor="ctr">
            <a:noAutofit/>
          </a:bodyPr>
          <a:lstStyle>
            <a:lvl1pPr algn="l">
              <a:lnSpc>
                <a:spcPct val="850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 name="Espace réservé du texte 2"/>
          <p:cNvSpPr>
            <a:spLocks noGrp="1"/>
          </p:cNvSpPr>
          <p:nvPr>
            <p:ph type="body" sz="quarter" idx="43"/>
          </p:nvPr>
        </p:nvSpPr>
        <p:spPr>
          <a:xfrm>
            <a:off x="184448" y="1808164"/>
            <a:ext cx="4112022"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4589027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225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p:nvSpPr>
        <p:spPr bwMode="auto">
          <a:xfrm>
            <a:off x="-1" y="1"/>
            <a:ext cx="4515093"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1" y="824315"/>
            <a:ext cx="3058155"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184721" y="2640370"/>
            <a:ext cx="3058155" cy="2388831"/>
          </a:xfrm>
          <a:prstGeom prst="rect">
            <a:avLst/>
          </a:prstGeom>
        </p:spPr>
        <p:txBody>
          <a:bodyPr>
            <a:noAutofit/>
          </a:bodyPr>
          <a:lstStyle>
            <a:lvl1pPr>
              <a:lnSpc>
                <a:spcPct val="100000"/>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7"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1910662" y="-1"/>
            <a:ext cx="9906000"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344356957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328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p:nvSpPr>
        <p:spPr bwMode="auto">
          <a:xfrm>
            <a:off x="0" y="2312"/>
            <a:ext cx="7605359"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2" y="824315"/>
            <a:ext cx="3656778" cy="1830078"/>
          </a:xfrm>
          <a:prstGeom prst="rect">
            <a:avLst/>
          </a:prstGeom>
        </p:spPr>
        <p:txBody>
          <a:bodyPr/>
          <a:lstStyle>
            <a:lvl1pPr>
              <a:defRPr>
                <a:solidFill>
                  <a:schemeClr val="accent2"/>
                </a:solidFill>
              </a:defRPr>
            </a:lvl1pPr>
          </a:lstStyle>
          <a:p>
            <a:r>
              <a:rPr lang="fr-FR" dirty="0"/>
              <a:t>Modifiez le style du titre</a:t>
            </a:r>
            <a:endParaRPr lang="en-GB" dirty="0"/>
          </a:p>
        </p:txBody>
      </p:sp>
      <p:sp>
        <p:nvSpPr>
          <p:cNvPr id="4" name="Espace réservé du texte 3"/>
          <p:cNvSpPr>
            <a:spLocks noGrp="1"/>
          </p:cNvSpPr>
          <p:nvPr>
            <p:ph type="body" sz="quarter" idx="33"/>
          </p:nvPr>
        </p:nvSpPr>
        <p:spPr>
          <a:xfrm>
            <a:off x="4192501" y="2997000"/>
            <a:ext cx="5489067" cy="3492700"/>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40098136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430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p:nvSpPr>
        <p:spPr>
          <a:xfrm>
            <a:off x="7357269" y="6489700"/>
            <a:ext cx="2548731"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GB" sz="1463" dirty="0">
              <a:solidFill>
                <a:srgbClr val="FFFFFF"/>
              </a:solidFill>
            </a:endParaRPr>
          </a:p>
        </p:txBody>
      </p:sp>
      <p:sp>
        <p:nvSpPr>
          <p:cNvPr id="82950" name="Freeform 6"/>
          <p:cNvSpPr>
            <a:spLocks/>
          </p:cNvSpPr>
          <p:nvPr/>
        </p:nvSpPr>
        <p:spPr bwMode="auto">
          <a:xfrm>
            <a:off x="3332956" y="957972"/>
            <a:ext cx="6573044"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6098381" y="2159000"/>
            <a:ext cx="3291681" cy="1701893"/>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82951" name="Freeform 7"/>
          <p:cNvSpPr>
            <a:spLocks/>
          </p:cNvSpPr>
          <p:nvPr/>
        </p:nvSpPr>
        <p:spPr bwMode="auto">
          <a:xfrm>
            <a:off x="7010301" y="-3175"/>
            <a:ext cx="216694"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3"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6098381" y="3846870"/>
            <a:ext cx="3291681" cy="2249131"/>
          </a:xfrm>
          <a:prstGeom prst="rect">
            <a:avLst/>
          </a:prstGeom>
        </p:spPr>
        <p:txBody>
          <a:bodyPr>
            <a:noAutofit/>
          </a:bodyPr>
          <a:lstStyle>
            <a:lvl1pPr>
              <a:lnSpc>
                <a:spcPct val="100000"/>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5"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0" y="-1"/>
            <a:ext cx="5978979" cy="6857998"/>
          </a:xfrm>
          <a:prstGeom prst="rect">
            <a:avLst/>
          </a:prstGeom>
          <a:noFill/>
        </p:spPr>
        <p:txBody>
          <a:bodyPr anchor="ctr"/>
          <a:lstStyle>
            <a:lvl1pPr algn="ctr">
              <a:defRPr/>
            </a:lvl1pPr>
          </a:lstStyle>
          <a:p>
            <a:r>
              <a:rPr lang="fr-FR" dirty="0"/>
              <a:t>Cliquez sur l'icône pour ajouter une imag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p:nvSpPr>
        <p:spPr>
          <a:xfrm>
            <a:off x="957540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50000"/>
                  </a:srgbClr>
                </a:solidFill>
                <a:cs typeface="Verdana" panose="020B0604030504040204" pitchFamily="34" charset="0"/>
              </a:rPr>
              <a:pPr algn="r" defTabSz="742950"/>
              <a:t>‹#›</a:t>
            </a:fld>
            <a:endParaRPr lang="en-US" sz="650" dirty="0">
              <a:solidFill>
                <a:srgbClr val="FFFFFF">
                  <a:lumMod val="50000"/>
                </a:srgbClr>
              </a:solidFill>
              <a:cs typeface="Verdana" panose="020B0604030504040204" pitchFamily="34" charset="0"/>
            </a:endParaRPr>
          </a:p>
        </p:txBody>
      </p:sp>
      <p:sp>
        <p:nvSpPr>
          <p:cNvPr id="20" name="Text Placeholder 7">
            <a:extLst>
              <a:ext uri="{FF2B5EF4-FFF2-40B4-BE49-F238E27FC236}">
                <a16:creationId xmlns="" xmlns:a16="http://schemas.microsoft.com/office/drawing/2014/main" id="{E824319D-02CC-441E-87B5-E9D15DE8CA35}"/>
              </a:ext>
            </a:extLst>
          </p:cNvPr>
          <p:cNvSpPr txBox="1">
            <a:spLocks/>
          </p:cNvSpPr>
          <p:nvPr/>
        </p:nvSpPr>
        <p:spPr>
          <a:xfrm>
            <a:off x="7370183"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50000"/>
                  </a:srgbClr>
                </a:solidFill>
              </a:rPr>
              <a:t>© Capgemini 2017. All rights reserved |</a:t>
            </a:r>
          </a:p>
        </p:txBody>
      </p:sp>
    </p:spTree>
    <p:extLst>
      <p:ext uri="{BB962C8B-B14F-4D97-AF65-F5344CB8AC3E}">
        <p14:creationId xmlns:p14="http://schemas.microsoft.com/office/powerpoint/2010/main" val="1358483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53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p:nvSpPr>
        <p:spPr bwMode="auto">
          <a:xfrm>
            <a:off x="0" y="1"/>
            <a:ext cx="6079034" cy="6886575"/>
          </a:xfrm>
          <a:prstGeom prst="rect">
            <a:avLst/>
          </a:prstGeom>
          <a:noFill/>
          <a:ln w="9525">
            <a:noFill/>
            <a:miter lim="800000"/>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83973" name="Freeform 5"/>
          <p:cNvSpPr>
            <a:spLocks/>
          </p:cNvSpPr>
          <p:nvPr/>
        </p:nvSpPr>
        <p:spPr bwMode="auto">
          <a:xfrm>
            <a:off x="1291" y="-3175"/>
            <a:ext cx="4290020"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83975" name="Freeform 7"/>
          <p:cNvSpPr>
            <a:spLocks/>
          </p:cNvSpPr>
          <p:nvPr/>
        </p:nvSpPr>
        <p:spPr bwMode="auto">
          <a:xfrm>
            <a:off x="1341438" y="5957888"/>
            <a:ext cx="15478"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83976" name="Freeform 8"/>
          <p:cNvSpPr>
            <a:spLocks/>
          </p:cNvSpPr>
          <p:nvPr/>
        </p:nvSpPr>
        <p:spPr bwMode="auto">
          <a:xfrm>
            <a:off x="3870" y="-3175"/>
            <a:ext cx="6079034"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3"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187972" y="2419570"/>
            <a:ext cx="3464982" cy="2063579"/>
          </a:xfrm>
          <a:prstGeom prst="rect">
            <a:avLst/>
          </a:prstGeom>
        </p:spPr>
        <p:txBody>
          <a:bodyPr>
            <a:noAutofit/>
          </a:bodyPr>
          <a:lstStyle>
            <a:lvl1pPr>
              <a:lnSpc>
                <a:spcPct val="100000"/>
              </a:lnSpc>
              <a:buClr>
                <a:schemeClr val="bg1"/>
              </a:buClr>
              <a:defRPr sz="1300">
                <a:solidFill>
                  <a:schemeClr val="bg1"/>
                </a:solidFill>
              </a:defRPr>
            </a:lvl1pPr>
            <a:lvl2pPr>
              <a:lnSpc>
                <a:spcPct val="100000"/>
              </a:lnSpc>
              <a:buClr>
                <a:schemeClr val="bg1"/>
              </a:buClr>
              <a:defRPr sz="1300">
                <a:solidFill>
                  <a:schemeClr val="bg1"/>
                </a:solidFill>
              </a:defRPr>
            </a:lvl2pPr>
            <a:lvl3pPr>
              <a:lnSpc>
                <a:spcPct val="100000"/>
              </a:lnSpc>
              <a:buClr>
                <a:schemeClr val="bg1"/>
              </a:buClr>
              <a:defRPr sz="1300">
                <a:solidFill>
                  <a:schemeClr val="bg1"/>
                </a:solidFill>
              </a:defRPr>
            </a:lvl3pPr>
            <a:lvl4pPr>
              <a:lnSpc>
                <a:spcPct val="100000"/>
              </a:lnSpc>
              <a:buClr>
                <a:schemeClr val="bg1"/>
              </a:buClr>
              <a:defRPr sz="1300">
                <a:solidFill>
                  <a:schemeClr val="bg1"/>
                </a:solidFill>
              </a:defRPr>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184722" y="566057"/>
            <a:ext cx="3459271"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5"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927022" y="-1"/>
            <a:ext cx="5978979"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69560652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184721" y="0"/>
            <a:ext cx="5464058" cy="1104900"/>
          </a:xfrm>
          <a:prstGeom prst="rect">
            <a:avLst/>
          </a:prstGeom>
        </p:spPr>
        <p:txBody>
          <a:bodyPr/>
          <a:lstStyle/>
          <a:p>
            <a:r>
              <a:rPr lang="fr-FR"/>
              <a:t>Modifiez le style du titre</a:t>
            </a:r>
            <a:endParaRPr lang="en-GB" dirty="0"/>
          </a:p>
        </p:txBody>
      </p:sp>
      <p:sp>
        <p:nvSpPr>
          <p:cNvPr id="9" name="Freeform 6"/>
          <p:cNvSpPr>
            <a:spLocks/>
          </p:cNvSpPr>
          <p:nvPr/>
        </p:nvSpPr>
        <p:spPr bwMode="auto">
          <a:xfrm>
            <a:off x="5234107" y="0"/>
            <a:ext cx="4671893"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0"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1"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2"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5106308" y="-1"/>
            <a:ext cx="4799692" cy="6857998"/>
          </a:xfrm>
          <a:prstGeom prst="rect">
            <a:avLst/>
          </a:prstGeom>
          <a:noFill/>
        </p:spPr>
        <p:txBody>
          <a:bodyPr anchor="ctr"/>
          <a:lstStyle>
            <a:lvl1pPr algn="ctr">
              <a:defRPr/>
            </a:lvl1pPr>
          </a:lstStyle>
          <a:p>
            <a:r>
              <a:rPr lang="fr-FR" dirty="0"/>
              <a:t>Cliquez sur l'icône pour ajouter une image</a:t>
            </a:r>
            <a:endParaRPr lang="pt-PT" dirty="0"/>
          </a:p>
        </p:txBody>
      </p:sp>
      <p:sp>
        <p:nvSpPr>
          <p:cNvPr id="13"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184722" y="1919899"/>
            <a:ext cx="3350242" cy="4016445"/>
          </a:xfrm>
          <a:prstGeom prst="rect">
            <a:avLst/>
          </a:prstGeom>
        </p:spPr>
        <p:txBody>
          <a:bodyPr>
            <a:noAutofit/>
          </a:bodyPr>
          <a:lstStyle>
            <a:lvl1pPr>
              <a:lnSpc>
                <a:spcPct val="100000"/>
              </a:lnSpc>
              <a:defRPr sz="1463"/>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Tree>
    <p:extLst>
      <p:ext uri="{BB962C8B-B14F-4D97-AF65-F5344CB8AC3E}">
        <p14:creationId xmlns:p14="http://schemas.microsoft.com/office/powerpoint/2010/main" val="176993509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635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p:nvSpPr>
        <p:spPr bwMode="auto">
          <a:xfrm>
            <a:off x="5085314" y="0"/>
            <a:ext cx="4820686"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2" name="Title 1"/>
          <p:cNvSpPr>
            <a:spLocks noGrp="1"/>
          </p:cNvSpPr>
          <p:nvPr>
            <p:ph type="title"/>
          </p:nvPr>
        </p:nvSpPr>
        <p:spPr>
          <a:xfrm>
            <a:off x="184722" y="-1"/>
            <a:ext cx="4855291" cy="1865871"/>
          </a:xfrm>
          <a:prstGeom prst="rect">
            <a:avLst/>
          </a:prstGeom>
        </p:spPr>
        <p:txBody>
          <a:bodyPr/>
          <a:lstStyle/>
          <a:p>
            <a:r>
              <a:rPr lang="fr-FR"/>
              <a:t>Modifiez le style du titre</a:t>
            </a:r>
            <a:endParaRPr lang="en-GB" dirty="0"/>
          </a:p>
        </p:txBody>
      </p:sp>
      <p:sp>
        <p:nvSpPr>
          <p:cNvPr id="13" name="Freeform 13"/>
          <p:cNvSpPr>
            <a:spLocks/>
          </p:cNvSpPr>
          <p:nvPr/>
        </p:nvSpPr>
        <p:spPr bwMode="auto">
          <a:xfrm>
            <a:off x="9461271" y="334377"/>
            <a:ext cx="22416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4" name="Freeform 14"/>
          <p:cNvSpPr>
            <a:spLocks/>
          </p:cNvSpPr>
          <p:nvPr/>
        </p:nvSpPr>
        <p:spPr bwMode="auto">
          <a:xfrm>
            <a:off x="9344645" y="171573"/>
            <a:ext cx="340792"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pPr defTabSz="742950"/>
            <a:endParaRPr lang="en-GB" sz="1463" dirty="0">
              <a:solidFill>
                <a:prstClr val="black"/>
              </a:solidFill>
            </a:endParaRPr>
          </a:p>
        </p:txBody>
      </p:sp>
      <p:sp>
        <p:nvSpPr>
          <p:cNvPr id="15"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6266444" y="251440"/>
            <a:ext cx="2920193" cy="953247"/>
          </a:xfrm>
          <a:prstGeom prst="rect">
            <a:avLst/>
          </a:prstGeom>
        </p:spPr>
        <p:txBody>
          <a:bodyPr>
            <a:noAutofit/>
          </a:bodyPr>
          <a:lstStyle>
            <a:lvl1pPr>
              <a:lnSpc>
                <a:spcPct val="100000"/>
              </a:lnSpc>
              <a:defRPr sz="1300" b="1">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7"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184721" y="2085519"/>
            <a:ext cx="4865331" cy="4286253"/>
          </a:xfrm>
          <a:prstGeom prst="rect">
            <a:avLst/>
          </a:prstGeom>
        </p:spPr>
        <p:txBody>
          <a:bodyPr>
            <a:noAutofit/>
          </a:bodyPr>
          <a:lstStyle>
            <a:lvl1pPr>
              <a:lnSpc>
                <a:spcPct val="100000"/>
              </a:lnSpc>
              <a:defRPr sz="1463">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Tree>
    <p:extLst>
      <p:ext uri="{BB962C8B-B14F-4D97-AF65-F5344CB8AC3E}">
        <p14:creationId xmlns:p14="http://schemas.microsoft.com/office/powerpoint/2010/main" val="1420493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 blue">
    <p:spTree>
      <p:nvGrpSpPr>
        <p:cNvPr id="1" name=""/>
        <p:cNvGrpSpPr/>
        <p:nvPr/>
      </p:nvGrpSpPr>
      <p:grpSpPr>
        <a:xfrm>
          <a:off x="0" y="0"/>
          <a:ext cx="0" cy="0"/>
          <a:chOff x="0" y="0"/>
          <a:chExt cx="0" cy="0"/>
        </a:xfrm>
      </p:grpSpPr>
      <p:sp>
        <p:nvSpPr>
          <p:cNvPr id="3" name="Freeform 4"/>
          <p:cNvSpPr>
            <a:spLocks/>
          </p:cNvSpPr>
          <p:nvPr userDrawn="1"/>
        </p:nvSpPr>
        <p:spPr bwMode="gray">
          <a:xfrm>
            <a:off x="0" y="0"/>
            <a:ext cx="9906000" cy="6858000"/>
          </a:xfrm>
          <a:custGeom>
            <a:avLst/>
            <a:gdLst/>
            <a:ahLst/>
            <a:cxnLst>
              <a:cxn ang="0">
                <a:pos x="624" y="3322"/>
              </a:cxn>
              <a:cxn ang="0">
                <a:pos x="715" y="3246"/>
              </a:cxn>
              <a:cxn ang="0">
                <a:pos x="805" y="3175"/>
              </a:cxn>
              <a:cxn ang="0">
                <a:pos x="898" y="3111"/>
              </a:cxn>
              <a:cxn ang="0">
                <a:pos x="993" y="3049"/>
              </a:cxn>
              <a:cxn ang="0">
                <a:pos x="1089" y="2993"/>
              </a:cxn>
              <a:cxn ang="0">
                <a:pos x="1285" y="2893"/>
              </a:cxn>
              <a:cxn ang="0">
                <a:pos x="1485" y="2806"/>
              </a:cxn>
              <a:cxn ang="0">
                <a:pos x="1693" y="2729"/>
              </a:cxn>
              <a:cxn ang="0">
                <a:pos x="1904" y="2662"/>
              </a:cxn>
              <a:cxn ang="0">
                <a:pos x="2118" y="2600"/>
              </a:cxn>
              <a:cxn ang="0">
                <a:pos x="2229" y="2571"/>
              </a:cxn>
              <a:cxn ang="0">
                <a:pos x="2475" y="2511"/>
              </a:cxn>
              <a:cxn ang="0">
                <a:pos x="2720" y="2456"/>
              </a:cxn>
              <a:cxn ang="0">
                <a:pos x="3205" y="2358"/>
              </a:cxn>
              <a:cxn ang="0">
                <a:pos x="3198" y="2358"/>
              </a:cxn>
              <a:cxn ang="0">
                <a:pos x="3929" y="2202"/>
              </a:cxn>
              <a:cxn ang="0">
                <a:pos x="4229" y="2129"/>
              </a:cxn>
              <a:cxn ang="0">
                <a:pos x="4409" y="2078"/>
              </a:cxn>
              <a:cxn ang="0">
                <a:pos x="4573" y="2025"/>
              </a:cxn>
              <a:cxn ang="0">
                <a:pos x="4725" y="1967"/>
              </a:cxn>
              <a:cxn ang="0">
                <a:pos x="4867" y="1902"/>
              </a:cxn>
              <a:cxn ang="0">
                <a:pos x="5000" y="1829"/>
              </a:cxn>
              <a:cxn ang="0">
                <a:pos x="5125" y="1745"/>
              </a:cxn>
              <a:cxn ang="0">
                <a:pos x="5245" y="1651"/>
              </a:cxn>
              <a:cxn ang="0">
                <a:pos x="5362" y="1542"/>
              </a:cxn>
              <a:cxn ang="0">
                <a:pos x="5475" y="1420"/>
              </a:cxn>
              <a:cxn ang="0">
                <a:pos x="5587" y="1280"/>
              </a:cxn>
              <a:cxn ang="0">
                <a:pos x="5702" y="1122"/>
              </a:cxn>
              <a:cxn ang="0">
                <a:pos x="5760" y="0"/>
              </a:cxn>
              <a:cxn ang="0">
                <a:pos x="0" y="4451"/>
              </a:cxn>
              <a:cxn ang="0">
                <a:pos x="20" y="4451"/>
              </a:cxn>
              <a:cxn ang="0">
                <a:pos x="55" y="4278"/>
              </a:cxn>
              <a:cxn ang="0">
                <a:pos x="102" y="4111"/>
              </a:cxn>
              <a:cxn ang="0">
                <a:pos x="124" y="4053"/>
              </a:cxn>
              <a:cxn ang="0">
                <a:pos x="169" y="3944"/>
              </a:cxn>
              <a:cxn ang="0">
                <a:pos x="220" y="3836"/>
              </a:cxn>
              <a:cxn ang="0">
                <a:pos x="278" y="3735"/>
              </a:cxn>
              <a:cxn ang="0">
                <a:pos x="342" y="3635"/>
              </a:cxn>
              <a:cxn ang="0">
                <a:pos x="415" y="3540"/>
              </a:cxn>
              <a:cxn ang="0">
                <a:pos x="493" y="3449"/>
              </a:cxn>
              <a:cxn ang="0">
                <a:pos x="578" y="3364"/>
              </a:cxn>
              <a:cxn ang="0">
                <a:pos x="624" y="3322"/>
              </a:cxn>
            </a:cxnLst>
            <a:rect l="0" t="0" r="r" b="b"/>
            <a:pathLst>
              <a:path w="5760" h="4451">
                <a:moveTo>
                  <a:pt x="624" y="3322"/>
                </a:moveTo>
                <a:lnTo>
                  <a:pt x="624" y="3322"/>
                </a:lnTo>
                <a:lnTo>
                  <a:pt x="669" y="3284"/>
                </a:lnTo>
                <a:lnTo>
                  <a:pt x="715" y="3246"/>
                </a:lnTo>
                <a:lnTo>
                  <a:pt x="760" y="3209"/>
                </a:lnTo>
                <a:lnTo>
                  <a:pt x="805" y="3175"/>
                </a:lnTo>
                <a:lnTo>
                  <a:pt x="853" y="3142"/>
                </a:lnTo>
                <a:lnTo>
                  <a:pt x="898" y="3111"/>
                </a:lnTo>
                <a:lnTo>
                  <a:pt x="945" y="3080"/>
                </a:lnTo>
                <a:lnTo>
                  <a:pt x="993" y="3049"/>
                </a:lnTo>
                <a:lnTo>
                  <a:pt x="1042" y="3020"/>
                </a:lnTo>
                <a:lnTo>
                  <a:pt x="1089" y="2993"/>
                </a:lnTo>
                <a:lnTo>
                  <a:pt x="1185" y="2940"/>
                </a:lnTo>
                <a:lnTo>
                  <a:pt x="1285" y="2893"/>
                </a:lnTo>
                <a:lnTo>
                  <a:pt x="1385" y="2847"/>
                </a:lnTo>
                <a:lnTo>
                  <a:pt x="1485" y="2806"/>
                </a:lnTo>
                <a:lnTo>
                  <a:pt x="1589" y="2766"/>
                </a:lnTo>
                <a:lnTo>
                  <a:pt x="1693" y="2729"/>
                </a:lnTo>
                <a:lnTo>
                  <a:pt x="1798" y="2695"/>
                </a:lnTo>
                <a:lnTo>
                  <a:pt x="1904" y="2662"/>
                </a:lnTo>
                <a:lnTo>
                  <a:pt x="2011" y="2631"/>
                </a:lnTo>
                <a:lnTo>
                  <a:pt x="2118" y="2600"/>
                </a:lnTo>
                <a:lnTo>
                  <a:pt x="2229" y="2571"/>
                </a:lnTo>
                <a:lnTo>
                  <a:pt x="2229" y="2571"/>
                </a:lnTo>
                <a:lnTo>
                  <a:pt x="2351" y="2540"/>
                </a:lnTo>
                <a:lnTo>
                  <a:pt x="2475" y="2511"/>
                </a:lnTo>
                <a:lnTo>
                  <a:pt x="2596" y="2482"/>
                </a:lnTo>
                <a:lnTo>
                  <a:pt x="2720" y="2456"/>
                </a:lnTo>
                <a:lnTo>
                  <a:pt x="2964" y="2406"/>
                </a:lnTo>
                <a:lnTo>
                  <a:pt x="3205" y="2358"/>
                </a:lnTo>
                <a:lnTo>
                  <a:pt x="3198" y="2358"/>
                </a:lnTo>
                <a:lnTo>
                  <a:pt x="3198" y="2358"/>
                </a:lnTo>
                <a:lnTo>
                  <a:pt x="3705" y="2251"/>
                </a:lnTo>
                <a:lnTo>
                  <a:pt x="3929" y="2202"/>
                </a:lnTo>
                <a:lnTo>
                  <a:pt x="4133" y="2155"/>
                </a:lnTo>
                <a:lnTo>
                  <a:pt x="4229" y="2129"/>
                </a:lnTo>
                <a:lnTo>
                  <a:pt x="4320" y="2104"/>
                </a:lnTo>
                <a:lnTo>
                  <a:pt x="4409" y="2078"/>
                </a:lnTo>
                <a:lnTo>
                  <a:pt x="4493" y="2053"/>
                </a:lnTo>
                <a:lnTo>
                  <a:pt x="4573" y="2025"/>
                </a:lnTo>
                <a:lnTo>
                  <a:pt x="4651" y="1996"/>
                </a:lnTo>
                <a:lnTo>
                  <a:pt x="4725" y="1967"/>
                </a:lnTo>
                <a:lnTo>
                  <a:pt x="4798" y="1935"/>
                </a:lnTo>
                <a:lnTo>
                  <a:pt x="4867" y="1902"/>
                </a:lnTo>
                <a:lnTo>
                  <a:pt x="4935" y="1865"/>
                </a:lnTo>
                <a:lnTo>
                  <a:pt x="5000" y="1829"/>
                </a:lnTo>
                <a:lnTo>
                  <a:pt x="5064" y="1789"/>
                </a:lnTo>
                <a:lnTo>
                  <a:pt x="5125" y="1745"/>
                </a:lnTo>
                <a:lnTo>
                  <a:pt x="5187" y="1700"/>
                </a:lnTo>
                <a:lnTo>
                  <a:pt x="5245" y="1651"/>
                </a:lnTo>
                <a:lnTo>
                  <a:pt x="5304" y="1598"/>
                </a:lnTo>
                <a:lnTo>
                  <a:pt x="5362" y="1542"/>
                </a:lnTo>
                <a:lnTo>
                  <a:pt x="5418" y="1484"/>
                </a:lnTo>
                <a:lnTo>
                  <a:pt x="5475" y="1420"/>
                </a:lnTo>
                <a:lnTo>
                  <a:pt x="5531" y="1351"/>
                </a:lnTo>
                <a:lnTo>
                  <a:pt x="5587" y="1280"/>
                </a:lnTo>
                <a:lnTo>
                  <a:pt x="5644" y="1204"/>
                </a:lnTo>
                <a:lnTo>
                  <a:pt x="5702" y="1122"/>
                </a:lnTo>
                <a:lnTo>
                  <a:pt x="5760" y="1036"/>
                </a:lnTo>
                <a:lnTo>
                  <a:pt x="5760" y="0"/>
                </a:lnTo>
                <a:lnTo>
                  <a:pt x="0" y="0"/>
                </a:lnTo>
                <a:lnTo>
                  <a:pt x="0" y="4451"/>
                </a:lnTo>
                <a:lnTo>
                  <a:pt x="20" y="4451"/>
                </a:lnTo>
                <a:lnTo>
                  <a:pt x="20" y="4451"/>
                </a:lnTo>
                <a:lnTo>
                  <a:pt x="35" y="4366"/>
                </a:lnTo>
                <a:lnTo>
                  <a:pt x="55" y="4278"/>
                </a:lnTo>
                <a:lnTo>
                  <a:pt x="76" y="4195"/>
                </a:lnTo>
                <a:lnTo>
                  <a:pt x="102" y="4111"/>
                </a:lnTo>
                <a:lnTo>
                  <a:pt x="102" y="4111"/>
                </a:lnTo>
                <a:lnTo>
                  <a:pt x="124" y="4053"/>
                </a:lnTo>
                <a:lnTo>
                  <a:pt x="145" y="3998"/>
                </a:lnTo>
                <a:lnTo>
                  <a:pt x="169" y="3944"/>
                </a:lnTo>
                <a:lnTo>
                  <a:pt x="193" y="3889"/>
                </a:lnTo>
                <a:lnTo>
                  <a:pt x="220" y="3836"/>
                </a:lnTo>
                <a:lnTo>
                  <a:pt x="247" y="3786"/>
                </a:lnTo>
                <a:lnTo>
                  <a:pt x="278" y="3735"/>
                </a:lnTo>
                <a:lnTo>
                  <a:pt x="309" y="3684"/>
                </a:lnTo>
                <a:lnTo>
                  <a:pt x="342" y="3635"/>
                </a:lnTo>
                <a:lnTo>
                  <a:pt x="378" y="3587"/>
                </a:lnTo>
                <a:lnTo>
                  <a:pt x="415" y="3540"/>
                </a:lnTo>
                <a:lnTo>
                  <a:pt x="453" y="3495"/>
                </a:lnTo>
                <a:lnTo>
                  <a:pt x="493" y="3449"/>
                </a:lnTo>
                <a:lnTo>
                  <a:pt x="535" y="3406"/>
                </a:lnTo>
                <a:lnTo>
                  <a:pt x="578" y="3364"/>
                </a:lnTo>
                <a:lnTo>
                  <a:pt x="624" y="3322"/>
                </a:lnTo>
                <a:lnTo>
                  <a:pt x="624" y="3322"/>
                </a:lnTo>
                <a:close/>
              </a:path>
            </a:pathLst>
          </a:custGeom>
          <a:blipFill dpi="0" rotWithShape="1">
            <a:blip r:embed="rId2" cstate="screen"/>
            <a:srcRect/>
            <a:stretch>
              <a:fillRect/>
            </a:stretch>
          </a:blipFill>
          <a:ln w="9525">
            <a:noFill/>
            <a:round/>
            <a:headEnd/>
            <a:tailEnd/>
          </a:ln>
        </p:spPr>
        <p:txBody>
          <a:bodyPr/>
          <a:lstStyle/>
          <a:p>
            <a:pPr algn="ctr" eaLnBrk="0" fontAlgn="base" hangingPunct="0">
              <a:lnSpc>
                <a:spcPct val="85000"/>
              </a:lnSpc>
              <a:spcBef>
                <a:spcPct val="0"/>
              </a:spcBef>
              <a:spcAft>
                <a:spcPct val="0"/>
              </a:spcAft>
              <a:defRPr/>
            </a:pPr>
            <a:endParaRPr lang="nl-NL" sz="1000" b="1">
              <a:solidFill>
                <a:srgbClr val="FFFFFF"/>
              </a:solidFill>
            </a:endParaRPr>
          </a:p>
        </p:txBody>
      </p:sp>
      <p:sp>
        <p:nvSpPr>
          <p:cNvPr id="2" name="Title 1"/>
          <p:cNvSpPr>
            <a:spLocks noGrp="1"/>
          </p:cNvSpPr>
          <p:nvPr>
            <p:ph type="title"/>
          </p:nvPr>
        </p:nvSpPr>
        <p:spPr>
          <a:xfrm>
            <a:off x="3666000" y="5465200"/>
            <a:ext cx="5850000" cy="369332"/>
          </a:xfrm>
        </p:spPr>
        <p:txBody>
          <a:bodyPr/>
          <a:lstStyle>
            <a:lvl1pPr algn="r">
              <a:defRPr/>
            </a:lvl1pPr>
          </a:lstStyle>
          <a:p>
            <a:r>
              <a:rPr lang="en-US" smtClean="0"/>
              <a:t>Click to edit Master title style</a:t>
            </a:r>
            <a:endParaRPr lang="en-GB" dirty="0"/>
          </a:p>
        </p:txBody>
      </p:sp>
      <p:sp>
        <p:nvSpPr>
          <p:cNvPr id="4" name="Footer Placeholder 19"/>
          <p:cNvSpPr>
            <a:spLocks noGrp="1"/>
          </p:cNvSpPr>
          <p:nvPr>
            <p:ph type="ftr" sz="quarter" idx="10"/>
          </p:nvPr>
        </p:nvSpPr>
        <p:spPr>
          <a:xfrm>
            <a:off x="6745288" y="6500813"/>
            <a:ext cx="3136900" cy="349250"/>
          </a:xfrm>
          <a:prstGeom prst="rect">
            <a:avLst/>
          </a:prstGeom>
        </p:spPr>
        <p:txBody>
          <a:bodyPr/>
          <a:lstStyle>
            <a:lvl1pPr algn="r">
              <a:lnSpc>
                <a:spcPts val="1300"/>
              </a:lnSpc>
              <a:defRPr sz="800" dirty="0" smtClean="0"/>
            </a:lvl1pPr>
          </a:lstStyle>
          <a:p>
            <a:pPr>
              <a:defRPr/>
            </a:pPr>
            <a:endParaRPr lang="en-GB" dirty="0">
              <a:solidFill>
                <a:prstClr val="black"/>
              </a:solidFill>
            </a:endParaRPr>
          </a:p>
        </p:txBody>
      </p:sp>
    </p:spTree>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5737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title"/>
          </p:nvPr>
        </p:nvSpPr>
        <p:spPr>
          <a:xfrm>
            <a:off x="184721" y="0"/>
            <a:ext cx="9039254"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916500" y="12267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3"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916500" y="1912986"/>
            <a:ext cx="3013076" cy="555448"/>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916500" y="25934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5"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916500" y="327678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6"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916500" y="39601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7"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916500" y="464788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8"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916500" y="53268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9"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916500" y="600837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 name="Round Single Corner Rectangle 2"/>
          <p:cNvSpPr/>
          <p:nvPr/>
        </p:nvSpPr>
        <p:spPr>
          <a:xfrm>
            <a:off x="9106500" y="0"/>
            <a:ext cx="702000" cy="693000"/>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US" sz="1463" dirty="0">
              <a:solidFill>
                <a:srgbClr val="FFFFFF"/>
              </a:solidFill>
            </a:endParaRPr>
          </a:p>
        </p:txBody>
      </p:sp>
    </p:spTree>
    <p:extLst>
      <p:ext uri="{BB962C8B-B14F-4D97-AF65-F5344CB8AC3E}">
        <p14:creationId xmlns:p14="http://schemas.microsoft.com/office/powerpoint/2010/main" val="24744362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Two columns">
    <p:spTree>
      <p:nvGrpSpPr>
        <p:cNvPr id="1" name=""/>
        <p:cNvGrpSpPr/>
        <p:nvPr/>
      </p:nvGrpSpPr>
      <p:grpSpPr>
        <a:xfrm>
          <a:off x="0" y="0"/>
          <a:ext cx="0" cy="0"/>
          <a:chOff x="0" y="0"/>
          <a:chExt cx="0" cy="0"/>
        </a:xfrm>
      </p:grpSpPr>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31491" y="404815"/>
            <a:ext cx="8892484" cy="865055"/>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p:nvSpPr>
        <p:spPr>
          <a:xfrm>
            <a:off x="9475531" y="6555759"/>
            <a:ext cx="295911" cy="175047"/>
          </a:xfrm>
          <a:prstGeom prst="rect">
            <a:avLst/>
          </a:prstGeom>
        </p:spPr>
        <p:txBody>
          <a:bodyPr wrap="none" lIns="74293" tIns="37147" rIns="74293" bIns="37147">
            <a:spAutoFit/>
          </a:bodyPr>
          <a:lstStyle/>
          <a:p>
            <a:pPr algn="r" defTabSz="742931"/>
            <a:fld id="{0502E5A9-B53C-401E-A0E0-4A359BB0A9E5}" type="slidenum">
              <a:rPr lang="en-US" sz="650">
                <a:solidFill>
                  <a:prstClr val="black">
                    <a:lumMod val="50000"/>
                    <a:lumOff val="50000"/>
                  </a:prstClr>
                </a:solidFill>
                <a:cs typeface="Verdana" panose="020B0604030504040204" pitchFamily="34" charset="0"/>
              </a:rPr>
              <a:pPr algn="r" defTabSz="742931"/>
              <a:t>‹#›</a:t>
            </a:fld>
            <a:endParaRPr lang="en-US" sz="650" dirty="0">
              <a:solidFill>
                <a:prstClr val="black">
                  <a:lumMod val="50000"/>
                  <a:lumOff val="50000"/>
                </a:prstClr>
              </a:solidFill>
              <a:cs typeface="Verdana" panose="020B060403050404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tângulo 43">
            <a:extLst>
              <a:ext uri="{FF2B5EF4-FFF2-40B4-BE49-F238E27FC236}">
                <a16:creationId xmlns="" xmlns:a16="http://schemas.microsoft.com/office/drawing/2014/main" id="{834ADCB4-BFB1-450D-8F6D-64217F4CD92C}"/>
              </a:ext>
            </a:extLst>
          </p:cNvPr>
          <p:cNvSpPr/>
          <p:nvPr/>
        </p:nvSpPr>
        <p:spPr>
          <a:xfrm>
            <a:off x="2771746" y="6555759"/>
            <a:ext cx="1806746" cy="219456"/>
          </a:xfrm>
          <a:prstGeom prst="rect">
            <a:avLst/>
          </a:prstGeom>
        </p:spPr>
        <p:txBody>
          <a:bodyPr wrap="none" lIns="0" tIns="0" rIns="0" bIns="0" anchor="ctr">
            <a:noAutofit/>
          </a:bodyPr>
          <a:lstStyle/>
          <a:p>
            <a:pPr defTabSz="742931"/>
            <a:r>
              <a:rPr lang="en-US" sz="650" dirty="0">
                <a:solidFill>
                  <a:srgbClr val="EDEDED">
                    <a:lumMod val="50000"/>
                  </a:srgbClr>
                </a:solidFill>
                <a:cs typeface="Verdana" panose="020B0604030504040204" pitchFamily="34" charset="0"/>
              </a:rPr>
              <a:t>© 2017 Capgemini. All rights reserved.</a:t>
            </a:r>
          </a:p>
        </p:txBody>
      </p:sp>
    </p:spTree>
    <p:extLst>
      <p:ext uri="{BB962C8B-B14F-4D97-AF65-F5344CB8AC3E}">
        <p14:creationId xmlns:p14="http://schemas.microsoft.com/office/powerpoint/2010/main" val="346599040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7575837" y="6555758"/>
            <a:ext cx="1806745" cy="219456"/>
          </a:xfrm>
          <a:prstGeom prst="rect">
            <a:avLst/>
          </a:prstGeom>
        </p:spPr>
        <p:txBody>
          <a:bodyPr/>
          <a:lstStyle/>
          <a:p>
            <a:pPr defTabSz="742950"/>
            <a:r>
              <a:rPr lang="en-US" sz="1463" smtClean="0">
                <a:solidFill>
                  <a:prstClr val="black"/>
                </a:solidFill>
              </a:rPr>
              <a:t>© 2018 Capgemini. All rights reserved.</a:t>
            </a:r>
            <a:endParaRPr lang="en-US" sz="1463" dirty="0">
              <a:solidFill>
                <a:prstClr val="black"/>
              </a:solidFill>
            </a:endParaRPr>
          </a:p>
        </p:txBody>
      </p:sp>
      <p:sp>
        <p:nvSpPr>
          <p:cNvPr id="7" name="Slide Number Placeholder 6"/>
          <p:cNvSpPr>
            <a:spLocks noGrp="1"/>
          </p:cNvSpPr>
          <p:nvPr>
            <p:ph type="sldNum" sz="quarter" idx="12"/>
          </p:nvPr>
        </p:nvSpPr>
        <p:spPr>
          <a:xfrm>
            <a:off x="9574511" y="6555758"/>
            <a:ext cx="100550" cy="215444"/>
          </a:xfrm>
          <a:prstGeom prst="rect">
            <a:avLst/>
          </a:prstGeom>
        </p:spPr>
        <p:txBody>
          <a:bodyPr/>
          <a:lstStyle/>
          <a:p>
            <a:pPr defTabSz="742950"/>
            <a:fld id="{DD205EFF-948D-4AF6-B54C-65639188FB5F}" type="slidenum">
              <a:rPr lang="en-US" sz="1463" smtClean="0">
                <a:solidFill>
                  <a:prstClr val="black"/>
                </a:solidFill>
              </a:rPr>
              <a:pPr defTabSz="742950"/>
              <a:t>‹#›</a:t>
            </a:fld>
            <a:endParaRPr lang="en-US" sz="1463" dirty="0">
              <a:solidFill>
                <a:prstClr val="black"/>
              </a:solidFill>
            </a:endParaRPr>
          </a:p>
        </p:txBody>
      </p:sp>
    </p:spTree>
    <p:extLst>
      <p:ext uri="{BB962C8B-B14F-4D97-AF65-F5344CB8AC3E}">
        <p14:creationId xmlns:p14="http://schemas.microsoft.com/office/powerpoint/2010/main" val="4232662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3512" name="think-cell Slide" r:id="rId7" imgW="360" imgH="360" progId="">
                  <p:embed/>
                </p:oleObj>
              </mc:Choice>
              <mc:Fallback>
                <p:oleObj name="think-cell Slide" r:id="rId7" imgW="360" imgH="360" progId="">
                  <p:embed/>
                  <p:pic>
                    <p:nvPicPr>
                      <p:cNvPr id="0" name="Picture 2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3"/>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70" name="PlaceHolder 1"/>
          <p:cNvSpPr>
            <a:spLocks noGrp="1"/>
          </p:cNvSpPr>
          <p:nvPr>
            <p:ph type="title"/>
          </p:nvPr>
        </p:nvSpPr>
        <p:spPr>
          <a:xfrm>
            <a:off x="495000" y="273600"/>
            <a:ext cx="8915040" cy="1144800"/>
          </a:xfrm>
          <a:prstGeom prst="rect">
            <a:avLst/>
          </a:prstGeom>
        </p:spPr>
        <p:txBody>
          <a:bodyPr lIns="0" tIns="0" rIns="0" bIns="0" anchor="ctr">
            <a:spAutoFit/>
          </a:bodyPr>
          <a:lstStyle/>
          <a:p>
            <a:pPr algn="ctr"/>
            <a:endParaRPr lang="en-IN" sz="4400" b="0" strike="noStrike" spc="-1">
              <a:latin typeface="Arial"/>
            </a:endParaRPr>
          </a:p>
        </p:txBody>
      </p:sp>
      <p:sp>
        <p:nvSpPr>
          <p:cNvPr id="71" name="PlaceHolder 2"/>
          <p:cNvSpPr>
            <a:spLocks noGrp="1"/>
          </p:cNvSpPr>
          <p:nvPr>
            <p:ph type="subTitle"/>
          </p:nvPr>
        </p:nvSpPr>
        <p:spPr>
          <a:xfrm>
            <a:off x="495000" y="1604520"/>
            <a:ext cx="8915040" cy="3977280"/>
          </a:xfrm>
          <a:prstGeom prst="rect">
            <a:avLst/>
          </a:prstGeom>
        </p:spPr>
        <p:txBody>
          <a:bodyPr lIns="0" tIns="0" rIns="0" bIns="0" anchor="ctr">
            <a:spAutoFit/>
          </a:bodyPr>
          <a:lstStyle/>
          <a:p>
            <a:pPr algn="ctr"/>
            <a:endParaRPr lang="en-IN" sz="3200" b="0" strike="noStrike" spc="-1">
              <a:latin typeface="Arial"/>
            </a:endParaRPr>
          </a:p>
        </p:txBody>
      </p:sp>
    </p:spTree>
    <p:extLst>
      <p:ext uri="{BB962C8B-B14F-4D97-AF65-F5344CB8AC3E}">
        <p14:creationId xmlns:p14="http://schemas.microsoft.com/office/powerpoint/2010/main" val="8008762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32503" name="think-cell Slide" r:id="rId8" imgW="360" imgH="360" progId="">
                  <p:embed/>
                </p:oleObj>
              </mc:Choice>
              <mc:Fallback>
                <p:oleObj name="think-cell Slide" r:id="rId8" imgW="360" imgH="360" progId="">
                  <p:embed/>
                  <p:pic>
                    <p:nvPicPr>
                      <p:cNvPr id="0" name="Picture 28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9"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1"/>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6" y="3468294"/>
            <a:ext cx="519572" cy="522508"/>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31479" name="think-cell Slide" r:id="rId5" imgW="360" imgH="360" progId="">
                  <p:embed/>
                </p:oleObj>
              </mc:Choice>
              <mc:Fallback>
                <p:oleObj name="think-cell Slide" r:id="rId5" imgW="360" imgH="360" progId="">
                  <p:embed/>
                  <p:pic>
                    <p:nvPicPr>
                      <p:cNvPr id="0" name="Picture 2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7"/>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407" name="think-cell Slide" r:id="rId7" imgW="360" imgH="360" progId="">
                  <p:embed/>
                </p:oleObj>
              </mc:Choice>
              <mc:Fallback>
                <p:oleObj name="think-cell Slide" r:id="rId7" imgW="360" imgH="360" progId="">
                  <p:embed/>
                  <p:pic>
                    <p:nvPicPr>
                      <p:cNvPr id="0" name="Picture 28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3"/>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383" name="think-cell Slide" r:id="rId7" imgW="360" imgH="360" progId="">
                  <p:embed/>
                </p:oleObj>
              </mc:Choice>
              <mc:Fallback>
                <p:oleObj name="think-cell Slide" r:id="rId7" imgW="360" imgH="360" progId="">
                  <p:embed/>
                  <p:pic>
                    <p:nvPicPr>
                      <p:cNvPr id="0" name="Picture 28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2"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688" name="think-cell Slide" r:id="rId11" imgW="360" imgH="360" progId="">
                  <p:embed/>
                </p:oleObj>
              </mc:Choice>
              <mc:Fallback>
                <p:oleObj name="think-cell Slide" r:id="rId11" imgW="360" imgH="360" progId="">
                  <p:embed/>
                  <p:pic>
                    <p:nvPicPr>
                      <p:cNvPr id="0" name="Picture 28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6"/>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96344" name="think-cell Slide" r:id="rId11" imgW="360" imgH="360" progId="">
                  <p:embed/>
                </p:oleObj>
              </mc:Choice>
              <mc:Fallback>
                <p:oleObj name="think-cell Slide" r:id="rId11" imgW="360" imgH="360" progId="">
                  <p:embed/>
                  <p:pic>
                    <p:nvPicPr>
                      <p:cNvPr id="0" name="Picture 28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97368" name="think-cell Slide" r:id="rId11" imgW="360" imgH="360" progId="">
                  <p:embed/>
                </p:oleObj>
              </mc:Choice>
              <mc:Fallback>
                <p:oleObj name="think-cell Slide" r:id="rId11" imgW="360" imgH="360" progId="">
                  <p:embed/>
                  <p:pic>
                    <p:nvPicPr>
                      <p:cNvPr id="0" name="Picture 28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392" name="think-cell Slide" r:id="rId8" imgW="360" imgH="360" progId="">
                  <p:embed/>
                </p:oleObj>
              </mc:Choice>
              <mc:Fallback>
                <p:oleObj name="think-cell Slide" r:id="rId8" imgW="360" imgH="360" progId="">
                  <p:embed/>
                  <p:pic>
                    <p:nvPicPr>
                      <p:cNvPr id="0" name="Picture 28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99416" name="think-cell Slide" r:id="rId6" imgW="360" imgH="360" progId="">
                  <p:embed/>
                </p:oleObj>
              </mc:Choice>
              <mc:Fallback>
                <p:oleObj name="think-cell Slide" r:id="rId6" imgW="360" imgH="360" progId="">
                  <p:embed/>
                  <p:pic>
                    <p:nvPicPr>
                      <p:cNvPr id="0" name="Picture 2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300440" name="think-cell Slide" r:id="rId7" imgW="360" imgH="360" progId="">
                  <p:embed/>
                </p:oleObj>
              </mc:Choice>
              <mc:Fallback>
                <p:oleObj name="think-cell Slide" r:id="rId7" imgW="360" imgH="360" progId="">
                  <p:embed/>
                  <p:pic>
                    <p:nvPicPr>
                      <p:cNvPr id="0" name="Picture 2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1464" name="think-cell Slide" r:id="rId7" imgW="360" imgH="360" progId="">
                  <p:embed/>
                </p:oleObj>
              </mc:Choice>
              <mc:Fallback>
                <p:oleObj name="think-cell Slide" r:id="rId7" imgW="360" imgH="360" progId="">
                  <p:embed/>
                  <p:pic>
                    <p:nvPicPr>
                      <p:cNvPr id="0" name="Picture 2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2488" name="think-cell Slide" r:id="rId9" imgW="360" imgH="360" progId="">
                  <p:embed/>
                </p:oleObj>
              </mc:Choice>
              <mc:Fallback>
                <p:oleObj name="think-cell Slide" r:id="rId9" imgW="360" imgH="360" progId="">
                  <p:embed/>
                  <p:pic>
                    <p:nvPicPr>
                      <p:cNvPr id="0" name="Picture 28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1"/>
                </a:solidFill>
              </a:defRPr>
            </a:lvl1pPr>
          </a:lstStyle>
          <a:p>
            <a:r>
              <a:rPr lang="en-US" noProof="0" dirty="0" smtClean="0"/>
              <a:t>Click to edit Master title style</a:t>
            </a:r>
            <a:endParaRPr lang="en-US" noProof="0" dirty="0"/>
          </a:p>
        </p:txBody>
      </p:sp>
    </p:spTree>
  </p:cSld>
  <p:clrMapOvr>
    <a:masterClrMapping/>
  </p:clrMapOvr>
  <p:transition>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lumn table slide">
    <p:spTree>
      <p:nvGrpSpPr>
        <p:cNvPr id="1" name=""/>
        <p:cNvGrpSpPr/>
        <p:nvPr/>
      </p:nvGrpSpPr>
      <p:grpSpPr>
        <a:xfrm>
          <a:off x="0" y="0"/>
          <a:ext cx="0" cy="0"/>
          <a:chOff x="0" y="0"/>
          <a:chExt cx="0" cy="0"/>
        </a:xfrm>
      </p:grpSpPr>
      <p:sp>
        <p:nvSpPr>
          <p:cNvPr id="2" name="Titre 1"/>
          <p:cNvSpPr>
            <a:spLocks noGrp="1"/>
          </p:cNvSpPr>
          <p:nvPr>
            <p:ph type="title"/>
          </p:nvPr>
        </p:nvSpPr>
        <p:spPr>
          <a:xfrm>
            <a:off x="360000" y="285728"/>
            <a:ext cx="9126000" cy="430887"/>
          </a:xfrm>
        </p:spPr>
        <p:txBody>
          <a:bodyPr/>
          <a:lstStyle/>
          <a:p>
            <a:r>
              <a:rPr lang="en-US" dirty="0" smtClean="0"/>
              <a:t>Click to edit Master title style</a:t>
            </a:r>
            <a:endParaRPr lang="en-US" dirty="0"/>
          </a:p>
        </p:txBody>
      </p:sp>
      <p:sp>
        <p:nvSpPr>
          <p:cNvPr id="7" name="Table Placeholder 6"/>
          <p:cNvSpPr>
            <a:spLocks noGrp="1"/>
          </p:cNvSpPr>
          <p:nvPr>
            <p:ph type="tbl" sz="quarter" idx="10"/>
          </p:nvPr>
        </p:nvSpPr>
        <p:spPr>
          <a:xfrm>
            <a:off x="360000" y="1908000"/>
            <a:ext cx="4368000" cy="4212000"/>
          </a:xfrm>
        </p:spPr>
        <p:txBody>
          <a:bodyPr/>
          <a:lstStyle/>
          <a:p>
            <a:pPr lvl="0"/>
            <a:endParaRPr lang="en-GB" noProof="0" dirty="0"/>
          </a:p>
        </p:txBody>
      </p:sp>
      <p:sp>
        <p:nvSpPr>
          <p:cNvPr id="10" name="Table Placeholder 9"/>
          <p:cNvSpPr>
            <a:spLocks noGrp="1"/>
          </p:cNvSpPr>
          <p:nvPr>
            <p:ph type="tbl" sz="quarter" idx="11"/>
          </p:nvPr>
        </p:nvSpPr>
        <p:spPr>
          <a:xfrm>
            <a:off x="5148000" y="1908003"/>
            <a:ext cx="4368000" cy="4213225"/>
          </a:xfrm>
        </p:spPr>
        <p:txBody>
          <a:bodyPr/>
          <a:lstStyle/>
          <a:p>
            <a:pPr lvl="0"/>
            <a:endParaRPr lang="en-GB" noProof="0" dirty="0"/>
          </a:p>
        </p:txBody>
      </p:sp>
      <p:sp>
        <p:nvSpPr>
          <p:cNvPr id="8" name="Footer Placeholder 19"/>
          <p:cNvSpPr>
            <a:spLocks noGrp="1"/>
          </p:cNvSpPr>
          <p:nvPr>
            <p:ph type="ftr" sz="quarter" idx="3"/>
          </p:nvPr>
        </p:nvSpPr>
        <p:spPr>
          <a:xfrm>
            <a:off x="6745322" y="6500834"/>
            <a:ext cx="3136900" cy="349229"/>
          </a:xfrm>
          <a:prstGeom prst="rect">
            <a:avLst/>
          </a:prstGeom>
        </p:spPr>
        <p:txBody>
          <a:bodyPr vert="horz" wrap="square" lIns="91440" tIns="45720" rIns="91440" bIns="45720" numCol="1" anchor="ctr" anchorCtr="0" compatLnSpc="1">
            <a:prstTxWarp prst="textNoShape">
              <a:avLst/>
            </a:prstTxWarp>
          </a:bodyPr>
          <a:lstStyle>
            <a:lvl1pPr algn="r">
              <a:lnSpc>
                <a:spcPts val="1300"/>
              </a:lnSpc>
              <a:defRPr sz="800"/>
            </a:lvl1pPr>
          </a:lstStyle>
          <a:p>
            <a:pPr>
              <a:defRPr/>
            </a:pPr>
            <a:endParaRPr lang="en-GB" dirty="0">
              <a:solidFill>
                <a:srgbClr val="263147"/>
              </a:solidFill>
            </a:endParaRP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239" name="think-cell Slide" r:id="rId8" imgW="360" imgH="360" progId="">
                  <p:embed/>
                </p:oleObj>
              </mc:Choice>
              <mc:Fallback>
                <p:oleObj name="think-cell Slide" r:id="rId8" imgW="360" imgH="360" progId="">
                  <p:embed/>
                  <p:pic>
                    <p:nvPicPr>
                      <p:cNvPr id="0" name="Picture 28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9"/>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6"/>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14400">
              <a:defRPr/>
            </a:pPr>
            <a:endParaRPr lang="en-US" sz="1300" dirty="0">
              <a:solidFill>
                <a:prstClr val="white"/>
              </a:solidFill>
            </a:endParaRPr>
          </a:p>
        </p:txBody>
      </p:sp>
      <p:sp>
        <p:nvSpPr>
          <p:cNvPr id="6" name="Rectangle 7"/>
          <p:cNvSpPr/>
          <p:nvPr userDrawn="1">
            <p:custDataLst>
              <p:tags r:id="rId3"/>
            </p:custDataLst>
          </p:nvPr>
        </p:nvSpPr>
        <p:spPr bwMode="auto">
          <a:xfrm>
            <a:off x="-1720" y="1"/>
            <a:ext cx="990772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0678" name="think-cell Slide" r:id="rId9" imgW="360" imgH="360" progId="">
                  <p:embed/>
                </p:oleObj>
              </mc:Choice>
              <mc:Fallback>
                <p:oleObj name="think-cell Slide" r:id="rId9" imgW="360" imgH="360" progId="">
                  <p:embed/>
                  <p:pic>
                    <p:nvPicPr>
                      <p:cNvPr id="0" name="Picture 28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604" y="6521451"/>
            <a:ext cx="3001037"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433" y="652464"/>
            <a:ext cx="3001037"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6"/>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1702" name="think-cell Slide" r:id="rId9" imgW="360" imgH="360" progId="">
                  <p:embed/>
                </p:oleObj>
              </mc:Choice>
              <mc:Fallback>
                <p:oleObj name="think-cell Slide" r:id="rId9" imgW="360" imgH="360" progId="">
                  <p:embed/>
                  <p:pic>
                    <p:nvPicPr>
                      <p:cNvPr id="0" name="Picture 28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720" y="1"/>
            <a:ext cx="990772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433" y="652464"/>
            <a:ext cx="3001037"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14400">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604" y="6521451"/>
            <a:ext cx="3001037" cy="238125"/>
          </a:xfrm>
          <a:prstGeom prst="rect">
            <a:avLst/>
          </a:prstGeom>
          <a:noFill/>
          <a:ln w="9525">
            <a:noFill/>
            <a:miter lim="800000"/>
            <a:headEnd/>
            <a:tailEnd/>
          </a:ln>
        </p:spPr>
      </p:pic>
      <p:sp>
        <p:nvSpPr>
          <p:cNvPr id="16" name="Title 1"/>
          <p:cNvSpPr>
            <a:spLocks noGrp="1"/>
          </p:cNvSpPr>
          <p:nvPr>
            <p:ph type="title"/>
          </p:nvPr>
        </p:nvSpPr>
        <p:spPr>
          <a:xfrm>
            <a:off x="4490752" y="196882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4"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3130" name="think-cell Slide" r:id="rId12" imgW="360" imgH="360" progId="">
                  <p:embed/>
                </p:oleObj>
              </mc:Choice>
              <mc:Fallback>
                <p:oleObj name="think-cell Slide" r:id="rId12" imgW="360" imgH="360" progId="">
                  <p:embed/>
                  <p:pic>
                    <p:nvPicPr>
                      <p:cNvPr id="0" name="Picture 56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2BE47B0F-22ED-47EF-A445-BA2042B0665D}"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8" name="Rectangle 7"/>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9" name="Rectangle 8"/>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221" y="6443664"/>
            <a:ext cx="1312202"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1"/>
            <a:ext cx="9906000" cy="6353175"/>
          </a:xfrm>
          <a:prstGeom prst="rect">
            <a:avLst/>
          </a:prstGeom>
          <a:noFill/>
          <a:ln w="9525">
            <a:noFill/>
            <a:miter lim="800000"/>
            <a:headEnd/>
            <a:tailEnd/>
          </a:ln>
        </p:spPr>
      </p:pic>
      <p:graphicFrame>
        <p:nvGraphicFramePr>
          <p:cNvPr id="13" name="Object 3" hidden="1"/>
          <p:cNvGraphicFramePr>
            <a:graphicFrameLocks noChangeAspect="1"/>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3131" name="think-cell Slide" r:id="rId16" imgW="360" imgH="360" progId="">
                  <p:embed/>
                </p:oleObj>
              </mc:Choice>
              <mc:Fallback>
                <p:oleObj name="think-cell Slide" r:id="rId16" imgW="360" imgH="360" progId="">
                  <p:embed/>
                  <p:pic>
                    <p:nvPicPr>
                      <p:cNvPr id="0" name="Picture 56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87"/>
            <a:ext cx="6807652" cy="2950251"/>
          </a:xfrm>
        </p:spPr>
        <p:txBody>
          <a:bodyPr/>
          <a:lstStyle/>
          <a:p>
            <a:pPr lvl="0"/>
            <a:r>
              <a:rPr lang="en-US" noProof="0" smtClean="0"/>
              <a:t>Click to edit Master text styles</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4154" name="think-cell Slide" r:id="rId11" imgW="360" imgH="360" progId="">
                  <p:embed/>
                </p:oleObj>
              </mc:Choice>
              <mc:Fallback>
                <p:oleObj name="think-cell Slide" r:id="rId11" imgW="360" imgH="360" progId="">
                  <p:embed/>
                  <p:pic>
                    <p:nvPicPr>
                      <p:cNvPr id="0" name="Picture 5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D4C72FE1-4D9D-4E8B-8F7D-C8D71D47A9E6}"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7" name="Rectangle 6"/>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8" name="Rectangle 7"/>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221" y="6443664"/>
            <a:ext cx="1312202"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3" hidden="1"/>
          <p:cNvGraphicFramePr>
            <a:graphicFrameLocks noChangeAspect="1"/>
          </p:cNvGraphicFramePr>
          <p:nvPr>
            <p:custDataLst>
              <p:tags r:id="rId9"/>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314155" name="think-cell Slide" r:id="rId14" imgW="360" imgH="360" progId="">
                  <p:embed/>
                </p:oleObj>
              </mc:Choice>
              <mc:Fallback>
                <p:oleObj name="think-cell Slide" r:id="rId14" imgW="360" imgH="360" progId="">
                  <p:embed/>
                  <p:pic>
                    <p:nvPicPr>
                      <p:cNvPr id="0" name="Picture 5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71"/>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5178" name="think-cell Slide" r:id="rId11" imgW="360" imgH="360" progId="">
                  <p:embed/>
                </p:oleObj>
              </mc:Choice>
              <mc:Fallback>
                <p:oleObj name="think-cell Slide" r:id="rId11" imgW="360" imgH="360" progId="">
                  <p:embed/>
                  <p:pic>
                    <p:nvPicPr>
                      <p:cNvPr id="0" name="Picture 5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97546077-4D40-4164-94C5-0CC553D8D708}"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0" name="Rectangle 9"/>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221" y="6443664"/>
            <a:ext cx="1312202"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3" hidden="1"/>
          <p:cNvGraphicFramePr>
            <a:graphicFrameLocks noChangeAspect="1"/>
          </p:cNvGraphicFramePr>
          <p:nvPr>
            <p:custDataLst>
              <p:tags r:id="rId9"/>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315179" name="think-cell Slide" r:id="rId14" imgW="360" imgH="360" progId="">
                  <p:embed/>
                </p:oleObj>
              </mc:Choice>
              <mc:Fallback>
                <p:oleObj name="think-cell Slide" r:id="rId14" imgW="360" imgH="360" progId="">
                  <p:embed/>
                  <p:pic>
                    <p:nvPicPr>
                      <p:cNvPr id="0" name="Picture 5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91"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6202" name="think-cell Slide" r:id="rId11" imgW="360" imgH="360" progId="">
                  <p:embed/>
                </p:oleObj>
              </mc:Choice>
              <mc:Fallback>
                <p:oleObj name="think-cell Slide" r:id="rId11" imgW="360" imgH="360" progId="">
                  <p:embed/>
                  <p:pic>
                    <p:nvPicPr>
                      <p:cNvPr id="0" name="Picture 5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AE190E0F-1493-424F-8B09-58E19829CFA7}"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0" name="Rectangle 9"/>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221" y="6443664"/>
            <a:ext cx="1312202"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3" hidden="1"/>
          <p:cNvGraphicFramePr>
            <a:graphicFrameLocks noChangeAspect="1"/>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6203" name="think-cell Slide" r:id="rId14" imgW="360" imgH="360" progId="">
                  <p:embed/>
                </p:oleObj>
              </mc:Choice>
              <mc:Fallback>
                <p:oleObj name="think-cell Slide" r:id="rId14" imgW="360" imgH="360" progId="">
                  <p:embed/>
                  <p:pic>
                    <p:nvPicPr>
                      <p:cNvPr id="0" name="Picture 5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7226" name="think-cell Slide" r:id="rId11" imgW="360" imgH="360" progId="">
                  <p:embed/>
                </p:oleObj>
              </mc:Choice>
              <mc:Fallback>
                <p:oleObj name="think-cell Slide" r:id="rId11" imgW="360" imgH="360" progId="">
                  <p:embed/>
                  <p:pic>
                    <p:nvPicPr>
                      <p:cNvPr id="0" name="Picture 5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880117E6-5490-4095-B9D3-10B1A3CC2625}"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12" name="Rectangle 11"/>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3" name="Rectangle 12"/>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221" y="6443664"/>
            <a:ext cx="1312202"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3" hidden="1"/>
          <p:cNvGraphicFramePr>
            <a:graphicFrameLocks noChangeAspect="1"/>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7227" name="think-cell Slide" r:id="rId14" imgW="360" imgH="360" progId="">
                  <p:embed/>
                </p:oleObj>
              </mc:Choice>
              <mc:Fallback>
                <p:oleObj name="think-cell Slide" r:id="rId14" imgW="360" imgH="360" progId="">
                  <p:embed/>
                  <p:pic>
                    <p:nvPicPr>
                      <p:cNvPr id="0" name="Picture 56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1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1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7846" name="think-cell Slide" r:id="rId10" imgW="360" imgH="360" progId="">
                  <p:embed/>
                </p:oleObj>
              </mc:Choice>
              <mc:Fallback>
                <p:oleObj name="think-cell Slide" r:id="rId10" imgW="360" imgH="360" progId="">
                  <p:embed/>
                  <p:pic>
                    <p:nvPicPr>
                      <p:cNvPr id="0" name="Picture 28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4018C868-DB15-488B-ADF6-E95D243CC0C3}"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7" name="Rectangle 6"/>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2" cstate="print"/>
          <a:srcRect/>
          <a:stretch>
            <a:fillRect/>
          </a:stretch>
        </p:blipFill>
        <p:spPr bwMode="auto">
          <a:xfrm>
            <a:off x="158221" y="6443664"/>
            <a:ext cx="1312202"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0" y="0"/>
            <a:ext cx="9906000" cy="1188000"/>
          </a:xfrm>
        </p:spPr>
        <p:txBody>
          <a:bodyPr/>
          <a:lstStyle>
            <a:lvl1pPr>
              <a:defRPr>
                <a:solidFill>
                  <a:schemeClr val="tx1"/>
                </a:solidFill>
              </a:defRPr>
            </a:lvl1pPr>
          </a:lstStyle>
          <a:p>
            <a:r>
              <a:rPr lang="en-US" noProof="0" smtClean="0"/>
              <a:t>Click to edit Master title style</a:t>
            </a:r>
            <a:endParaRPr lang="en-US" noProof="0" dirty="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wo column table slide">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8870" name="think-cell Slide" r:id="rId10" imgW="360" imgH="360" progId="">
                  <p:embed/>
                </p:oleObj>
              </mc:Choice>
              <mc:Fallback>
                <p:oleObj name="think-cell Slide" r:id="rId10" imgW="360" imgH="360" progId="">
                  <p:embed/>
                  <p:pic>
                    <p:nvPicPr>
                      <p:cNvPr id="0" name="Picture 28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57ADC304-A179-417B-AFFD-EC704831BD3E}"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1" name="Rectangle 10"/>
          <p:cNvSpPr/>
          <p:nvPr>
            <p:custDataLst>
              <p:tags r:id="rId6"/>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12" name="Picture 103" descr="C:\Users\UserSim\Desktop\Capgemini\Capgemini_logo_cmyk.png"/>
          <p:cNvPicPr>
            <a:picLocks noChangeAspect="1" noChangeArrowheads="1"/>
          </p:cNvPicPr>
          <p:nvPr>
            <p:custDataLst>
              <p:tags r:id="rId7"/>
            </p:custDataLst>
          </p:nvPr>
        </p:nvPicPr>
        <p:blipFill>
          <a:blip r:embed="rId12" cstate="print"/>
          <a:srcRect/>
          <a:stretch>
            <a:fillRect/>
          </a:stretch>
        </p:blipFill>
        <p:spPr bwMode="auto">
          <a:xfrm>
            <a:off x="158221" y="6443664"/>
            <a:ext cx="1312202" cy="320675"/>
          </a:xfrm>
          <a:prstGeom prst="rect">
            <a:avLst/>
          </a:prstGeom>
          <a:noFill/>
          <a:ln w="9525">
            <a:noFill/>
            <a:miter lim="800000"/>
            <a:headEnd/>
            <a:tailEnd/>
          </a:ln>
        </p:spPr>
      </p:pic>
      <p:cxnSp>
        <p:nvCxnSpPr>
          <p:cNvPr id="13"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360000" y="285730"/>
            <a:ext cx="9126000" cy="430887"/>
          </a:xfrm>
        </p:spPr>
        <p:txBody>
          <a:bodyPr/>
          <a:lstStyle/>
          <a:p>
            <a:r>
              <a:rPr lang="en-US" dirty="0" smtClean="0"/>
              <a:t>Click to edit Master title style</a:t>
            </a:r>
            <a:endParaRPr lang="en-US" dirty="0"/>
          </a:p>
        </p:txBody>
      </p:sp>
      <p:sp>
        <p:nvSpPr>
          <p:cNvPr id="7" name="Table Placeholder 6"/>
          <p:cNvSpPr>
            <a:spLocks noGrp="1"/>
          </p:cNvSpPr>
          <p:nvPr>
            <p:ph type="tbl" sz="quarter" idx="10"/>
          </p:nvPr>
        </p:nvSpPr>
        <p:spPr>
          <a:xfrm>
            <a:off x="360000" y="1908000"/>
            <a:ext cx="4368000" cy="4212000"/>
          </a:xfrm>
        </p:spPr>
        <p:txBody>
          <a:bodyPr rtlCol="0">
            <a:noAutofit/>
          </a:bodyPr>
          <a:lstStyle/>
          <a:p>
            <a:pPr lvl="0"/>
            <a:r>
              <a:rPr lang="en-US" noProof="0" smtClean="0"/>
              <a:t>Click icon to add table</a:t>
            </a:r>
            <a:endParaRPr lang="en-GB" noProof="0" dirty="0"/>
          </a:p>
        </p:txBody>
      </p:sp>
      <p:sp>
        <p:nvSpPr>
          <p:cNvPr id="10" name="Table Placeholder 9"/>
          <p:cNvSpPr>
            <a:spLocks noGrp="1"/>
          </p:cNvSpPr>
          <p:nvPr>
            <p:ph type="tbl" sz="quarter" idx="11"/>
          </p:nvPr>
        </p:nvSpPr>
        <p:spPr>
          <a:xfrm>
            <a:off x="5148000" y="1908004"/>
            <a:ext cx="4368000" cy="4213225"/>
          </a:xfrm>
        </p:spPr>
        <p:txBody>
          <a:bodyPr rtlCol="0">
            <a:noAutofit/>
          </a:bodyPr>
          <a:lstStyle/>
          <a:p>
            <a:pPr lvl="0"/>
            <a:r>
              <a:rPr lang="en-US" noProof="0" smtClean="0"/>
              <a:t>Click icon to add table</a:t>
            </a:r>
            <a:endParaRPr lang="en-GB" noProof="0" dirty="0"/>
          </a:p>
        </p:txBody>
      </p:sp>
      <p:sp>
        <p:nvSpPr>
          <p:cNvPr id="14" name="Footer Placeholder 19"/>
          <p:cNvSpPr>
            <a:spLocks noGrp="1"/>
          </p:cNvSpPr>
          <p:nvPr>
            <p:ph type="ftr" sz="quarter" idx="12"/>
          </p:nvPr>
        </p:nvSpPr>
        <p:spPr>
          <a:xfrm>
            <a:off x="6745023" y="6500813"/>
            <a:ext cx="3136900" cy="349250"/>
          </a:xfrm>
          <a:prstGeom prst="rect">
            <a:avLst/>
          </a:prstGeom>
        </p:spPr>
        <p:txBody>
          <a:bodyPr vert="horz" wrap="square" lIns="91440" tIns="45720" rIns="91440" bIns="45720" numCol="1" anchor="ctr" anchorCtr="0" compatLnSpc="1">
            <a:prstTxWarp prst="textNoShape">
              <a:avLst/>
            </a:prstTxWarp>
          </a:bodyPr>
          <a:lstStyle>
            <a:lvl1pPr algn="r" fontAlgn="auto">
              <a:lnSpc>
                <a:spcPts val="1300"/>
              </a:lnSpc>
              <a:spcBef>
                <a:spcPts val="0"/>
              </a:spcBef>
              <a:spcAft>
                <a:spcPts val="0"/>
              </a:spcAft>
              <a:defRPr sz="800">
                <a:solidFill>
                  <a:srgbClr val="263147"/>
                </a:solidFill>
                <a:latin typeface="+mn-lt"/>
                <a:cs typeface="+mn-cs"/>
              </a:defRPr>
            </a:lvl1pPr>
          </a:lstStyle>
          <a:p>
            <a:pPr defTabSz="914400">
              <a:defRPr/>
            </a:pPr>
            <a:endParaRPr lang="en-GB"/>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19192" name="think-cell Slide" r:id="rId6" imgW="360" imgH="360" progId="">
                  <p:embed/>
                </p:oleObj>
              </mc:Choice>
              <mc:Fallback>
                <p:oleObj name="think-cell Slide" r:id="rId6" imgW="360" imgH="360" progId="">
                  <p:embed/>
                  <p:pic>
                    <p:nvPicPr>
                      <p:cNvPr id="0" name="Picture 2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7"/>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12">
            <a:extLst>
              <a:ext uri="{28A0092B-C50C-407E-A947-70E740481C1C}">
                <a14:useLocalDpi xmlns:a14="http://schemas.microsoft.com/office/drawing/2010/main" val="0"/>
              </a:ext>
            </a:extLst>
          </a:blip>
          <a:srcRect l="240" t="24" r="259" b="533"/>
          <a:stretch>
            <a:fillRect/>
          </a:stretch>
        </p:blipFill>
        <p:spPr bwMode="auto">
          <a:xfrm>
            <a:off x="0" y="1323976"/>
            <a:ext cx="9906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eaLnBrk="1" fontAlgn="auto" hangingPunct="1">
              <a:spcBef>
                <a:spcPts val="0"/>
              </a:spcBef>
              <a:spcAft>
                <a:spcPts val="0"/>
              </a:spcAft>
              <a:defRPr/>
            </a:pPr>
            <a:endParaRPr lang="en-US" sz="1300" dirty="0">
              <a:solidFill>
                <a:prstClr val="white"/>
              </a:solidFill>
            </a:endParaRPr>
          </a:p>
        </p:txBody>
      </p:sp>
      <p:sp>
        <p:nvSpPr>
          <p:cNvPr id="6" name="Rectangle 7"/>
          <p:cNvSpPr/>
          <p:nvPr>
            <p:custDataLst>
              <p:tags r:id="rId3"/>
            </p:custDataLst>
          </p:nvPr>
        </p:nvSpPr>
        <p:spPr bwMode="auto">
          <a:xfrm>
            <a:off x="-1720" y="1"/>
            <a:ext cx="990772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eaLnBrk="1" fontAlgn="auto" hangingPunct="1">
              <a:spcBef>
                <a:spcPts val="0"/>
              </a:spcBef>
              <a:spcAft>
                <a:spcPts val="0"/>
              </a:spcAft>
              <a:defRPr/>
            </a:pPr>
            <a:endParaRPr lang="en-US" sz="1000" dirty="0">
              <a:solidFill>
                <a:prstClr val="white"/>
              </a:solidFill>
              <a:latin typeface="+mn-lt"/>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0525"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5">
            <a:extLst>
              <a:ext uri="{28A0092B-C50C-407E-A947-70E740481C1C}">
                <a14:useLocalDpi xmlns:a14="http://schemas.microsoft.com/office/drawing/2010/main" val="0"/>
              </a:ext>
            </a:extLst>
          </a:blip>
          <a:srcRect/>
          <a:stretch>
            <a:fillRect/>
          </a:stretch>
        </p:blipFill>
        <p:spPr bwMode="auto">
          <a:xfrm>
            <a:off x="6569604" y="6521451"/>
            <a:ext cx="3001037"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p:custDataLst>
              <p:tags r:id="rId6"/>
            </p:custDataLst>
          </p:nvPr>
        </p:nvPicPr>
        <p:blipFill>
          <a:blip r:embed="rId16">
            <a:extLst>
              <a:ext uri="{28A0092B-C50C-407E-A947-70E740481C1C}">
                <a14:useLocalDpi xmlns:a14="http://schemas.microsoft.com/office/drawing/2010/main" val="0"/>
              </a:ext>
            </a:extLst>
          </a:blip>
          <a:srcRect/>
          <a:stretch>
            <a:fillRect/>
          </a:stretch>
        </p:blipFill>
        <p:spPr bwMode="auto">
          <a:xfrm>
            <a:off x="715433" y="652464"/>
            <a:ext cx="3001037"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pic>
        <p:nvPicPr>
          <p:cNvPr id="10" name="Image 11" descr="test1.jpg"/>
          <p:cNvPicPr>
            <a:picLocks noChangeAspect="1"/>
          </p:cNvPicPr>
          <p:nvPr userDrawn="1"/>
        </p:nvPicPr>
        <p:blipFill>
          <a:blip r:embed="rId12" cstate="print"/>
          <a:srcRect l="240" t="25" r="260" b="533"/>
          <a:stretch>
            <a:fillRect/>
          </a:stretch>
        </p:blipFill>
        <p:spPr>
          <a:xfrm>
            <a:off x="0" y="1324099"/>
            <a:ext cx="9906000" cy="5533901"/>
          </a:xfrm>
          <a:prstGeom prst="rect">
            <a:avLst/>
          </a:prstGeom>
        </p:spPr>
      </p:pic>
      <p:sp>
        <p:nvSpPr>
          <p:cNvPr id="11" name="Rectangle 10"/>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2" name="Rectangle 7"/>
          <p:cNvSpPr/>
          <p:nvPr userDrawn="1">
            <p:custDataLst>
              <p:tags r:id="rId8"/>
            </p:custDataLst>
          </p:nvPr>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3" name="Picture 104" descr="C:\Users\UserSim\Desktop\Capgemini\moto.emf"/>
          <p:cNvPicPr>
            <a:picLocks noChangeAspect="1" noChangeArrowheads="1"/>
          </p:cNvPicPr>
          <p:nvPr userDrawn="1">
            <p:custDataLst>
              <p:tags r:id="rId9"/>
            </p:custDataLst>
          </p:nvPr>
        </p:nvPicPr>
        <p:blipFill>
          <a:blip r:embed="rId15" cstate="email"/>
          <a:srcRect/>
          <a:stretch>
            <a:fillRect/>
          </a:stretch>
        </p:blipFill>
        <p:spPr bwMode="auto">
          <a:xfrm>
            <a:off x="6569786" y="6520696"/>
            <a:ext cx="3001425" cy="239021"/>
          </a:xfrm>
          <a:prstGeom prst="rect">
            <a:avLst/>
          </a:prstGeom>
          <a:noFill/>
        </p:spPr>
      </p:pic>
      <p:pic>
        <p:nvPicPr>
          <p:cNvPr id="14" name="Picture 103" descr="C:\Users\UserSim\Desktop\Capgemini\Capgemini_logo_cmyk.png"/>
          <p:cNvPicPr>
            <a:picLocks noChangeAspect="1" noChangeArrowheads="1"/>
          </p:cNvPicPr>
          <p:nvPr userDrawn="1">
            <p:custDataLst>
              <p:tags r:id="rId10"/>
            </p:custDataLst>
          </p:nvPr>
        </p:nvPicPr>
        <p:blipFill>
          <a:blip r:embed="rId16" cstate="email"/>
          <a:srcRect/>
          <a:stretch>
            <a:fillRect/>
          </a:stretch>
        </p:blipFill>
        <p:spPr bwMode="auto">
          <a:xfrm>
            <a:off x="716234" y="653034"/>
            <a:ext cx="3001008" cy="694690"/>
          </a:xfrm>
          <a:prstGeom prst="rect">
            <a:avLst/>
          </a:prstGeom>
          <a:noFill/>
        </p:spPr>
      </p:pic>
    </p:spTree>
    <p:extLst>
      <p:ext uri="{BB962C8B-B14F-4D97-AF65-F5344CB8AC3E}">
        <p14:creationId xmlns:p14="http://schemas.microsoft.com/office/powerpoint/2010/main" val="18355711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12">
            <a:extLst>
              <a:ext uri="{28A0092B-C50C-407E-A947-70E740481C1C}">
                <a14:useLocalDpi xmlns:a14="http://schemas.microsoft.com/office/drawing/2010/main" val="0"/>
              </a:ext>
            </a:extLst>
          </a:blip>
          <a:srcRect l="240" t="179" r="380" b="511"/>
          <a:stretch>
            <a:fillRect/>
          </a:stretch>
        </p:blipFill>
        <p:spPr bwMode="auto">
          <a:xfrm>
            <a:off x="0" y="1050926"/>
            <a:ext cx="9906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1549"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p:custDataLst>
              <p:tags r:id="rId3"/>
            </p:custDataLst>
          </p:nvPr>
        </p:nvSpPr>
        <p:spPr bwMode="auto">
          <a:xfrm>
            <a:off x="-1720" y="1"/>
            <a:ext cx="990772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eaLnBrk="1" fontAlgn="auto" hangingPunct="1">
              <a:spcBef>
                <a:spcPts val="0"/>
              </a:spcBef>
              <a:spcAft>
                <a:spcPts val="0"/>
              </a:spcAft>
              <a:defRPr/>
            </a:pPr>
            <a:endParaRPr lang="en-US" sz="1000" dirty="0">
              <a:solidFill>
                <a:prstClr val="white"/>
              </a:solidFill>
              <a:latin typeface="+mn-lt"/>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5">
            <a:extLst>
              <a:ext uri="{28A0092B-C50C-407E-A947-70E740481C1C}">
                <a14:useLocalDpi xmlns:a14="http://schemas.microsoft.com/office/drawing/2010/main" val="0"/>
              </a:ext>
            </a:extLst>
          </a:blip>
          <a:srcRect/>
          <a:stretch>
            <a:fillRect/>
          </a:stretch>
        </p:blipFill>
        <p:spPr bwMode="auto">
          <a:xfrm>
            <a:off x="715433" y="652464"/>
            <a:ext cx="3001037"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eaLnBrk="1" fontAlgn="auto" hangingPunct="1">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6">
            <a:extLst>
              <a:ext uri="{28A0092B-C50C-407E-A947-70E740481C1C}">
                <a14:useLocalDpi xmlns:a14="http://schemas.microsoft.com/office/drawing/2010/main" val="0"/>
              </a:ext>
            </a:extLst>
          </a:blip>
          <a:srcRect/>
          <a:stretch>
            <a:fillRect/>
          </a:stretch>
        </p:blipFill>
        <p:spPr bwMode="auto">
          <a:xfrm>
            <a:off x="6569604" y="6521451"/>
            <a:ext cx="3001037"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490752" y="196882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4"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pic>
        <p:nvPicPr>
          <p:cNvPr id="10" name="Image 9" descr="test5.jpg"/>
          <p:cNvPicPr>
            <a:picLocks noChangeAspect="1"/>
          </p:cNvPicPr>
          <p:nvPr userDrawn="1"/>
        </p:nvPicPr>
        <p:blipFill>
          <a:blip r:embed="rId12" cstate="print"/>
          <a:srcRect l="240" t="179" r="380" b="511"/>
          <a:stretch>
            <a:fillRect/>
          </a:stretch>
        </p:blipFill>
        <p:spPr>
          <a:xfrm>
            <a:off x="0" y="1050622"/>
            <a:ext cx="9906000" cy="5807378"/>
          </a:xfrm>
          <a:prstGeom prst="rect">
            <a:avLst/>
          </a:prstGeom>
        </p:spPr>
      </p:pic>
      <p:sp>
        <p:nvSpPr>
          <p:cNvPr id="11" name="Rectangle 7"/>
          <p:cNvSpPr/>
          <p:nvPr userDrawn="1">
            <p:custDataLst>
              <p:tags r:id="rId7"/>
            </p:custDataLst>
          </p:nvPr>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2" name="Picture 103" descr="C:\Users\UserSim\Desktop\Capgemini\Capgemini_logo_cmyk.png"/>
          <p:cNvPicPr>
            <a:picLocks noChangeAspect="1" noChangeArrowheads="1"/>
          </p:cNvPicPr>
          <p:nvPr userDrawn="1">
            <p:custDataLst>
              <p:tags r:id="rId8"/>
            </p:custDataLst>
          </p:nvPr>
        </p:nvPicPr>
        <p:blipFill>
          <a:blip r:embed="rId15" cstate="email"/>
          <a:srcRect/>
          <a:stretch>
            <a:fillRect/>
          </a:stretch>
        </p:blipFill>
        <p:spPr bwMode="auto">
          <a:xfrm>
            <a:off x="716234" y="653034"/>
            <a:ext cx="3001008" cy="694690"/>
          </a:xfrm>
          <a:prstGeom prst="rect">
            <a:avLst/>
          </a:prstGeom>
          <a:noFill/>
        </p:spPr>
      </p:pic>
      <p:sp>
        <p:nvSpPr>
          <p:cNvPr id="13" name="Rectangle 12"/>
          <p:cNvSpPr/>
          <p:nvPr userDrawn="1">
            <p:custDataLst>
              <p:tags r:id="rId9"/>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10"/>
            </p:custDataLst>
          </p:nvPr>
        </p:nvPicPr>
        <p:blipFill>
          <a:blip r:embed="rId16" cstate="email"/>
          <a:srcRect/>
          <a:stretch>
            <a:fillRect/>
          </a:stretch>
        </p:blipFill>
        <p:spPr bwMode="auto">
          <a:xfrm>
            <a:off x="6569786" y="6520696"/>
            <a:ext cx="3001425" cy="239021"/>
          </a:xfrm>
          <a:prstGeom prst="rect">
            <a:avLst/>
          </a:prstGeom>
          <a:noFill/>
        </p:spPr>
      </p:pic>
    </p:spTree>
    <p:extLst>
      <p:ext uri="{BB962C8B-B14F-4D97-AF65-F5344CB8AC3E}">
        <p14:creationId xmlns:p14="http://schemas.microsoft.com/office/powerpoint/2010/main" val="15028605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2584"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EEE594C3-9BEE-4D66-AF51-7EA8FA756961}" type="slidenum">
              <a:rPr lang="en-US" altLang="en-US" sz="700" smtClean="0">
                <a:solidFill>
                  <a:srgbClr val="998C85"/>
                </a:solidFill>
              </a:rPr>
              <a:pPr algn="ctr" eaLnBrk="1" hangingPunct="1">
                <a:defRPr/>
              </a:pPr>
              <a:t>‹#›</a:t>
            </a:fld>
            <a:endParaRPr lang="en-US" altLang="en-US" sz="700" smtClean="0">
              <a:solidFill>
                <a:srgbClr val="998C85"/>
              </a:solidFill>
            </a:endParaRPr>
          </a:p>
        </p:txBody>
      </p:sp>
      <p:sp>
        <p:nvSpPr>
          <p:cNvPr id="7"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fontAlgn="auto" hangingPunct="1">
              <a:spcBef>
                <a:spcPts val="0"/>
              </a:spcBef>
              <a:spcAft>
                <a:spcPts val="0"/>
              </a:spcAft>
              <a:defRPr/>
            </a:pPr>
            <a:endParaRPr lang="fr-FR" sz="1900" dirty="0">
              <a:solidFill>
                <a:srgbClr val="263147"/>
              </a:solidFill>
              <a:latin typeface="+mn-lt"/>
              <a:cs typeface="+mn-cs"/>
            </a:endParaRPr>
          </a:p>
        </p:txBody>
      </p:sp>
      <p:sp>
        <p:nvSpPr>
          <p:cNvPr id="8" name="Rectangle 17"/>
          <p:cNvSpPr>
            <a:spLocks noChangeArrowheads="1"/>
          </p:cNvSpPr>
          <p:nvPr>
            <p:custDataLst>
              <p:tags r:id="rId5"/>
            </p:custDataLst>
          </p:nvPr>
        </p:nvSpPr>
        <p:spPr bwMode="auto">
          <a:xfrm>
            <a:off x="6741584" y="6623050"/>
            <a:ext cx="266051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a:defRPr>
                <a:solidFill>
                  <a:schemeClr val="tx1"/>
                </a:solidFill>
                <a:latin typeface="Arial" panose="020B0604020202020204" pitchFamily="34" charset="0"/>
                <a:cs typeface="Arial" panose="020B0604020202020204" pitchFamily="34" charset="0"/>
              </a:defRPr>
            </a:lvl1pPr>
            <a:lvl2pPr marL="742950" indent="-285750" defTabSz="995363">
              <a:defRPr>
                <a:solidFill>
                  <a:schemeClr val="tx1"/>
                </a:solidFill>
                <a:latin typeface="Arial" panose="020B0604020202020204" pitchFamily="34" charset="0"/>
                <a:cs typeface="Arial" panose="020B0604020202020204" pitchFamily="34" charset="0"/>
              </a:defRPr>
            </a:lvl2pPr>
            <a:lvl3pPr marL="1143000" indent="-228600" defTabSz="995363">
              <a:defRPr>
                <a:solidFill>
                  <a:schemeClr val="tx1"/>
                </a:solidFill>
                <a:latin typeface="Arial" panose="020B0604020202020204" pitchFamily="34" charset="0"/>
                <a:cs typeface="Arial" panose="020B0604020202020204" pitchFamily="34" charset="0"/>
              </a:defRPr>
            </a:lvl3pPr>
            <a:lvl4pPr marL="1600200" indent="-228600" defTabSz="995363">
              <a:defRPr>
                <a:solidFill>
                  <a:schemeClr val="tx1"/>
                </a:solidFill>
                <a:latin typeface="Arial" panose="020B0604020202020204" pitchFamily="34" charset="0"/>
                <a:cs typeface="Arial" panose="020B0604020202020204" pitchFamily="34" charset="0"/>
              </a:defRPr>
            </a:lvl4pPr>
            <a:lvl5pPr marL="2057400" indent="-228600" defTabSz="995363">
              <a:defRPr>
                <a:solidFill>
                  <a:schemeClr val="tx1"/>
                </a:solidFill>
                <a:latin typeface="Arial" panose="020B0604020202020204" pitchFamily="34" charset="0"/>
                <a:cs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90000"/>
              </a:lnSpc>
              <a:spcBef>
                <a:spcPct val="10000"/>
              </a:spcBef>
              <a:defRPr/>
            </a:pPr>
            <a:r>
              <a:rPr lang="en-US" altLang="en-US" sz="70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7487973" y="6427788"/>
            <a:ext cx="1914129"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998C85"/>
                </a:solidFil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5">
            <a:extLst>
              <a:ext uri="{28A0092B-C50C-407E-A947-70E740481C1C}">
                <a14:useLocalDpi xmlns:a14="http://schemas.microsoft.com/office/drawing/2010/main" val="0"/>
              </a:ext>
            </a:extLst>
          </a:blip>
          <a:srcRect/>
          <a:stretch>
            <a:fillRect/>
          </a:stretch>
        </p:blipFill>
        <p:spPr bwMode="auto">
          <a:xfrm>
            <a:off x="158221" y="6443664"/>
            <a:ext cx="1312202"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6">
            <a:extLst>
              <a:ext uri="{28A0092B-C50C-407E-A947-70E740481C1C}">
                <a14:useLocalDpi xmlns:a14="http://schemas.microsoft.com/office/drawing/2010/main" val="0"/>
              </a:ext>
            </a:extLst>
          </a:blip>
          <a:srcRect l="121" t="188" r="380" b="565"/>
          <a:stretch>
            <a:fillRect/>
          </a:stretch>
        </p:blipFill>
        <p:spPr bwMode="auto">
          <a:xfrm>
            <a:off x="0" y="1"/>
            <a:ext cx="9906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3" hidden="1"/>
          <p:cNvGraphicFramePr>
            <a:graphicFrameLocks noChangeAspect="1"/>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2585"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p:custDataLst>
              <p:tags r:id="rId10"/>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fontAlgn="auto" hangingPunct="1">
              <a:spcBef>
                <a:spcPts val="0"/>
              </a:spcBef>
              <a:spcAft>
                <a:spcPts val="0"/>
              </a:spcAft>
              <a:defRPr/>
            </a:pPr>
            <a:endParaRPr lang="fr-FR" sz="1900" dirty="0">
              <a:solidFill>
                <a:srgbClr val="263147"/>
              </a:solidFill>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87"/>
            <a:ext cx="6807652" cy="2950251"/>
          </a:xfrm>
        </p:spPr>
        <p:txBody>
          <a:bodyPr/>
          <a:lstStyle/>
          <a:p>
            <a:pPr lvl="0"/>
            <a:r>
              <a:rPr lang="en-US" noProof="0" smtClean="0"/>
              <a:t>Click to edit Master text styles</a:t>
            </a:r>
          </a:p>
        </p:txBody>
      </p:sp>
      <p:pic>
        <p:nvPicPr>
          <p:cNvPr id="15" name="Image 8" descr="test3.jpg"/>
          <p:cNvPicPr>
            <a:picLocks noChangeAspect="1"/>
          </p:cNvPicPr>
          <p:nvPr userDrawn="1"/>
        </p:nvPicPr>
        <p:blipFill>
          <a:blip r:embed="rId16" cstate="print"/>
          <a:srcRect l="120" t="188" r="380" b="564"/>
          <a:stretch>
            <a:fillRect/>
          </a:stretch>
        </p:blipFill>
        <p:spPr>
          <a:xfrm>
            <a:off x="0" y="0"/>
            <a:ext cx="9906000" cy="6353298"/>
          </a:xfrm>
          <a:prstGeom prst="rect">
            <a:avLst/>
          </a:prstGeom>
        </p:spPr>
      </p:pic>
      <p:sp>
        <p:nvSpPr>
          <p:cNvPr id="16" name="Freeform 4"/>
          <p:cNvSpPr>
            <a:spLocks/>
          </p:cNvSpPr>
          <p:nvPr userDrawn="1">
            <p:custDataLst>
              <p:tags r:id="rId11"/>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14028998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360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CAE7F118-0064-4044-A3E6-DD471F77BECD}" type="slidenum">
              <a:rPr lang="en-US" altLang="en-US" sz="700" smtClean="0">
                <a:solidFill>
                  <a:srgbClr val="998C85"/>
                </a:solidFill>
              </a:rPr>
              <a:pPr algn="ctr" eaLnBrk="1" hangingPunct="1">
                <a:defRPr/>
              </a:pPr>
              <a:t>‹#›</a:t>
            </a:fld>
            <a:endParaRPr lang="en-US" altLang="en-US" sz="700" smtClean="0">
              <a:solidFill>
                <a:srgbClr val="998C85"/>
              </a:solidFill>
            </a:endParaRPr>
          </a:p>
        </p:txBody>
      </p:sp>
      <p:sp>
        <p:nvSpPr>
          <p:cNvPr id="6"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fontAlgn="auto" hangingPunct="1">
              <a:spcBef>
                <a:spcPts val="0"/>
              </a:spcBef>
              <a:spcAft>
                <a:spcPts val="0"/>
              </a:spcAft>
              <a:defRPr/>
            </a:pPr>
            <a:endParaRPr lang="fr-FR" sz="1900" dirty="0">
              <a:solidFill>
                <a:srgbClr val="263147"/>
              </a:solidFill>
              <a:latin typeface="+mn-lt"/>
              <a:cs typeface="+mn-cs"/>
            </a:endParaRPr>
          </a:p>
        </p:txBody>
      </p:sp>
      <p:sp>
        <p:nvSpPr>
          <p:cNvPr id="7" name="Rectangle 17"/>
          <p:cNvSpPr>
            <a:spLocks noChangeArrowheads="1"/>
          </p:cNvSpPr>
          <p:nvPr>
            <p:custDataLst>
              <p:tags r:id="rId5"/>
            </p:custDataLst>
          </p:nvPr>
        </p:nvSpPr>
        <p:spPr bwMode="auto">
          <a:xfrm>
            <a:off x="6741584" y="6623050"/>
            <a:ext cx="266051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a:defRPr>
                <a:solidFill>
                  <a:schemeClr val="tx1"/>
                </a:solidFill>
                <a:latin typeface="Arial" panose="020B0604020202020204" pitchFamily="34" charset="0"/>
                <a:cs typeface="Arial" panose="020B0604020202020204" pitchFamily="34" charset="0"/>
              </a:defRPr>
            </a:lvl1pPr>
            <a:lvl2pPr marL="742950" indent="-285750" defTabSz="995363">
              <a:defRPr>
                <a:solidFill>
                  <a:schemeClr val="tx1"/>
                </a:solidFill>
                <a:latin typeface="Arial" panose="020B0604020202020204" pitchFamily="34" charset="0"/>
                <a:cs typeface="Arial" panose="020B0604020202020204" pitchFamily="34" charset="0"/>
              </a:defRPr>
            </a:lvl2pPr>
            <a:lvl3pPr marL="1143000" indent="-228600" defTabSz="995363">
              <a:defRPr>
                <a:solidFill>
                  <a:schemeClr val="tx1"/>
                </a:solidFill>
                <a:latin typeface="Arial" panose="020B0604020202020204" pitchFamily="34" charset="0"/>
                <a:cs typeface="Arial" panose="020B0604020202020204" pitchFamily="34" charset="0"/>
              </a:defRPr>
            </a:lvl3pPr>
            <a:lvl4pPr marL="1600200" indent="-228600" defTabSz="995363">
              <a:defRPr>
                <a:solidFill>
                  <a:schemeClr val="tx1"/>
                </a:solidFill>
                <a:latin typeface="Arial" panose="020B0604020202020204" pitchFamily="34" charset="0"/>
                <a:cs typeface="Arial" panose="020B0604020202020204" pitchFamily="34" charset="0"/>
              </a:defRPr>
            </a:lvl4pPr>
            <a:lvl5pPr marL="2057400" indent="-228600" defTabSz="995363">
              <a:defRPr>
                <a:solidFill>
                  <a:schemeClr val="tx1"/>
                </a:solidFill>
                <a:latin typeface="Arial" panose="020B0604020202020204" pitchFamily="34" charset="0"/>
                <a:cs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90000"/>
              </a:lnSpc>
              <a:spcBef>
                <a:spcPct val="10000"/>
              </a:spcBef>
              <a:defRPr/>
            </a:pPr>
            <a:r>
              <a:rPr lang="en-US" altLang="en-US" sz="70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7487973" y="6427788"/>
            <a:ext cx="1914129"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998C85"/>
                </a:solidFill>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58221" y="6443664"/>
            <a:ext cx="1312202"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3" hidden="1"/>
          <p:cNvGraphicFramePr>
            <a:graphicFrameLocks noChangeAspect="1"/>
          </p:cNvGraphicFramePr>
          <p:nvPr>
            <p:custDataLst>
              <p:tags r:id="rId9"/>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32360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71"/>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2965543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46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8092735B-30A5-4A70-803C-E7D114716894}" type="slidenum">
              <a:rPr lang="en-US" altLang="en-US" sz="700" smtClean="0">
                <a:solidFill>
                  <a:srgbClr val="998C85"/>
                </a:solidFill>
              </a:rPr>
              <a:pPr algn="ctr" eaLnBrk="1" hangingPunct="1">
                <a:defRPr/>
              </a:pPr>
              <a:t>‹#›</a:t>
            </a:fld>
            <a:endParaRPr lang="en-US" altLang="en-US" sz="700" smtClean="0">
              <a:solidFill>
                <a:srgbClr val="998C85"/>
              </a:solidFill>
            </a:endParaRPr>
          </a:p>
        </p:txBody>
      </p:sp>
      <p:sp>
        <p:nvSpPr>
          <p:cNvPr id="7"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fontAlgn="auto" hangingPunct="1">
              <a:spcBef>
                <a:spcPts val="0"/>
              </a:spcBef>
              <a:spcAft>
                <a:spcPts val="0"/>
              </a:spcAft>
              <a:defRPr/>
            </a:pPr>
            <a:endParaRPr lang="fr-FR" sz="1900" dirty="0">
              <a:solidFill>
                <a:srgbClr val="263147"/>
              </a:solidFill>
              <a:latin typeface="+mn-lt"/>
              <a:cs typeface="+mn-cs"/>
            </a:endParaRPr>
          </a:p>
        </p:txBody>
      </p:sp>
      <p:sp>
        <p:nvSpPr>
          <p:cNvPr id="9" name="Rectangle 17"/>
          <p:cNvSpPr>
            <a:spLocks noChangeArrowheads="1"/>
          </p:cNvSpPr>
          <p:nvPr>
            <p:custDataLst>
              <p:tags r:id="rId5"/>
            </p:custDataLst>
          </p:nvPr>
        </p:nvSpPr>
        <p:spPr bwMode="auto">
          <a:xfrm>
            <a:off x="6741584" y="6623050"/>
            <a:ext cx="266051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a:defRPr>
                <a:solidFill>
                  <a:schemeClr val="tx1"/>
                </a:solidFill>
                <a:latin typeface="Arial" panose="020B0604020202020204" pitchFamily="34" charset="0"/>
                <a:cs typeface="Arial" panose="020B0604020202020204" pitchFamily="34" charset="0"/>
              </a:defRPr>
            </a:lvl1pPr>
            <a:lvl2pPr marL="742950" indent="-285750" defTabSz="995363">
              <a:defRPr>
                <a:solidFill>
                  <a:schemeClr val="tx1"/>
                </a:solidFill>
                <a:latin typeface="Arial" panose="020B0604020202020204" pitchFamily="34" charset="0"/>
                <a:cs typeface="Arial" panose="020B0604020202020204" pitchFamily="34" charset="0"/>
              </a:defRPr>
            </a:lvl2pPr>
            <a:lvl3pPr marL="1143000" indent="-228600" defTabSz="995363">
              <a:defRPr>
                <a:solidFill>
                  <a:schemeClr val="tx1"/>
                </a:solidFill>
                <a:latin typeface="Arial" panose="020B0604020202020204" pitchFamily="34" charset="0"/>
                <a:cs typeface="Arial" panose="020B0604020202020204" pitchFamily="34" charset="0"/>
              </a:defRPr>
            </a:lvl3pPr>
            <a:lvl4pPr marL="1600200" indent="-228600" defTabSz="995363">
              <a:defRPr>
                <a:solidFill>
                  <a:schemeClr val="tx1"/>
                </a:solidFill>
                <a:latin typeface="Arial" panose="020B0604020202020204" pitchFamily="34" charset="0"/>
                <a:cs typeface="Arial" panose="020B0604020202020204" pitchFamily="34" charset="0"/>
              </a:defRPr>
            </a:lvl4pPr>
            <a:lvl5pPr marL="2057400" indent="-228600" defTabSz="995363">
              <a:defRPr>
                <a:solidFill>
                  <a:schemeClr val="tx1"/>
                </a:solidFill>
                <a:latin typeface="Arial" panose="020B0604020202020204" pitchFamily="34" charset="0"/>
                <a:cs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90000"/>
              </a:lnSpc>
              <a:spcBef>
                <a:spcPct val="10000"/>
              </a:spcBef>
              <a:defRPr/>
            </a:pPr>
            <a:r>
              <a:rPr lang="en-US" altLang="en-US" sz="70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7487973" y="6427788"/>
            <a:ext cx="1914129"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998C85"/>
                </a:solidFil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58221" y="6443664"/>
            <a:ext cx="1312202"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3" hidden="1"/>
          <p:cNvGraphicFramePr>
            <a:graphicFrameLocks noChangeAspect="1"/>
          </p:cNvGraphicFramePr>
          <p:nvPr>
            <p:custDataLst>
              <p:tags r:id="rId9"/>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32463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91"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6699785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565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C25ABFBD-1F34-4007-9B8B-F3D37759840D}" type="slidenum">
              <a:rPr lang="en-US" altLang="en-US" sz="700" smtClean="0">
                <a:solidFill>
                  <a:srgbClr val="998C85"/>
                </a:solidFill>
              </a:rPr>
              <a:pPr algn="ctr" eaLnBrk="1" hangingPunct="1">
                <a:defRPr/>
              </a:pPr>
              <a:t>‹#›</a:t>
            </a:fld>
            <a:endParaRPr lang="en-US" altLang="en-US" sz="700" smtClean="0">
              <a:solidFill>
                <a:srgbClr val="998C85"/>
              </a:solidFill>
            </a:endParaRPr>
          </a:p>
        </p:txBody>
      </p:sp>
      <p:sp>
        <p:nvSpPr>
          <p:cNvPr id="8"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fontAlgn="auto" hangingPunct="1">
              <a:spcBef>
                <a:spcPts val="0"/>
              </a:spcBef>
              <a:spcAft>
                <a:spcPts val="0"/>
              </a:spcAft>
              <a:defRPr/>
            </a:pPr>
            <a:endParaRPr lang="fr-FR" sz="1900" dirty="0">
              <a:solidFill>
                <a:srgbClr val="263147"/>
              </a:solidFill>
              <a:latin typeface="+mn-lt"/>
              <a:cs typeface="+mn-cs"/>
            </a:endParaRPr>
          </a:p>
        </p:txBody>
      </p:sp>
      <p:sp>
        <p:nvSpPr>
          <p:cNvPr id="9" name="Rectangle 17"/>
          <p:cNvSpPr>
            <a:spLocks noChangeArrowheads="1"/>
          </p:cNvSpPr>
          <p:nvPr>
            <p:custDataLst>
              <p:tags r:id="rId5"/>
            </p:custDataLst>
          </p:nvPr>
        </p:nvSpPr>
        <p:spPr bwMode="auto">
          <a:xfrm>
            <a:off x="6741584" y="6623050"/>
            <a:ext cx="266051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a:defRPr>
                <a:solidFill>
                  <a:schemeClr val="tx1"/>
                </a:solidFill>
                <a:latin typeface="Arial" panose="020B0604020202020204" pitchFamily="34" charset="0"/>
                <a:cs typeface="Arial" panose="020B0604020202020204" pitchFamily="34" charset="0"/>
              </a:defRPr>
            </a:lvl1pPr>
            <a:lvl2pPr marL="742950" indent="-285750" defTabSz="995363">
              <a:defRPr>
                <a:solidFill>
                  <a:schemeClr val="tx1"/>
                </a:solidFill>
                <a:latin typeface="Arial" panose="020B0604020202020204" pitchFamily="34" charset="0"/>
                <a:cs typeface="Arial" panose="020B0604020202020204" pitchFamily="34" charset="0"/>
              </a:defRPr>
            </a:lvl2pPr>
            <a:lvl3pPr marL="1143000" indent="-228600" defTabSz="995363">
              <a:defRPr>
                <a:solidFill>
                  <a:schemeClr val="tx1"/>
                </a:solidFill>
                <a:latin typeface="Arial" panose="020B0604020202020204" pitchFamily="34" charset="0"/>
                <a:cs typeface="Arial" panose="020B0604020202020204" pitchFamily="34" charset="0"/>
              </a:defRPr>
            </a:lvl3pPr>
            <a:lvl4pPr marL="1600200" indent="-228600" defTabSz="995363">
              <a:defRPr>
                <a:solidFill>
                  <a:schemeClr val="tx1"/>
                </a:solidFill>
                <a:latin typeface="Arial" panose="020B0604020202020204" pitchFamily="34" charset="0"/>
                <a:cs typeface="Arial" panose="020B0604020202020204" pitchFamily="34" charset="0"/>
              </a:defRPr>
            </a:lvl4pPr>
            <a:lvl5pPr marL="2057400" indent="-228600" defTabSz="995363">
              <a:defRPr>
                <a:solidFill>
                  <a:schemeClr val="tx1"/>
                </a:solidFill>
                <a:latin typeface="Arial" panose="020B0604020202020204" pitchFamily="34" charset="0"/>
                <a:cs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90000"/>
              </a:lnSpc>
              <a:spcBef>
                <a:spcPct val="10000"/>
              </a:spcBef>
              <a:defRPr/>
            </a:pPr>
            <a:r>
              <a:rPr lang="en-US" altLang="en-US" sz="70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7487973" y="6427788"/>
            <a:ext cx="1914129"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998C85"/>
                </a:solidFil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58221" y="6443664"/>
            <a:ext cx="1312202"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3" hidden="1"/>
          <p:cNvGraphicFramePr>
            <a:graphicFrameLocks noChangeAspect="1"/>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565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580078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668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9"/>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F9A5CFA5-4709-4CE0-A414-938938B98783}" type="slidenum">
              <a:rPr lang="en-US" altLang="en-US" sz="700" smtClean="0">
                <a:solidFill>
                  <a:srgbClr val="998C85"/>
                </a:solidFill>
              </a:rPr>
              <a:pPr algn="ctr" eaLnBrk="1" hangingPunct="1">
                <a:defRPr/>
              </a:pPr>
              <a:t>‹#›</a:t>
            </a:fld>
            <a:endParaRPr lang="en-US" altLang="en-US" sz="700" smtClean="0">
              <a:solidFill>
                <a:srgbClr val="998C85"/>
              </a:solidFill>
            </a:endParaRPr>
          </a:p>
        </p:txBody>
      </p:sp>
      <p:sp>
        <p:nvSpPr>
          <p:cNvPr id="11"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fontAlgn="auto" hangingPunct="1">
              <a:spcBef>
                <a:spcPts val="0"/>
              </a:spcBef>
              <a:spcAft>
                <a:spcPts val="0"/>
              </a:spcAft>
              <a:defRPr/>
            </a:pPr>
            <a:endParaRPr lang="fr-FR" sz="1900" dirty="0">
              <a:solidFill>
                <a:srgbClr val="263147"/>
              </a:solidFill>
              <a:latin typeface="+mn-lt"/>
              <a:cs typeface="+mn-cs"/>
            </a:endParaRPr>
          </a:p>
        </p:txBody>
      </p:sp>
      <p:sp>
        <p:nvSpPr>
          <p:cNvPr id="12" name="Rectangle 17"/>
          <p:cNvSpPr>
            <a:spLocks noChangeArrowheads="1"/>
          </p:cNvSpPr>
          <p:nvPr>
            <p:custDataLst>
              <p:tags r:id="rId5"/>
            </p:custDataLst>
          </p:nvPr>
        </p:nvSpPr>
        <p:spPr bwMode="auto">
          <a:xfrm>
            <a:off x="6741584" y="6623050"/>
            <a:ext cx="266051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a:defRPr>
                <a:solidFill>
                  <a:schemeClr val="tx1"/>
                </a:solidFill>
                <a:latin typeface="Arial" panose="020B0604020202020204" pitchFamily="34" charset="0"/>
                <a:cs typeface="Arial" panose="020B0604020202020204" pitchFamily="34" charset="0"/>
              </a:defRPr>
            </a:lvl1pPr>
            <a:lvl2pPr marL="742950" indent="-285750" defTabSz="995363">
              <a:defRPr>
                <a:solidFill>
                  <a:schemeClr val="tx1"/>
                </a:solidFill>
                <a:latin typeface="Arial" panose="020B0604020202020204" pitchFamily="34" charset="0"/>
                <a:cs typeface="Arial" panose="020B0604020202020204" pitchFamily="34" charset="0"/>
              </a:defRPr>
            </a:lvl2pPr>
            <a:lvl3pPr marL="1143000" indent="-228600" defTabSz="995363">
              <a:defRPr>
                <a:solidFill>
                  <a:schemeClr val="tx1"/>
                </a:solidFill>
                <a:latin typeface="Arial" panose="020B0604020202020204" pitchFamily="34" charset="0"/>
                <a:cs typeface="Arial" panose="020B0604020202020204" pitchFamily="34" charset="0"/>
              </a:defRPr>
            </a:lvl3pPr>
            <a:lvl4pPr marL="1600200" indent="-228600" defTabSz="995363">
              <a:defRPr>
                <a:solidFill>
                  <a:schemeClr val="tx1"/>
                </a:solidFill>
                <a:latin typeface="Arial" panose="020B0604020202020204" pitchFamily="34" charset="0"/>
                <a:cs typeface="Arial" panose="020B0604020202020204" pitchFamily="34" charset="0"/>
              </a:defRPr>
            </a:lvl4pPr>
            <a:lvl5pPr marL="2057400" indent="-228600" defTabSz="995363">
              <a:defRPr>
                <a:solidFill>
                  <a:schemeClr val="tx1"/>
                </a:solidFill>
                <a:latin typeface="Arial" panose="020B0604020202020204" pitchFamily="34" charset="0"/>
                <a:cs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90000"/>
              </a:lnSpc>
              <a:spcBef>
                <a:spcPct val="10000"/>
              </a:spcBef>
              <a:defRPr/>
            </a:pPr>
            <a:r>
              <a:rPr lang="en-US" altLang="en-US" sz="70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7487973" y="6427788"/>
            <a:ext cx="1914129"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998C85"/>
                </a:solidFil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58221" y="6443664"/>
            <a:ext cx="1312202"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3" hidden="1"/>
          <p:cNvGraphicFramePr>
            <a:graphicFrameLocks noChangeAspect="1"/>
          </p:cNvGraphicFramePr>
          <p:nvPr>
            <p:custDataLst>
              <p:tags r:id="rId9"/>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668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6831706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1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1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2375758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13"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7693"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3"/>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681E3891-973E-4B9F-9EF6-7262DC07906E}" type="slidenum">
              <a:rPr lang="en-US" altLang="en-US" sz="700" smtClean="0">
                <a:solidFill>
                  <a:srgbClr val="998C85"/>
                </a:solidFill>
              </a:rPr>
              <a:pPr algn="ctr" eaLnBrk="1" hangingPunct="1">
                <a:defRPr/>
              </a:pPr>
              <a:t>‹#›</a:t>
            </a:fld>
            <a:endParaRPr lang="en-US" altLang="en-US" sz="700" smtClean="0">
              <a:solidFill>
                <a:srgbClr val="998C85"/>
              </a:solidFill>
            </a:endParaRPr>
          </a:p>
        </p:txBody>
      </p:sp>
      <p:sp>
        <p:nvSpPr>
          <p:cNvPr id="5"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fontAlgn="auto" hangingPunct="1">
              <a:spcBef>
                <a:spcPts val="0"/>
              </a:spcBef>
              <a:spcAft>
                <a:spcPts val="0"/>
              </a:spcAft>
              <a:defRPr/>
            </a:pPr>
            <a:endParaRPr lang="fr-FR" sz="1900" dirty="0">
              <a:solidFill>
                <a:srgbClr val="263147"/>
              </a:solidFill>
              <a:latin typeface="+mn-lt"/>
              <a:cs typeface="+mn-cs"/>
            </a:endParaRPr>
          </a:p>
        </p:txBody>
      </p:sp>
      <p:sp>
        <p:nvSpPr>
          <p:cNvPr id="6" name="Rectangle 17"/>
          <p:cNvSpPr>
            <a:spLocks noChangeArrowheads="1"/>
          </p:cNvSpPr>
          <p:nvPr>
            <p:custDataLst>
              <p:tags r:id="rId5"/>
            </p:custDataLst>
          </p:nvPr>
        </p:nvSpPr>
        <p:spPr bwMode="auto">
          <a:xfrm>
            <a:off x="6741584" y="6623050"/>
            <a:ext cx="266051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a:defRPr>
                <a:solidFill>
                  <a:schemeClr val="tx1"/>
                </a:solidFill>
                <a:latin typeface="Arial" panose="020B0604020202020204" pitchFamily="34" charset="0"/>
                <a:cs typeface="Arial" panose="020B0604020202020204" pitchFamily="34" charset="0"/>
              </a:defRPr>
            </a:lvl1pPr>
            <a:lvl2pPr marL="742950" indent="-285750" defTabSz="995363">
              <a:defRPr>
                <a:solidFill>
                  <a:schemeClr val="tx1"/>
                </a:solidFill>
                <a:latin typeface="Arial" panose="020B0604020202020204" pitchFamily="34" charset="0"/>
                <a:cs typeface="Arial" panose="020B0604020202020204" pitchFamily="34" charset="0"/>
              </a:defRPr>
            </a:lvl2pPr>
            <a:lvl3pPr marL="1143000" indent="-228600" defTabSz="995363">
              <a:defRPr>
                <a:solidFill>
                  <a:schemeClr val="tx1"/>
                </a:solidFill>
                <a:latin typeface="Arial" panose="020B0604020202020204" pitchFamily="34" charset="0"/>
                <a:cs typeface="Arial" panose="020B0604020202020204" pitchFamily="34" charset="0"/>
              </a:defRPr>
            </a:lvl3pPr>
            <a:lvl4pPr marL="1600200" indent="-228600" defTabSz="995363">
              <a:defRPr>
                <a:solidFill>
                  <a:schemeClr val="tx1"/>
                </a:solidFill>
                <a:latin typeface="Arial" panose="020B0604020202020204" pitchFamily="34" charset="0"/>
                <a:cs typeface="Arial" panose="020B0604020202020204" pitchFamily="34" charset="0"/>
              </a:defRPr>
            </a:lvl4pPr>
            <a:lvl5pPr marL="2057400" indent="-228600" defTabSz="995363">
              <a:defRPr>
                <a:solidFill>
                  <a:schemeClr val="tx1"/>
                </a:solidFill>
                <a:latin typeface="Arial" panose="020B0604020202020204" pitchFamily="34" charset="0"/>
                <a:cs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90000"/>
              </a:lnSpc>
              <a:spcBef>
                <a:spcPct val="10000"/>
              </a:spcBef>
              <a:defRPr/>
            </a:pPr>
            <a:r>
              <a:rPr lang="en-US" altLang="en-US" sz="70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7487973" y="6427788"/>
            <a:ext cx="1914129"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998C85"/>
                </a:solidFil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158221" y="6443664"/>
            <a:ext cx="1312202"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0" y="0"/>
            <a:ext cx="9906000" cy="1188000"/>
          </a:xfrm>
        </p:spPr>
        <p:txBody>
          <a:bodyPr/>
          <a:lstStyle>
            <a:lvl1pPr>
              <a:defRPr>
                <a:solidFill>
                  <a:schemeClr val="tx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351820868"/>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wo column table slide">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2871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custDataLst>
              <p:tags r:id="rId3"/>
            </p:custDataLst>
          </p:nvPr>
        </p:nvSpPr>
        <p:spPr>
          <a:xfrm>
            <a:off x="9566931" y="6661264"/>
            <a:ext cx="110607" cy="107722"/>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22EF0597-9A45-4EB8-8D2C-C99EB5C40D86}" type="slidenum">
              <a:rPr lang="en-US" altLang="en-US" sz="700" smtClean="0">
                <a:solidFill>
                  <a:srgbClr val="998C85"/>
                </a:solidFill>
              </a:rPr>
              <a:pPr algn="ctr" eaLnBrk="1" hangingPunct="1">
                <a:defRPr/>
              </a:pPr>
              <a:t>‹#›</a:t>
            </a:fld>
            <a:endParaRPr lang="en-US" altLang="en-US" sz="700" smtClean="0">
              <a:solidFill>
                <a:srgbClr val="998C85"/>
              </a:solidFill>
            </a:endParaRPr>
          </a:p>
        </p:txBody>
      </p:sp>
      <p:sp>
        <p:nvSpPr>
          <p:cNvPr id="8"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fontAlgn="auto" hangingPunct="1">
              <a:spcBef>
                <a:spcPts val="0"/>
              </a:spcBef>
              <a:spcAft>
                <a:spcPts val="0"/>
              </a:spcAft>
              <a:defRPr/>
            </a:pPr>
            <a:endParaRPr lang="fr-FR" sz="1900" dirty="0">
              <a:solidFill>
                <a:srgbClr val="263147"/>
              </a:solidFill>
              <a:latin typeface="+mn-lt"/>
              <a:cs typeface="+mn-cs"/>
            </a:endParaRPr>
          </a:p>
        </p:txBody>
      </p:sp>
      <p:sp>
        <p:nvSpPr>
          <p:cNvPr id="9" name="Rectangle 17"/>
          <p:cNvSpPr>
            <a:spLocks noChangeArrowheads="1"/>
          </p:cNvSpPr>
          <p:nvPr>
            <p:custDataLst>
              <p:tags r:id="rId5"/>
            </p:custDataLst>
          </p:nvPr>
        </p:nvSpPr>
        <p:spPr bwMode="auto">
          <a:xfrm>
            <a:off x="6741584" y="6623050"/>
            <a:ext cx="266051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a:defRPr>
                <a:solidFill>
                  <a:schemeClr val="tx1"/>
                </a:solidFill>
                <a:latin typeface="Arial" panose="020B0604020202020204" pitchFamily="34" charset="0"/>
                <a:cs typeface="Arial" panose="020B0604020202020204" pitchFamily="34" charset="0"/>
              </a:defRPr>
            </a:lvl1pPr>
            <a:lvl2pPr marL="742950" indent="-285750" defTabSz="995363">
              <a:defRPr>
                <a:solidFill>
                  <a:schemeClr val="tx1"/>
                </a:solidFill>
                <a:latin typeface="Arial" panose="020B0604020202020204" pitchFamily="34" charset="0"/>
                <a:cs typeface="Arial" panose="020B0604020202020204" pitchFamily="34" charset="0"/>
              </a:defRPr>
            </a:lvl2pPr>
            <a:lvl3pPr marL="1143000" indent="-228600" defTabSz="995363">
              <a:defRPr>
                <a:solidFill>
                  <a:schemeClr val="tx1"/>
                </a:solidFill>
                <a:latin typeface="Arial" panose="020B0604020202020204" pitchFamily="34" charset="0"/>
                <a:cs typeface="Arial" panose="020B0604020202020204" pitchFamily="34" charset="0"/>
              </a:defRPr>
            </a:lvl3pPr>
            <a:lvl4pPr marL="1600200" indent="-228600" defTabSz="995363">
              <a:defRPr>
                <a:solidFill>
                  <a:schemeClr val="tx1"/>
                </a:solidFill>
                <a:latin typeface="Arial" panose="020B0604020202020204" pitchFamily="34" charset="0"/>
                <a:cs typeface="Arial" panose="020B0604020202020204" pitchFamily="34" charset="0"/>
              </a:defRPr>
            </a:lvl4pPr>
            <a:lvl5pPr marL="2057400" indent="-228600" defTabSz="995363">
              <a:defRPr>
                <a:solidFill>
                  <a:schemeClr val="tx1"/>
                </a:solidFill>
                <a:latin typeface="Arial" panose="020B0604020202020204" pitchFamily="34" charset="0"/>
                <a:cs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90000"/>
              </a:lnSpc>
              <a:spcBef>
                <a:spcPct val="10000"/>
              </a:spcBef>
              <a:defRPr/>
            </a:pPr>
            <a:r>
              <a:rPr lang="en-US" altLang="en-US" sz="700" smtClean="0">
                <a:solidFill>
                  <a:srgbClr val="998C85"/>
                </a:solidFill>
                <a:ea typeface="Helvetica Light"/>
                <a:cs typeface="Helvetica Light"/>
              </a:rPr>
              <a:t>Copyright © Capgemini 2012. All Rights Reserved</a:t>
            </a:r>
          </a:p>
        </p:txBody>
      </p:sp>
      <p:sp>
        <p:nvSpPr>
          <p:cNvPr id="11" name="Rectangle 18"/>
          <p:cNvSpPr>
            <a:spLocks noChangeArrowheads="1"/>
          </p:cNvSpPr>
          <p:nvPr>
            <p:custDataLst>
              <p:tags r:id="rId6"/>
            </p:custDataLst>
          </p:nvPr>
        </p:nvSpPr>
        <p:spPr bwMode="auto">
          <a:xfrm>
            <a:off x="7487973" y="6427788"/>
            <a:ext cx="1914129"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998C85"/>
                </a:solidFill>
              </a:rPr>
              <a:t>Presentation Title | Date</a:t>
            </a:r>
          </a:p>
        </p:txBody>
      </p:sp>
      <p:pic>
        <p:nvPicPr>
          <p:cNvPr id="12" name="Picture 103" descr="C:\Users\UserSim\Desktop\Capgemini\Capgemini_logo_cmyk.png"/>
          <p:cNvPicPr>
            <a:picLocks noChangeAspect="1" noChangeArrowheads="1"/>
          </p:cNvPicPr>
          <p:nvPr>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158221" y="6443664"/>
            <a:ext cx="1312202"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360000" y="285730"/>
            <a:ext cx="9126000" cy="430887"/>
          </a:xfrm>
        </p:spPr>
        <p:txBody>
          <a:bodyPr/>
          <a:lstStyle/>
          <a:p>
            <a:r>
              <a:rPr lang="en-US" smtClean="0"/>
              <a:t>Click to edit Master title style</a:t>
            </a:r>
            <a:endParaRPr lang="en-US" dirty="0"/>
          </a:p>
        </p:txBody>
      </p:sp>
      <p:sp>
        <p:nvSpPr>
          <p:cNvPr id="7" name="Table Placeholder 6"/>
          <p:cNvSpPr>
            <a:spLocks noGrp="1"/>
          </p:cNvSpPr>
          <p:nvPr>
            <p:ph type="tbl" sz="quarter" idx="10"/>
          </p:nvPr>
        </p:nvSpPr>
        <p:spPr>
          <a:xfrm>
            <a:off x="360000" y="1908000"/>
            <a:ext cx="4368000" cy="4212000"/>
          </a:xfrm>
        </p:spPr>
        <p:txBody>
          <a:bodyPr rtlCol="0">
            <a:noAutofit/>
          </a:bodyPr>
          <a:lstStyle/>
          <a:p>
            <a:pPr lvl="0"/>
            <a:r>
              <a:rPr lang="en-US" noProof="0" smtClean="0"/>
              <a:t>Click icon to add table</a:t>
            </a:r>
            <a:endParaRPr lang="en-GB" noProof="0" dirty="0"/>
          </a:p>
        </p:txBody>
      </p:sp>
      <p:sp>
        <p:nvSpPr>
          <p:cNvPr id="10" name="Table Placeholder 9"/>
          <p:cNvSpPr>
            <a:spLocks noGrp="1"/>
          </p:cNvSpPr>
          <p:nvPr>
            <p:ph type="tbl" sz="quarter" idx="11"/>
          </p:nvPr>
        </p:nvSpPr>
        <p:spPr>
          <a:xfrm>
            <a:off x="5148000" y="1908004"/>
            <a:ext cx="4368000" cy="4213225"/>
          </a:xfrm>
        </p:spPr>
        <p:txBody>
          <a:bodyPr rtlCol="0">
            <a:noAutofit/>
          </a:bodyPr>
          <a:lstStyle/>
          <a:p>
            <a:pPr lvl="0"/>
            <a:r>
              <a:rPr lang="en-US" noProof="0" smtClean="0"/>
              <a:t>Click icon to add table</a:t>
            </a:r>
            <a:endParaRPr lang="en-GB" noProof="0" dirty="0"/>
          </a:p>
        </p:txBody>
      </p:sp>
      <p:sp>
        <p:nvSpPr>
          <p:cNvPr id="14" name="Footer Placeholder 19"/>
          <p:cNvSpPr>
            <a:spLocks noGrp="1"/>
          </p:cNvSpPr>
          <p:nvPr>
            <p:ph type="ftr" sz="quarter" idx="12"/>
          </p:nvPr>
        </p:nvSpPr>
        <p:spPr>
          <a:xfrm>
            <a:off x="6745023" y="6500813"/>
            <a:ext cx="3136900" cy="349250"/>
          </a:xfrm>
          <a:prstGeom prst="rect">
            <a:avLst/>
          </a:prstGeom>
        </p:spPr>
        <p:txBody>
          <a:bodyPr vert="horz" wrap="square" lIns="91440" tIns="45720" rIns="91440" bIns="45720" numCol="1" anchor="ctr" anchorCtr="0" compatLnSpc="1">
            <a:prstTxWarp prst="textNoShape">
              <a:avLst/>
            </a:prstTxWarp>
          </a:bodyPr>
          <a:lstStyle>
            <a:lvl1pPr algn="r" eaLnBrk="1" hangingPunct="1">
              <a:lnSpc>
                <a:spcPts val="1300"/>
              </a:lnSpc>
              <a:defRPr sz="800">
                <a:solidFill>
                  <a:srgbClr val="263147"/>
                </a:solidFill>
              </a:defRPr>
            </a:lvl1pPr>
          </a:lstStyle>
          <a:p>
            <a:pPr>
              <a:defRPr/>
            </a:pPr>
            <a:endParaRPr lang="en-GB" altLang="en-US"/>
          </a:p>
        </p:txBody>
      </p:sp>
    </p:spTree>
    <p:extLst>
      <p:ext uri="{BB962C8B-B14F-4D97-AF65-F5344CB8AC3E}">
        <p14:creationId xmlns:p14="http://schemas.microsoft.com/office/powerpoint/2010/main" val="33682512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20216" name="think-cell Slide" r:id="rId7" imgW="360" imgH="360" progId="">
                  <p:embed/>
                </p:oleObj>
              </mc:Choice>
              <mc:Fallback>
                <p:oleObj name="think-cell Slide" r:id="rId7" imgW="360" imgH="360" progId="">
                  <p:embed/>
                  <p:pic>
                    <p:nvPicPr>
                      <p:cNvPr id="0" name="Picture 2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8"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70" name="PlaceHolder 1"/>
          <p:cNvSpPr>
            <a:spLocks noGrp="1"/>
          </p:cNvSpPr>
          <p:nvPr>
            <p:ph type="title"/>
          </p:nvPr>
        </p:nvSpPr>
        <p:spPr>
          <a:xfrm>
            <a:off x="495000" y="273600"/>
            <a:ext cx="8915040" cy="1144800"/>
          </a:xfrm>
          <a:prstGeom prst="rect">
            <a:avLst/>
          </a:prstGeom>
        </p:spPr>
        <p:txBody>
          <a:bodyPr lIns="0" tIns="0" rIns="0" bIns="0" anchor="ctr">
            <a:spAutoFit/>
          </a:bodyPr>
          <a:lstStyle/>
          <a:p>
            <a:pPr algn="ctr"/>
            <a:endParaRPr lang="en-IN" sz="4400" b="0" strike="noStrike" spc="-1">
              <a:latin typeface="Arial"/>
            </a:endParaRPr>
          </a:p>
        </p:txBody>
      </p:sp>
      <p:sp>
        <p:nvSpPr>
          <p:cNvPr id="71" name="PlaceHolder 2"/>
          <p:cNvSpPr>
            <a:spLocks noGrp="1"/>
          </p:cNvSpPr>
          <p:nvPr>
            <p:ph type="subTitle"/>
          </p:nvPr>
        </p:nvSpPr>
        <p:spPr>
          <a:xfrm>
            <a:off x="495000" y="1604520"/>
            <a:ext cx="8915040" cy="3977280"/>
          </a:xfrm>
          <a:prstGeom prst="rect">
            <a:avLst/>
          </a:prstGeom>
        </p:spPr>
        <p:txBody>
          <a:bodyPr lIns="0" tIns="0" rIns="0" bIns="0" anchor="ctr">
            <a:spAutoFit/>
          </a:bodyPr>
          <a:lstStyle/>
          <a:p>
            <a:pPr algn="ctr"/>
            <a:endParaRPr lang="en-IN" sz="3200" b="0" strike="noStrike" spc="-1">
              <a:latin typeface="Arial"/>
            </a:endParaRPr>
          </a:p>
        </p:txBody>
      </p:sp>
    </p:spTree>
    <p:extLst>
      <p:ext uri="{BB962C8B-B14F-4D97-AF65-F5344CB8AC3E}">
        <p14:creationId xmlns:p14="http://schemas.microsoft.com/office/powerpoint/2010/main" val="35371353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974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3"/>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extLst>
      <p:ext uri="{BB962C8B-B14F-4D97-AF65-F5344CB8AC3E}">
        <p14:creationId xmlns:p14="http://schemas.microsoft.com/office/powerpoint/2010/main" val="36525046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81038" y="6356351"/>
            <a:ext cx="2228850" cy="365125"/>
          </a:xfrm>
          <a:prstGeom prst="rect">
            <a:avLst/>
          </a:prstGeom>
        </p:spPr>
        <p:txBody>
          <a:bodyPr/>
          <a:lstStyle/>
          <a:p>
            <a:fld id="{5BD49BD5-2022-4853-8DF9-B76C5BC11CBE}" type="datetimeFigureOut">
              <a:rPr lang="en-US" smtClean="0"/>
              <a:t>5/28/2019</a:t>
            </a:fld>
            <a:endParaRPr lang="en-US"/>
          </a:p>
        </p:txBody>
      </p:sp>
      <p:sp>
        <p:nvSpPr>
          <p:cNvPr id="3" name="Footer Placeholder 2"/>
          <p:cNvSpPr>
            <a:spLocks noGrp="1"/>
          </p:cNvSpPr>
          <p:nvPr>
            <p:ph type="ftr" sz="quarter" idx="11"/>
          </p:nvPr>
        </p:nvSpPr>
        <p:spPr>
          <a:xfrm>
            <a:off x="3281363" y="6356351"/>
            <a:ext cx="3343275"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996113" y="6356351"/>
            <a:ext cx="2228850" cy="365125"/>
          </a:xfrm>
          <a:prstGeom prst="rect">
            <a:avLst/>
          </a:prstGeom>
        </p:spPr>
        <p:txBody>
          <a:bodyPr/>
          <a:lstStyle/>
          <a:p>
            <a:fld id="{F44602B9-F845-458C-852E-4309C74AC9A8}" type="slidenum">
              <a:rPr lang="en-US" smtClean="0"/>
              <a:t>‹#›</a:t>
            </a:fld>
            <a:endParaRPr lang="en-US"/>
          </a:p>
        </p:txBody>
      </p:sp>
    </p:spTree>
    <p:extLst>
      <p:ext uri="{BB962C8B-B14F-4D97-AF65-F5344CB8AC3E}">
        <p14:creationId xmlns:p14="http://schemas.microsoft.com/office/powerpoint/2010/main" val="5960532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31800"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7"/>
          <p:cNvSpPr/>
          <p:nvPr>
            <p:custDataLst>
              <p:tags r:id="rId3"/>
            </p:custDataLst>
          </p:nvPr>
        </p:nvSpPr>
        <p:spPr bwMode="auto">
          <a:xfrm flipV="1">
            <a:off x="-1720" y="1677988"/>
            <a:ext cx="9907720"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eaLnBrk="1" fontAlgn="auto" hangingPunct="1">
              <a:spcBef>
                <a:spcPts val="0"/>
              </a:spcBef>
              <a:spcAft>
                <a:spcPts val="0"/>
              </a:spcAft>
              <a:defRPr/>
            </a:pPr>
            <a:endParaRPr lang="en-US" sz="1000" dirty="0">
              <a:solidFill>
                <a:prstClr val="white"/>
              </a:solidFill>
              <a:latin typeface="Arial"/>
              <a:cs typeface="Arial"/>
            </a:endParaRPr>
          </a:p>
        </p:txBody>
      </p:sp>
      <p:pic>
        <p:nvPicPr>
          <p:cNvPr id="4" name="Image 10" descr="Capgemini_logo_lr.tif"/>
          <p:cNvPicPr>
            <a:picLocks noChangeAspect="1"/>
          </p:cNvPicPr>
          <p:nvPr>
            <p:custDataLst>
              <p:tags r:id="rId4"/>
            </p:custDataLst>
          </p:nvPr>
        </p:nvPicPr>
        <p:blipFill>
          <a:blip r:embed="rId21">
            <a:extLst>
              <a:ext uri="{28A0092B-C50C-407E-A947-70E740481C1C}">
                <a14:useLocalDpi xmlns:a14="http://schemas.microsoft.com/office/drawing/2010/main" val="0"/>
              </a:ext>
            </a:extLst>
          </a:blip>
          <a:srcRect/>
          <a:stretch>
            <a:fillRect/>
          </a:stretch>
        </p:blipFill>
        <p:spPr bwMode="auto">
          <a:xfrm>
            <a:off x="691357" y="930275"/>
            <a:ext cx="3154098"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4" descr="C:\Users\UserSim\Desktop\Capgemini\moto.emf"/>
          <p:cNvPicPr>
            <a:picLocks noChangeAspect="1" noChangeArrowheads="1"/>
          </p:cNvPicPr>
          <p:nvPr>
            <p:custDataLst>
              <p:tags r:id="rId5"/>
            </p:custDataLst>
          </p:nvPr>
        </p:nvPicPr>
        <p:blipFill>
          <a:blip r:embed="rId22">
            <a:extLst>
              <a:ext uri="{28A0092B-C50C-407E-A947-70E740481C1C}">
                <a14:useLocalDpi xmlns:a14="http://schemas.microsoft.com/office/drawing/2010/main" val="0"/>
              </a:ext>
            </a:extLst>
          </a:blip>
          <a:srcRect/>
          <a:stretch>
            <a:fillRect/>
          </a:stretch>
        </p:blipFill>
        <p:spPr bwMode="auto">
          <a:xfrm>
            <a:off x="5491296" y="1173163"/>
            <a:ext cx="3645958"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8"/>
          <p:cNvSpPr>
            <a:spLocks noChangeArrowheads="1"/>
          </p:cNvSpPr>
          <p:nvPr>
            <p:custDataLst>
              <p:tags r:id="rId6"/>
            </p:custDataLst>
          </p:nvPr>
        </p:nvSpPr>
        <p:spPr bwMode="auto">
          <a:xfrm>
            <a:off x="5523971" y="6380164"/>
            <a:ext cx="4382029"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9" tIns="33059" rIns="330588" bIns="33059"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FFFFFF"/>
                </a:solidFill>
              </a:rPr>
              <a:t>The information contained in this presentation is proprietary.</a:t>
            </a:r>
          </a:p>
          <a:p>
            <a:pPr algn="r" eaLnBrk="1" hangingPunct="1">
              <a:defRPr/>
            </a:pPr>
            <a:r>
              <a:rPr lang="en-US" altLang="en-US" sz="700" smtClean="0">
                <a:solidFill>
                  <a:srgbClr val="FFFFFF"/>
                </a:solidFill>
              </a:rPr>
              <a:t>© 2012 Capgemini. All rights reserved.</a:t>
            </a:r>
          </a:p>
        </p:txBody>
      </p:sp>
      <p:sp>
        <p:nvSpPr>
          <p:cNvPr id="7" name="Rectangle 20"/>
          <p:cNvSpPr>
            <a:spLocks noChangeArrowheads="1"/>
          </p:cNvSpPr>
          <p:nvPr>
            <p:custDataLst>
              <p:tags r:id="rId7"/>
            </p:custDataLst>
          </p:nvPr>
        </p:nvSpPr>
        <p:spPr bwMode="auto">
          <a:xfrm>
            <a:off x="6982879" y="5458345"/>
            <a:ext cx="2923122" cy="38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0" bIns="3600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2000" b="1" smtClean="0">
                <a:solidFill>
                  <a:srgbClr val="FFFFFF"/>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a:extLst>
              <a:ext uri="{28A0092B-C50C-407E-A947-70E740481C1C}">
                <a14:useLocalDpi xmlns:a14="http://schemas.microsoft.com/office/drawing/2010/main" val="0"/>
              </a:ext>
            </a:extLst>
          </a:blip>
          <a:srcRect/>
          <a:stretch>
            <a:fillRect/>
          </a:stretch>
        </p:blipFill>
        <p:spPr bwMode="auto">
          <a:xfrm>
            <a:off x="7938559" y="5932489"/>
            <a:ext cx="278606"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a:extLst>
              <a:ext uri="{28A0092B-C50C-407E-A947-70E740481C1C}">
                <a14:useLocalDpi xmlns:a14="http://schemas.microsoft.com/office/drawing/2010/main" val="0"/>
              </a:ext>
            </a:extLst>
          </a:blip>
          <a:srcRect/>
          <a:stretch>
            <a:fillRect/>
          </a:stretch>
        </p:blipFill>
        <p:spPr bwMode="auto">
          <a:xfrm>
            <a:off x="8273918"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a:extLst>
              <a:ext uri="{28A0092B-C50C-407E-A947-70E740481C1C}">
                <a14:useLocalDpi xmlns:a14="http://schemas.microsoft.com/office/drawing/2010/main" val="0"/>
              </a:ext>
            </a:extLst>
          </a:blip>
          <a:srcRect/>
          <a:stretch>
            <a:fillRect/>
          </a:stretch>
        </p:blipFill>
        <p:spPr bwMode="auto">
          <a:xfrm>
            <a:off x="8903362"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a:extLst>
              <a:ext uri="{28A0092B-C50C-407E-A947-70E740481C1C}">
                <a14:useLocalDpi xmlns:a14="http://schemas.microsoft.com/office/drawing/2010/main" val="0"/>
              </a:ext>
            </a:extLst>
          </a:blip>
          <a:srcRect/>
          <a:stretch>
            <a:fillRect/>
          </a:stretch>
        </p:blipFill>
        <p:spPr bwMode="auto">
          <a:xfrm>
            <a:off x="9242160"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331801" name="think-cell Slide" r:id="rId33" imgW="360" imgH="360" progId="">
                  <p:embed/>
                </p:oleObj>
              </mc:Choice>
              <mc:Fallback>
                <p:oleObj name="think-cell Slide" r:id="rId33"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4" name="Group 351"/>
          <p:cNvGrpSpPr>
            <a:grpSpLocks/>
          </p:cNvGrpSpPr>
          <p:nvPr>
            <p:custDataLst>
              <p:tags r:id="rId14"/>
            </p:custDataLst>
          </p:nvPr>
        </p:nvGrpSpPr>
        <p:grpSpPr bwMode="auto">
          <a:xfrm>
            <a:off x="5781939" y="3259139"/>
            <a:ext cx="3700992"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gd name="T0" fmla="*/ 136 w 58"/>
                    <a:gd name="T1" fmla="*/ 2 h 1"/>
                    <a:gd name="T2" fmla="*/ 136 w 58"/>
                    <a:gd name="T3" fmla="*/ 0 h 1"/>
                    <a:gd name="T4" fmla="*/ 0 w 58"/>
                    <a:gd name="T5" fmla="*/ 0 h 1"/>
                    <a:gd name="T6" fmla="*/ 0 w 58"/>
                    <a:gd name="T7" fmla="*/ 2 h 1"/>
                    <a:gd name="T8" fmla="*/ 136 w 58"/>
                    <a:gd name="T9" fmla="*/ 0 h 1"/>
                    <a:gd name="T10" fmla="*/ 136 w 58"/>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5" name="Freeform 6"/>
                <p:cNvSpPr>
                  <a:spLocks/>
                </p:cNvSpPr>
                <p:nvPr/>
              </p:nvSpPr>
              <p:spPr bwMode="auto">
                <a:xfrm>
                  <a:off x="-2718" y="2861"/>
                  <a:ext cx="12" cy="3"/>
                </a:xfrm>
                <a:custGeom>
                  <a:avLst/>
                  <a:gdLst>
                    <a:gd name="T0" fmla="*/ 12 w 5"/>
                    <a:gd name="T1" fmla="*/ 0 h 1"/>
                    <a:gd name="T2" fmla="*/ 0 w 5"/>
                    <a:gd name="T3" fmla="*/ 0 h 1"/>
                    <a:gd name="T4" fmla="*/ 0 w 5"/>
                    <a:gd name="T5" fmla="*/ 3 h 1"/>
                    <a:gd name="T6" fmla="*/ 12 w 5"/>
                    <a:gd name="T7" fmla="*/ 3 h 1"/>
                    <a:gd name="T8" fmla="*/ 12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6" name="Freeform 7"/>
                <p:cNvSpPr>
                  <a:spLocks/>
                </p:cNvSpPr>
                <p:nvPr/>
              </p:nvSpPr>
              <p:spPr bwMode="auto">
                <a:xfrm>
                  <a:off x="-1029" y="2861"/>
                  <a:ext cx="2" cy="3"/>
                </a:xfrm>
                <a:custGeom>
                  <a:avLst/>
                  <a:gdLst>
                    <a:gd name="T0" fmla="*/ 0 w 2"/>
                    <a:gd name="T1" fmla="*/ 0 h 1"/>
                    <a:gd name="T2" fmla="*/ 0 w 2"/>
                    <a:gd name="T3" fmla="*/ 3 h 1"/>
                    <a:gd name="T4" fmla="*/ 0 w 2"/>
                    <a:gd name="T5" fmla="*/ 3 h 1"/>
                    <a:gd name="T6" fmla="*/ 0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7" name="Freeform 8"/>
                <p:cNvSpPr>
                  <a:spLocks noEditPoints="1"/>
                </p:cNvSpPr>
                <p:nvPr/>
              </p:nvSpPr>
              <p:spPr bwMode="auto">
                <a:xfrm>
                  <a:off x="-2197" y="2222"/>
                  <a:ext cx="1257" cy="3"/>
                </a:xfrm>
                <a:custGeom>
                  <a:avLst/>
                  <a:gdLst>
                    <a:gd name="T0" fmla="*/ 0 w 531"/>
                    <a:gd name="T1" fmla="*/ 0 h 1"/>
                    <a:gd name="T2" fmla="*/ 0 w 531"/>
                    <a:gd name="T3" fmla="*/ 0 h 1"/>
                    <a:gd name="T4" fmla="*/ 0 w 531"/>
                    <a:gd name="T5" fmla="*/ 3 h 1"/>
                    <a:gd name="T6" fmla="*/ 0 w 531"/>
                    <a:gd name="T7" fmla="*/ 0 h 1"/>
                    <a:gd name="T8" fmla="*/ 544 w 531"/>
                    <a:gd name="T9" fmla="*/ 0 h 1"/>
                    <a:gd name="T10" fmla="*/ 540 w 531"/>
                    <a:gd name="T11" fmla="*/ 0 h 1"/>
                    <a:gd name="T12" fmla="*/ 540 w 531"/>
                    <a:gd name="T13" fmla="*/ 3 h 1"/>
                    <a:gd name="T14" fmla="*/ 544 w 531"/>
                    <a:gd name="T15" fmla="*/ 3 h 1"/>
                    <a:gd name="T16" fmla="*/ 544 w 531"/>
                    <a:gd name="T17" fmla="*/ 0 h 1"/>
                    <a:gd name="T18" fmla="*/ 1020 w 531"/>
                    <a:gd name="T19" fmla="*/ 0 h 1"/>
                    <a:gd name="T20" fmla="*/ 1008 w 531"/>
                    <a:gd name="T21" fmla="*/ 0 h 1"/>
                    <a:gd name="T22" fmla="*/ 1008 w 531"/>
                    <a:gd name="T23" fmla="*/ 3 h 1"/>
                    <a:gd name="T24" fmla="*/ 1020 w 531"/>
                    <a:gd name="T25" fmla="*/ 3 h 1"/>
                    <a:gd name="T26" fmla="*/ 1020 w 531"/>
                    <a:gd name="T27" fmla="*/ 0 h 1"/>
                    <a:gd name="T28" fmla="*/ 1046 w 531"/>
                    <a:gd name="T29" fmla="*/ 0 h 1"/>
                    <a:gd name="T30" fmla="*/ 1032 w 531"/>
                    <a:gd name="T31" fmla="*/ 0 h 1"/>
                    <a:gd name="T32" fmla="*/ 1032 w 531"/>
                    <a:gd name="T33" fmla="*/ 3 h 1"/>
                    <a:gd name="T34" fmla="*/ 1046 w 531"/>
                    <a:gd name="T35" fmla="*/ 3 h 1"/>
                    <a:gd name="T36" fmla="*/ 1046 w 531"/>
                    <a:gd name="T37" fmla="*/ 0 h 1"/>
                    <a:gd name="T38" fmla="*/ 1094 w 531"/>
                    <a:gd name="T39" fmla="*/ 0 h 1"/>
                    <a:gd name="T40" fmla="*/ 1084 w 531"/>
                    <a:gd name="T41" fmla="*/ 0 h 1"/>
                    <a:gd name="T42" fmla="*/ 1087 w 531"/>
                    <a:gd name="T43" fmla="*/ 3 h 1"/>
                    <a:gd name="T44" fmla="*/ 1094 w 531"/>
                    <a:gd name="T45" fmla="*/ 3 h 1"/>
                    <a:gd name="T46" fmla="*/ 1094 w 531"/>
                    <a:gd name="T47" fmla="*/ 0 h 1"/>
                    <a:gd name="T48" fmla="*/ 1255 w 531"/>
                    <a:gd name="T49" fmla="*/ 0 h 1"/>
                    <a:gd name="T50" fmla="*/ 1255 w 531"/>
                    <a:gd name="T51" fmla="*/ 0 h 1"/>
                    <a:gd name="T52" fmla="*/ 1255 w 531"/>
                    <a:gd name="T53" fmla="*/ 3 h 1"/>
                    <a:gd name="T54" fmla="*/ 1257 w 531"/>
                    <a:gd name="T55" fmla="*/ 3 h 1"/>
                    <a:gd name="T56" fmla="*/ 1255 w 531"/>
                    <a:gd name="T57" fmla="*/ 0 h 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8" name="Freeform 9"/>
                <p:cNvSpPr>
                  <a:spLocks noEditPoints="1"/>
                </p:cNvSpPr>
                <p:nvPr/>
              </p:nvSpPr>
              <p:spPr bwMode="auto">
                <a:xfrm>
                  <a:off x="-3755" y="2222"/>
                  <a:ext cx="74" cy="3"/>
                </a:xfrm>
                <a:custGeom>
                  <a:avLst/>
                  <a:gdLst>
                    <a:gd name="T0" fmla="*/ 0 w 31"/>
                    <a:gd name="T1" fmla="*/ 0 h 1"/>
                    <a:gd name="T2" fmla="*/ 0 w 31"/>
                    <a:gd name="T3" fmla="*/ 0 h 1"/>
                    <a:gd name="T4" fmla="*/ 0 w 31"/>
                    <a:gd name="T5" fmla="*/ 3 h 1"/>
                    <a:gd name="T6" fmla="*/ 0 w 31"/>
                    <a:gd name="T7" fmla="*/ 3 h 1"/>
                    <a:gd name="T8" fmla="*/ 0 w 31"/>
                    <a:gd name="T9" fmla="*/ 0 h 1"/>
                    <a:gd name="T10" fmla="*/ 74 w 31"/>
                    <a:gd name="T11" fmla="*/ 0 h 1"/>
                    <a:gd name="T12" fmla="*/ 74 w 31"/>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9" name="Freeform 10"/>
                <p:cNvSpPr>
                  <a:spLocks noEditPoints="1"/>
                </p:cNvSpPr>
                <p:nvPr/>
              </p:nvSpPr>
              <p:spPr bwMode="auto">
                <a:xfrm>
                  <a:off x="-2265" y="1682"/>
                  <a:ext cx="1070" cy="3"/>
                </a:xfrm>
                <a:custGeom>
                  <a:avLst/>
                  <a:gdLst>
                    <a:gd name="T0" fmla="*/ 12 w 452"/>
                    <a:gd name="T1" fmla="*/ 0 h 1"/>
                    <a:gd name="T2" fmla="*/ 0 w 452"/>
                    <a:gd name="T3" fmla="*/ 0 h 1"/>
                    <a:gd name="T4" fmla="*/ 0 w 452"/>
                    <a:gd name="T5" fmla="*/ 3 h 1"/>
                    <a:gd name="T6" fmla="*/ 12 w 452"/>
                    <a:gd name="T7" fmla="*/ 3 h 1"/>
                    <a:gd name="T8" fmla="*/ 12 w 452"/>
                    <a:gd name="T9" fmla="*/ 0 h 1"/>
                    <a:gd name="T10" fmla="*/ 282 w 452"/>
                    <a:gd name="T11" fmla="*/ 0 h 1"/>
                    <a:gd name="T12" fmla="*/ 270 w 452"/>
                    <a:gd name="T13" fmla="*/ 0 h 1"/>
                    <a:gd name="T14" fmla="*/ 270 w 452"/>
                    <a:gd name="T15" fmla="*/ 3 h 1"/>
                    <a:gd name="T16" fmla="*/ 282 w 452"/>
                    <a:gd name="T17" fmla="*/ 3 h 1"/>
                    <a:gd name="T18" fmla="*/ 282 w 452"/>
                    <a:gd name="T19" fmla="*/ 0 h 1"/>
                    <a:gd name="T20" fmla="*/ 395 w 452"/>
                    <a:gd name="T21" fmla="*/ 0 h 1"/>
                    <a:gd name="T22" fmla="*/ 393 w 452"/>
                    <a:gd name="T23" fmla="*/ 0 h 1"/>
                    <a:gd name="T24" fmla="*/ 393 w 452"/>
                    <a:gd name="T25" fmla="*/ 3 h 1"/>
                    <a:gd name="T26" fmla="*/ 395 w 452"/>
                    <a:gd name="T27" fmla="*/ 3 h 1"/>
                    <a:gd name="T28" fmla="*/ 395 w 452"/>
                    <a:gd name="T29" fmla="*/ 0 h 1"/>
                    <a:gd name="T30" fmla="*/ 528 w 452"/>
                    <a:gd name="T31" fmla="*/ 0 h 1"/>
                    <a:gd name="T32" fmla="*/ 516 w 452"/>
                    <a:gd name="T33" fmla="*/ 0 h 1"/>
                    <a:gd name="T34" fmla="*/ 516 w 452"/>
                    <a:gd name="T35" fmla="*/ 3 h 1"/>
                    <a:gd name="T36" fmla="*/ 528 w 452"/>
                    <a:gd name="T37" fmla="*/ 3 h 1"/>
                    <a:gd name="T38" fmla="*/ 528 w 452"/>
                    <a:gd name="T39" fmla="*/ 0 h 1"/>
                    <a:gd name="T40" fmla="*/ 774 w 452"/>
                    <a:gd name="T41" fmla="*/ 0 h 1"/>
                    <a:gd name="T42" fmla="*/ 772 w 452"/>
                    <a:gd name="T43" fmla="*/ 0 h 1"/>
                    <a:gd name="T44" fmla="*/ 774 w 452"/>
                    <a:gd name="T45" fmla="*/ 3 h 1"/>
                    <a:gd name="T46" fmla="*/ 774 w 452"/>
                    <a:gd name="T47" fmla="*/ 3 h 1"/>
                    <a:gd name="T48" fmla="*/ 774 w 452"/>
                    <a:gd name="T49" fmla="*/ 0 h 1"/>
                    <a:gd name="T50" fmla="*/ 1020 w 452"/>
                    <a:gd name="T51" fmla="*/ 0 h 1"/>
                    <a:gd name="T52" fmla="*/ 1008 w 452"/>
                    <a:gd name="T53" fmla="*/ 0 h 1"/>
                    <a:gd name="T54" fmla="*/ 1008 w 452"/>
                    <a:gd name="T55" fmla="*/ 3 h 1"/>
                    <a:gd name="T56" fmla="*/ 1020 w 452"/>
                    <a:gd name="T57" fmla="*/ 3 h 1"/>
                    <a:gd name="T58" fmla="*/ 1020 w 452"/>
                    <a:gd name="T59" fmla="*/ 0 h 1"/>
                    <a:gd name="T60" fmla="*/ 1046 w 452"/>
                    <a:gd name="T61" fmla="*/ 0 h 1"/>
                    <a:gd name="T62" fmla="*/ 1034 w 452"/>
                    <a:gd name="T63" fmla="*/ 0 h 1"/>
                    <a:gd name="T64" fmla="*/ 1034 w 452"/>
                    <a:gd name="T65" fmla="*/ 3 h 1"/>
                    <a:gd name="T66" fmla="*/ 1046 w 452"/>
                    <a:gd name="T67" fmla="*/ 3 h 1"/>
                    <a:gd name="T68" fmla="*/ 1046 w 452"/>
                    <a:gd name="T69" fmla="*/ 0 h 1"/>
                    <a:gd name="T70" fmla="*/ 1058 w 452"/>
                    <a:gd name="T71" fmla="*/ 0 h 1"/>
                    <a:gd name="T72" fmla="*/ 1058 w 452"/>
                    <a:gd name="T73" fmla="*/ 0 h 1"/>
                    <a:gd name="T74" fmla="*/ 1058 w 452"/>
                    <a:gd name="T75" fmla="*/ 3 h 1"/>
                    <a:gd name="T76" fmla="*/ 1063 w 452"/>
                    <a:gd name="T77" fmla="*/ 3 h 1"/>
                    <a:gd name="T78" fmla="*/ 1058 w 452"/>
                    <a:gd name="T79" fmla="*/ 0 h 1"/>
                    <a:gd name="T80" fmla="*/ 1070 w 452"/>
                    <a:gd name="T81" fmla="*/ 0 h 1"/>
                    <a:gd name="T82" fmla="*/ 1065 w 452"/>
                    <a:gd name="T83" fmla="*/ 0 h 1"/>
                    <a:gd name="T84" fmla="*/ 1068 w 452"/>
                    <a:gd name="T85" fmla="*/ 3 h 1"/>
                    <a:gd name="T86" fmla="*/ 1070 w 452"/>
                    <a:gd name="T87" fmla="*/ 3 h 1"/>
                    <a:gd name="T88" fmla="*/ 1070 w 452"/>
                    <a:gd name="T89" fmla="*/ 0 h 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0" name="Freeform 11"/>
                <p:cNvSpPr>
                  <a:spLocks noEditPoints="1"/>
                </p:cNvSpPr>
                <p:nvPr/>
              </p:nvSpPr>
              <p:spPr bwMode="auto">
                <a:xfrm>
                  <a:off x="-3518" y="1682"/>
                  <a:ext cx="532" cy="3"/>
                </a:xfrm>
                <a:custGeom>
                  <a:avLst/>
                  <a:gdLst>
                    <a:gd name="T0" fmla="*/ 12 w 224"/>
                    <a:gd name="T1" fmla="*/ 3 h 1"/>
                    <a:gd name="T2" fmla="*/ 12 w 224"/>
                    <a:gd name="T3" fmla="*/ 3 h 1"/>
                    <a:gd name="T4" fmla="*/ 12 w 224"/>
                    <a:gd name="T5" fmla="*/ 3 h 1"/>
                    <a:gd name="T6" fmla="*/ 12 w 224"/>
                    <a:gd name="T7" fmla="*/ 3 h 1"/>
                    <a:gd name="T8" fmla="*/ 7 w 224"/>
                    <a:gd name="T9" fmla="*/ 0 h 1"/>
                    <a:gd name="T10" fmla="*/ 0 w 224"/>
                    <a:gd name="T11" fmla="*/ 0 h 1"/>
                    <a:gd name="T12" fmla="*/ 0 w 224"/>
                    <a:gd name="T13" fmla="*/ 3 h 1"/>
                    <a:gd name="T14" fmla="*/ 5 w 224"/>
                    <a:gd name="T15" fmla="*/ 3 h 1"/>
                    <a:gd name="T16" fmla="*/ 7 w 224"/>
                    <a:gd name="T17" fmla="*/ 0 h 1"/>
                    <a:gd name="T18" fmla="*/ 209 w 224"/>
                    <a:gd name="T19" fmla="*/ 0 h 1"/>
                    <a:gd name="T20" fmla="*/ 209 w 224"/>
                    <a:gd name="T21" fmla="*/ 0 h 1"/>
                    <a:gd name="T22" fmla="*/ 209 w 224"/>
                    <a:gd name="T23" fmla="*/ 3 h 1"/>
                    <a:gd name="T24" fmla="*/ 209 w 224"/>
                    <a:gd name="T25" fmla="*/ 3 h 1"/>
                    <a:gd name="T26" fmla="*/ 209 w 224"/>
                    <a:gd name="T27" fmla="*/ 0 h 1"/>
                    <a:gd name="T28" fmla="*/ 532 w 224"/>
                    <a:gd name="T29" fmla="*/ 0 h 1"/>
                    <a:gd name="T30" fmla="*/ 530 w 224"/>
                    <a:gd name="T31" fmla="*/ 0 h 1"/>
                    <a:gd name="T32" fmla="*/ 532 w 224"/>
                    <a:gd name="T33" fmla="*/ 3 h 1"/>
                    <a:gd name="T34" fmla="*/ 532 w 224"/>
                    <a:gd name="T35" fmla="*/ 0 h 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1" name="Freeform 12"/>
                <p:cNvSpPr>
                  <a:spLocks/>
                </p:cNvSpPr>
                <p:nvPr/>
              </p:nvSpPr>
              <p:spPr bwMode="auto">
                <a:xfrm>
                  <a:off x="-1233" y="1987"/>
                  <a:ext cx="130" cy="270"/>
                </a:xfrm>
                <a:custGeom>
                  <a:avLst/>
                  <a:gdLst>
                    <a:gd name="T0" fmla="*/ 5 w 56"/>
                    <a:gd name="T1" fmla="*/ 0 h 114"/>
                    <a:gd name="T2" fmla="*/ 0 w 56"/>
                    <a:gd name="T3" fmla="*/ 0 h 114"/>
                    <a:gd name="T4" fmla="*/ 111 w 56"/>
                    <a:gd name="T5" fmla="*/ 237 h 114"/>
                    <a:gd name="T6" fmla="*/ 111 w 56"/>
                    <a:gd name="T7" fmla="*/ 237 h 114"/>
                    <a:gd name="T8" fmla="*/ 111 w 56"/>
                    <a:gd name="T9" fmla="*/ 237 h 114"/>
                    <a:gd name="T10" fmla="*/ 114 w 56"/>
                    <a:gd name="T11" fmla="*/ 244 h 114"/>
                    <a:gd name="T12" fmla="*/ 125 w 56"/>
                    <a:gd name="T13" fmla="*/ 270 h 114"/>
                    <a:gd name="T14" fmla="*/ 130 w 56"/>
                    <a:gd name="T15" fmla="*/ 270 h 114"/>
                    <a:gd name="T16" fmla="*/ 118 w 56"/>
                    <a:gd name="T17" fmla="*/ 239 h 114"/>
                    <a:gd name="T18" fmla="*/ 114 w 56"/>
                    <a:gd name="T19" fmla="*/ 239 h 114"/>
                    <a:gd name="T20" fmla="*/ 114 w 56"/>
                    <a:gd name="T21" fmla="*/ 237 h 114"/>
                    <a:gd name="T22" fmla="*/ 116 w 56"/>
                    <a:gd name="T23" fmla="*/ 237 h 114"/>
                    <a:gd name="T24" fmla="*/ 116 w 56"/>
                    <a:gd name="T25" fmla="*/ 234 h 114"/>
                    <a:gd name="T26" fmla="*/ 116 w 56"/>
                    <a:gd name="T27" fmla="*/ 234 h 114"/>
                    <a:gd name="T28" fmla="*/ 5 w 56"/>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2" name="Freeform 13"/>
                <p:cNvSpPr>
                  <a:spLocks/>
                </p:cNvSpPr>
                <p:nvPr/>
              </p:nvSpPr>
              <p:spPr bwMode="auto">
                <a:xfrm>
                  <a:off x="-1116" y="2222"/>
                  <a:ext cx="5" cy="3"/>
                </a:xfrm>
                <a:custGeom>
                  <a:avLst/>
                  <a:gdLst>
                    <a:gd name="T0" fmla="*/ 3 w 2"/>
                    <a:gd name="T1" fmla="*/ 0 h 1"/>
                    <a:gd name="T2" fmla="*/ 0 w 2"/>
                    <a:gd name="T3" fmla="*/ 0 h 1"/>
                    <a:gd name="T4" fmla="*/ 0 w 2"/>
                    <a:gd name="T5" fmla="*/ 3 h 1"/>
                    <a:gd name="T6" fmla="*/ 5 w 2"/>
                    <a:gd name="T7" fmla="*/ 3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3" name="Freeform 14"/>
                <p:cNvSpPr>
                  <a:spLocks noEditPoints="1"/>
                </p:cNvSpPr>
                <p:nvPr/>
              </p:nvSpPr>
              <p:spPr bwMode="auto">
                <a:xfrm>
                  <a:off x="-1104" y="2260"/>
                  <a:ext cx="171" cy="1016"/>
                </a:xfrm>
                <a:custGeom>
                  <a:avLst/>
                  <a:gdLst>
                    <a:gd name="T0" fmla="*/ 131 w 72"/>
                    <a:gd name="T1" fmla="*/ 812 h 429"/>
                    <a:gd name="T2" fmla="*/ 126 w 72"/>
                    <a:gd name="T3" fmla="*/ 812 h 429"/>
                    <a:gd name="T4" fmla="*/ 126 w 72"/>
                    <a:gd name="T5" fmla="*/ 812 h 429"/>
                    <a:gd name="T6" fmla="*/ 147 w 72"/>
                    <a:gd name="T7" fmla="*/ 933 h 429"/>
                    <a:gd name="T8" fmla="*/ 166 w 72"/>
                    <a:gd name="T9" fmla="*/ 1016 h 429"/>
                    <a:gd name="T10" fmla="*/ 171 w 72"/>
                    <a:gd name="T11" fmla="*/ 1016 h 429"/>
                    <a:gd name="T12" fmla="*/ 143 w 72"/>
                    <a:gd name="T13" fmla="*/ 886 h 429"/>
                    <a:gd name="T14" fmla="*/ 135 w 72"/>
                    <a:gd name="T15" fmla="*/ 834 h 429"/>
                    <a:gd name="T16" fmla="*/ 131 w 72"/>
                    <a:gd name="T17" fmla="*/ 812 h 429"/>
                    <a:gd name="T18" fmla="*/ 81 w 72"/>
                    <a:gd name="T19" fmla="*/ 604 h 429"/>
                    <a:gd name="T20" fmla="*/ 76 w 72"/>
                    <a:gd name="T21" fmla="*/ 604 h 429"/>
                    <a:gd name="T22" fmla="*/ 93 w 72"/>
                    <a:gd name="T23" fmla="*/ 692 h 429"/>
                    <a:gd name="T24" fmla="*/ 109 w 72"/>
                    <a:gd name="T25" fmla="*/ 767 h 429"/>
                    <a:gd name="T26" fmla="*/ 119 w 72"/>
                    <a:gd name="T27" fmla="*/ 796 h 429"/>
                    <a:gd name="T28" fmla="*/ 124 w 72"/>
                    <a:gd name="T29" fmla="*/ 810 h 429"/>
                    <a:gd name="T30" fmla="*/ 131 w 72"/>
                    <a:gd name="T31" fmla="*/ 810 h 429"/>
                    <a:gd name="T32" fmla="*/ 124 w 72"/>
                    <a:gd name="T33" fmla="*/ 796 h 429"/>
                    <a:gd name="T34" fmla="*/ 95 w 72"/>
                    <a:gd name="T35" fmla="*/ 673 h 429"/>
                    <a:gd name="T36" fmla="*/ 83 w 72"/>
                    <a:gd name="T37" fmla="*/ 613 h 429"/>
                    <a:gd name="T38" fmla="*/ 81 w 72"/>
                    <a:gd name="T39" fmla="*/ 604 h 429"/>
                    <a:gd name="T40" fmla="*/ 76 w 72"/>
                    <a:gd name="T41" fmla="*/ 552 h 429"/>
                    <a:gd name="T42" fmla="*/ 71 w 72"/>
                    <a:gd name="T43" fmla="*/ 552 h 429"/>
                    <a:gd name="T44" fmla="*/ 74 w 72"/>
                    <a:gd name="T45" fmla="*/ 590 h 429"/>
                    <a:gd name="T46" fmla="*/ 74 w 72"/>
                    <a:gd name="T47" fmla="*/ 590 h 429"/>
                    <a:gd name="T48" fmla="*/ 76 w 72"/>
                    <a:gd name="T49" fmla="*/ 602 h 429"/>
                    <a:gd name="T50" fmla="*/ 76 w 72"/>
                    <a:gd name="T51" fmla="*/ 602 h 429"/>
                    <a:gd name="T52" fmla="*/ 81 w 72"/>
                    <a:gd name="T53" fmla="*/ 602 h 429"/>
                    <a:gd name="T54" fmla="*/ 78 w 72"/>
                    <a:gd name="T55" fmla="*/ 590 h 429"/>
                    <a:gd name="T56" fmla="*/ 78 w 72"/>
                    <a:gd name="T57" fmla="*/ 590 h 429"/>
                    <a:gd name="T58" fmla="*/ 76 w 72"/>
                    <a:gd name="T59" fmla="*/ 552 h 429"/>
                    <a:gd name="T60" fmla="*/ 59 w 72"/>
                    <a:gd name="T61" fmla="*/ 242 h 429"/>
                    <a:gd name="T62" fmla="*/ 55 w 72"/>
                    <a:gd name="T63" fmla="*/ 242 h 429"/>
                    <a:gd name="T64" fmla="*/ 52 w 72"/>
                    <a:gd name="T65" fmla="*/ 265 h 429"/>
                    <a:gd name="T66" fmla="*/ 52 w 72"/>
                    <a:gd name="T67" fmla="*/ 265 h 429"/>
                    <a:gd name="T68" fmla="*/ 71 w 72"/>
                    <a:gd name="T69" fmla="*/ 549 h 429"/>
                    <a:gd name="T70" fmla="*/ 76 w 72"/>
                    <a:gd name="T71" fmla="*/ 549 h 429"/>
                    <a:gd name="T72" fmla="*/ 57 w 72"/>
                    <a:gd name="T73" fmla="*/ 268 h 429"/>
                    <a:gd name="T74" fmla="*/ 59 w 72"/>
                    <a:gd name="T75" fmla="*/ 242 h 429"/>
                    <a:gd name="T76" fmla="*/ 7 w 72"/>
                    <a:gd name="T77" fmla="*/ 0 h 429"/>
                    <a:gd name="T78" fmla="*/ 0 w 72"/>
                    <a:gd name="T79" fmla="*/ 0 h 429"/>
                    <a:gd name="T80" fmla="*/ 55 w 72"/>
                    <a:gd name="T81" fmla="*/ 225 h 429"/>
                    <a:gd name="T82" fmla="*/ 55 w 72"/>
                    <a:gd name="T83" fmla="*/ 239 h 429"/>
                    <a:gd name="T84" fmla="*/ 59 w 72"/>
                    <a:gd name="T85" fmla="*/ 239 h 429"/>
                    <a:gd name="T86" fmla="*/ 59 w 72"/>
                    <a:gd name="T87" fmla="*/ 225 h 429"/>
                    <a:gd name="T88" fmla="*/ 7 w 72"/>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4" name="Freeform 15"/>
                <p:cNvSpPr>
                  <a:spLocks/>
                </p:cNvSpPr>
                <p:nvPr/>
              </p:nvSpPr>
              <p:spPr bwMode="auto">
                <a:xfrm>
                  <a:off x="-981" y="3070"/>
                  <a:ext cx="7" cy="2"/>
                </a:xfrm>
                <a:custGeom>
                  <a:avLst/>
                  <a:gdLst>
                    <a:gd name="T0" fmla="*/ 7 w 3"/>
                    <a:gd name="T1" fmla="*/ 0 h 1"/>
                    <a:gd name="T2" fmla="*/ 0 w 3"/>
                    <a:gd name="T3" fmla="*/ 0 h 1"/>
                    <a:gd name="T4" fmla="*/ 2 w 3"/>
                    <a:gd name="T5" fmla="*/ 2 h 1"/>
                    <a:gd name="T6" fmla="*/ 7 w 3"/>
                    <a:gd name="T7" fmla="*/ 2 h 1"/>
                    <a:gd name="T8" fmla="*/ 7 w 3"/>
                    <a:gd name="T9" fmla="*/ 2 h 1"/>
                    <a:gd name="T10" fmla="*/ 7 w 3"/>
                    <a:gd name="T11" fmla="*/ 2 h 1"/>
                    <a:gd name="T12" fmla="*/ 7 w 3"/>
                    <a:gd name="T13" fmla="*/ 0 h 1"/>
                    <a:gd name="T14" fmla="*/ 7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5" name="Freeform 16"/>
                <p:cNvSpPr>
                  <a:spLocks/>
                </p:cNvSpPr>
                <p:nvPr/>
              </p:nvSpPr>
              <p:spPr bwMode="auto">
                <a:xfrm>
                  <a:off x="-1029" y="2861"/>
                  <a:ext cx="5" cy="3"/>
                </a:xfrm>
                <a:custGeom>
                  <a:avLst/>
                  <a:gdLst>
                    <a:gd name="T0" fmla="*/ 5 w 2"/>
                    <a:gd name="T1" fmla="*/ 0 h 1"/>
                    <a:gd name="T2" fmla="*/ 0 w 2"/>
                    <a:gd name="T3" fmla="*/ 0 h 1"/>
                    <a:gd name="T4" fmla="*/ 0 w 2"/>
                    <a:gd name="T5" fmla="*/ 0 h 1"/>
                    <a:gd name="T6" fmla="*/ 0 w 2"/>
                    <a:gd name="T7" fmla="*/ 3 h 1"/>
                    <a:gd name="T8" fmla="*/ 5 w 2"/>
                    <a:gd name="T9" fmla="*/ 3 h 1"/>
                    <a:gd name="T10" fmla="*/ 5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6" name="Freeform 17"/>
                <p:cNvSpPr>
                  <a:spLocks noEditPoints="1"/>
                </p:cNvSpPr>
                <p:nvPr/>
              </p:nvSpPr>
              <p:spPr bwMode="auto">
                <a:xfrm>
                  <a:off x="-1750" y="1524"/>
                  <a:ext cx="843" cy="1831"/>
                </a:xfrm>
                <a:custGeom>
                  <a:avLst/>
                  <a:gdLst>
                    <a:gd name="T0" fmla="*/ 817 w 356"/>
                    <a:gd name="T1" fmla="*/ 1755 h 772"/>
                    <a:gd name="T2" fmla="*/ 812 w 356"/>
                    <a:gd name="T3" fmla="*/ 1755 h 772"/>
                    <a:gd name="T4" fmla="*/ 815 w 356"/>
                    <a:gd name="T5" fmla="*/ 1765 h 772"/>
                    <a:gd name="T6" fmla="*/ 838 w 356"/>
                    <a:gd name="T7" fmla="*/ 1831 h 772"/>
                    <a:gd name="T8" fmla="*/ 841 w 356"/>
                    <a:gd name="T9" fmla="*/ 1831 h 772"/>
                    <a:gd name="T10" fmla="*/ 843 w 356"/>
                    <a:gd name="T11" fmla="*/ 1831 h 772"/>
                    <a:gd name="T12" fmla="*/ 843 w 356"/>
                    <a:gd name="T13" fmla="*/ 1829 h 772"/>
                    <a:gd name="T14" fmla="*/ 819 w 356"/>
                    <a:gd name="T15" fmla="*/ 1765 h 772"/>
                    <a:gd name="T16" fmla="*/ 817 w 356"/>
                    <a:gd name="T17" fmla="*/ 1755 h 772"/>
                    <a:gd name="T18" fmla="*/ 343 w 356"/>
                    <a:gd name="T19" fmla="*/ 232 h 772"/>
                    <a:gd name="T20" fmla="*/ 336 w 356"/>
                    <a:gd name="T21" fmla="*/ 232 h 772"/>
                    <a:gd name="T22" fmla="*/ 519 w 356"/>
                    <a:gd name="T23" fmla="*/ 460 h 772"/>
                    <a:gd name="T24" fmla="*/ 523 w 356"/>
                    <a:gd name="T25" fmla="*/ 460 h 772"/>
                    <a:gd name="T26" fmla="*/ 343 w 356"/>
                    <a:gd name="T27" fmla="*/ 232 h 772"/>
                    <a:gd name="T28" fmla="*/ 260 w 356"/>
                    <a:gd name="T29" fmla="*/ 159 h 772"/>
                    <a:gd name="T30" fmla="*/ 253 w 356"/>
                    <a:gd name="T31" fmla="*/ 159 h 772"/>
                    <a:gd name="T32" fmla="*/ 334 w 356"/>
                    <a:gd name="T33" fmla="*/ 230 h 772"/>
                    <a:gd name="T34" fmla="*/ 341 w 356"/>
                    <a:gd name="T35" fmla="*/ 230 h 772"/>
                    <a:gd name="T36" fmla="*/ 260 w 356"/>
                    <a:gd name="T37" fmla="*/ 159 h 772"/>
                    <a:gd name="T38" fmla="*/ 5 w 356"/>
                    <a:gd name="T39" fmla="*/ 0 h 772"/>
                    <a:gd name="T40" fmla="*/ 0 w 356"/>
                    <a:gd name="T41" fmla="*/ 0 h 772"/>
                    <a:gd name="T42" fmla="*/ 0 w 356"/>
                    <a:gd name="T43" fmla="*/ 2 h 772"/>
                    <a:gd name="T44" fmla="*/ 0 w 356"/>
                    <a:gd name="T45" fmla="*/ 2 h 772"/>
                    <a:gd name="T46" fmla="*/ 5 w 356"/>
                    <a:gd name="T47" fmla="*/ 5 h 772"/>
                    <a:gd name="T48" fmla="*/ 251 w 356"/>
                    <a:gd name="T49" fmla="*/ 157 h 772"/>
                    <a:gd name="T50" fmla="*/ 258 w 356"/>
                    <a:gd name="T51" fmla="*/ 157 h 772"/>
                    <a:gd name="T52" fmla="*/ 5 w 356"/>
                    <a:gd name="T53" fmla="*/ 0 h 77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7" name="Freeform 18"/>
                <p:cNvSpPr>
                  <a:spLocks/>
                </p:cNvSpPr>
                <p:nvPr/>
              </p:nvSpPr>
              <p:spPr bwMode="auto">
                <a:xfrm>
                  <a:off x="-1417" y="1754"/>
                  <a:ext cx="10" cy="2"/>
                </a:xfrm>
                <a:custGeom>
                  <a:avLst/>
                  <a:gdLst>
                    <a:gd name="T0" fmla="*/ 8 w 4"/>
                    <a:gd name="T1" fmla="*/ 0 h 1"/>
                    <a:gd name="T2" fmla="*/ 0 w 4"/>
                    <a:gd name="T3" fmla="*/ 0 h 1"/>
                    <a:gd name="T4" fmla="*/ 3 w 4"/>
                    <a:gd name="T5" fmla="*/ 2 h 1"/>
                    <a:gd name="T6" fmla="*/ 10 w 4"/>
                    <a:gd name="T7" fmla="*/ 2 h 1"/>
                    <a:gd name="T8" fmla="*/ 8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8" name="Freeform 19"/>
                <p:cNvSpPr>
                  <a:spLocks/>
                </p:cNvSpPr>
                <p:nvPr/>
              </p:nvSpPr>
              <p:spPr bwMode="auto">
                <a:xfrm>
                  <a:off x="-1499" y="1682"/>
                  <a:ext cx="8" cy="3"/>
                </a:xfrm>
                <a:custGeom>
                  <a:avLst/>
                  <a:gdLst>
                    <a:gd name="T0" fmla="*/ 6 w 4"/>
                    <a:gd name="T1" fmla="*/ 0 h 1"/>
                    <a:gd name="T2" fmla="*/ 0 w 4"/>
                    <a:gd name="T3" fmla="*/ 0 h 1"/>
                    <a:gd name="T4" fmla="*/ 2 w 4"/>
                    <a:gd name="T5" fmla="*/ 3 h 1"/>
                    <a:gd name="T6" fmla="*/ 8 w 4"/>
                    <a:gd name="T7" fmla="*/ 3 h 1"/>
                    <a:gd name="T8" fmla="*/ 6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9" name="Freeform 20"/>
                <p:cNvSpPr>
                  <a:spLocks noEditPoints="1"/>
                </p:cNvSpPr>
                <p:nvPr/>
              </p:nvSpPr>
              <p:spPr bwMode="auto">
                <a:xfrm>
                  <a:off x="-2619" y="2810"/>
                  <a:ext cx="179" cy="3"/>
                </a:xfrm>
                <a:custGeom>
                  <a:avLst/>
                  <a:gdLst>
                    <a:gd name="T0" fmla="*/ 179 w 178"/>
                    <a:gd name="T1" fmla="*/ 3 h 2"/>
                    <a:gd name="T2" fmla="*/ 179 w 178"/>
                    <a:gd name="T3" fmla="*/ 0 h 2"/>
                    <a:gd name="T4" fmla="*/ 179 w 178"/>
                    <a:gd name="T5" fmla="*/ 3 h 2"/>
                    <a:gd name="T6" fmla="*/ 0 w 178"/>
                    <a:gd name="T7" fmla="*/ 0 h 2"/>
                    <a:gd name="T8" fmla="*/ 0 w 178"/>
                    <a:gd name="T9" fmla="*/ 3 h 2"/>
                    <a:gd name="T10" fmla="*/ 0 w 178"/>
                    <a:gd name="T11" fmla="*/ 3 h 2"/>
                    <a:gd name="T12" fmla="*/ 0 w 178"/>
                    <a:gd name="T13" fmla="*/ 3 h 2"/>
                    <a:gd name="T14" fmla="*/ 0 w 178"/>
                    <a:gd name="T15" fmla="*/ 0 h 2"/>
                    <a:gd name="T16" fmla="*/ 179 w 178"/>
                    <a:gd name="T17" fmla="*/ 0 h 2"/>
                    <a:gd name="T18" fmla="*/ 179 w 178"/>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
                      <a:moveTo>
                        <a:pt x="178" y="2"/>
                      </a:moveTo>
                      <a:lnTo>
                        <a:pt x="178" y="0"/>
                      </a:lnTo>
                      <a:lnTo>
                        <a:pt x="178" y="2"/>
                      </a:lnTo>
                      <a:close/>
                      <a:moveTo>
                        <a:pt x="0" y="0"/>
                      </a:moveTo>
                      <a:lnTo>
                        <a:pt x="0" y="2"/>
                      </a:lnTo>
                      <a:lnTo>
                        <a:pt x="0" y="0"/>
                      </a:lnTo>
                      <a:close/>
                      <a:moveTo>
                        <a:pt x="178" y="0"/>
                      </a:move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0" name="Freeform 21"/>
                <p:cNvSpPr>
                  <a:spLocks noEditPoints="1"/>
                </p:cNvSpPr>
                <p:nvPr/>
              </p:nvSpPr>
              <p:spPr bwMode="auto">
                <a:xfrm>
                  <a:off x="-2619" y="2810"/>
                  <a:ext cx="179" cy="3"/>
                </a:xfrm>
                <a:custGeom>
                  <a:avLst/>
                  <a:gdLst>
                    <a:gd name="T0" fmla="*/ 179 w 178"/>
                    <a:gd name="T1" fmla="*/ 3 h 2"/>
                    <a:gd name="T2" fmla="*/ 179 w 178"/>
                    <a:gd name="T3" fmla="*/ 0 h 2"/>
                    <a:gd name="T4" fmla="*/ 0 w 178"/>
                    <a:gd name="T5" fmla="*/ 0 h 2"/>
                    <a:gd name="T6" fmla="*/ 0 w 178"/>
                    <a:gd name="T7" fmla="*/ 3 h 2"/>
                    <a:gd name="T8" fmla="*/ 0 w 178"/>
                    <a:gd name="T9" fmla="*/ 3 h 2"/>
                    <a:gd name="T10" fmla="*/ 0 w 178"/>
                    <a:gd name="T11" fmla="*/ 3 h 2"/>
                    <a:gd name="T12" fmla="*/ 179 w 178"/>
                    <a:gd name="T13" fmla="*/ 0 h 2"/>
                    <a:gd name="T14" fmla="*/ 179 w 178"/>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2">
                      <a:moveTo>
                        <a:pt x="178" y="2"/>
                      </a:moveTo>
                      <a:lnTo>
                        <a:pt x="178" y="0"/>
                      </a:lnTo>
                      <a:moveTo>
                        <a:pt x="0" y="0"/>
                      </a:moveTo>
                      <a:lnTo>
                        <a:pt x="0" y="2"/>
                      </a:lnTo>
                      <a:moveTo>
                        <a:pt x="178" y="0"/>
                      </a:move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1" name="Freeform 22"/>
                <p:cNvSpPr>
                  <a:spLocks/>
                </p:cNvSpPr>
                <p:nvPr/>
              </p:nvSpPr>
              <p:spPr bwMode="auto">
                <a:xfrm>
                  <a:off x="-1034" y="2810"/>
                  <a:ext cx="5" cy="3"/>
                </a:xfrm>
                <a:custGeom>
                  <a:avLst/>
                  <a:gdLst>
                    <a:gd name="T0" fmla="*/ 5 w 5"/>
                    <a:gd name="T1" fmla="*/ 0 h 2"/>
                    <a:gd name="T2" fmla="*/ 0 w 5"/>
                    <a:gd name="T3" fmla="*/ 0 h 2"/>
                    <a:gd name="T4" fmla="*/ 0 w 5"/>
                    <a:gd name="T5" fmla="*/ 3 h 2"/>
                    <a:gd name="T6" fmla="*/ 5 w 5"/>
                    <a:gd name="T7" fmla="*/ 3 h 2"/>
                    <a:gd name="T8" fmla="*/ 5 w 5"/>
                    <a:gd name="T9" fmla="*/ 0 h 2"/>
                    <a:gd name="T10" fmla="*/ 5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5"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2" name="Freeform 23"/>
                <p:cNvSpPr>
                  <a:spLocks/>
                </p:cNvSpPr>
                <p:nvPr/>
              </p:nvSpPr>
              <p:spPr bwMode="auto">
                <a:xfrm>
                  <a:off x="-940" y="3276"/>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3" name="Freeform 24"/>
                <p:cNvSpPr>
                  <a:spLocks noEditPoints="1"/>
                </p:cNvSpPr>
                <p:nvPr/>
              </p:nvSpPr>
              <p:spPr bwMode="auto">
                <a:xfrm>
                  <a:off x="-3885" y="3352"/>
                  <a:ext cx="393" cy="0"/>
                </a:xfrm>
                <a:custGeom>
                  <a:avLst/>
                  <a:gdLst>
                    <a:gd name="T0" fmla="*/ 0 w 167"/>
                    <a:gd name="T1" fmla="*/ 0 w 167"/>
                    <a:gd name="T2" fmla="*/ 9 w 167"/>
                    <a:gd name="T3" fmla="*/ 35 w 167"/>
                    <a:gd name="T4" fmla="*/ 24 w 167"/>
                    <a:gd name="T5" fmla="*/ 35 w 167"/>
                    <a:gd name="T6" fmla="*/ 47 w 167"/>
                    <a:gd name="T7" fmla="*/ 59 w 167"/>
                    <a:gd name="T8" fmla="*/ 85 w 167"/>
                    <a:gd name="T9" fmla="*/ 71 w 167"/>
                    <a:gd name="T10" fmla="*/ 85 w 167"/>
                    <a:gd name="T11" fmla="*/ 101 w 167"/>
                    <a:gd name="T12" fmla="*/ 108 w 167"/>
                    <a:gd name="T13" fmla="*/ 132 w 167"/>
                    <a:gd name="T14" fmla="*/ 120 w 167"/>
                    <a:gd name="T15" fmla="*/ 132 w 167"/>
                    <a:gd name="T16" fmla="*/ 146 w 167"/>
                    <a:gd name="T17" fmla="*/ 158 w 167"/>
                    <a:gd name="T18" fmla="*/ 181 w 167"/>
                    <a:gd name="T19" fmla="*/ 169 w 167"/>
                    <a:gd name="T20" fmla="*/ 181 w 167"/>
                    <a:gd name="T21" fmla="*/ 193 w 167"/>
                    <a:gd name="T22" fmla="*/ 198 w 167"/>
                    <a:gd name="T23" fmla="*/ 207 w 167"/>
                    <a:gd name="T24" fmla="*/ 202 w 167"/>
                    <a:gd name="T25" fmla="*/ 207 w 167"/>
                    <a:gd name="T26" fmla="*/ 219 w 167"/>
                    <a:gd name="T27" fmla="*/ 231 w 167"/>
                    <a:gd name="T28" fmla="*/ 254 w 167"/>
                    <a:gd name="T29" fmla="*/ 242 w 167"/>
                    <a:gd name="T30" fmla="*/ 254 w 167"/>
                    <a:gd name="T31" fmla="*/ 268 w 167"/>
                    <a:gd name="T32" fmla="*/ 280 w 167"/>
                    <a:gd name="T33" fmla="*/ 297 w 167"/>
                    <a:gd name="T34" fmla="*/ 292 w 167"/>
                    <a:gd name="T35" fmla="*/ 297 w 167"/>
                    <a:gd name="T36" fmla="*/ 301 w 167"/>
                    <a:gd name="T37" fmla="*/ 304 w 167"/>
                    <a:gd name="T38" fmla="*/ 329 w 167"/>
                    <a:gd name="T39" fmla="*/ 315 w 167"/>
                    <a:gd name="T40" fmla="*/ 329 w 167"/>
                    <a:gd name="T41" fmla="*/ 341 w 167"/>
                    <a:gd name="T42" fmla="*/ 353 w 167"/>
                    <a:gd name="T43" fmla="*/ 377 w 167"/>
                    <a:gd name="T44" fmla="*/ 365 w 167"/>
                    <a:gd name="T45" fmla="*/ 377 w 167"/>
                    <a:gd name="T46" fmla="*/ 391 w 167"/>
                    <a:gd name="T47" fmla="*/ 393 w 1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48">
                      <a:pos x="T0" y="0"/>
                    </a:cxn>
                    <a:cxn ang="T49">
                      <a:pos x="T1" y="0"/>
                    </a:cxn>
                    <a:cxn ang="T50">
                      <a:pos x="T2" y="0"/>
                    </a:cxn>
                    <a:cxn ang="T51">
                      <a:pos x="T3" y="0"/>
                    </a:cxn>
                    <a:cxn ang="T52">
                      <a:pos x="T4" y="0"/>
                    </a:cxn>
                    <a:cxn ang="T53">
                      <a:pos x="T5" y="0"/>
                    </a:cxn>
                    <a:cxn ang="T54">
                      <a:pos x="T6" y="0"/>
                    </a:cxn>
                    <a:cxn ang="T55">
                      <a:pos x="T7" y="0"/>
                    </a:cxn>
                    <a:cxn ang="T56">
                      <a:pos x="T8" y="0"/>
                    </a:cxn>
                    <a:cxn ang="T57">
                      <a:pos x="T9" y="0"/>
                    </a:cxn>
                    <a:cxn ang="T58">
                      <a:pos x="T10" y="0"/>
                    </a:cxn>
                    <a:cxn ang="T59">
                      <a:pos x="T11" y="0"/>
                    </a:cxn>
                    <a:cxn ang="T60">
                      <a:pos x="T12" y="0"/>
                    </a:cxn>
                    <a:cxn ang="T61">
                      <a:pos x="T13" y="0"/>
                    </a:cxn>
                    <a:cxn ang="T62">
                      <a:pos x="T14" y="0"/>
                    </a:cxn>
                    <a:cxn ang="T63">
                      <a:pos x="T15" y="0"/>
                    </a:cxn>
                    <a:cxn ang="T64">
                      <a:pos x="T16" y="0"/>
                    </a:cxn>
                    <a:cxn ang="T65">
                      <a:pos x="T17" y="0"/>
                    </a:cxn>
                    <a:cxn ang="T66">
                      <a:pos x="T18" y="0"/>
                    </a:cxn>
                    <a:cxn ang="T67">
                      <a:pos x="T19" y="0"/>
                    </a:cxn>
                    <a:cxn ang="T68">
                      <a:pos x="T20" y="0"/>
                    </a:cxn>
                    <a:cxn ang="T69">
                      <a:pos x="T21" y="0"/>
                    </a:cxn>
                    <a:cxn ang="T70">
                      <a:pos x="T22" y="0"/>
                    </a:cxn>
                    <a:cxn ang="T71">
                      <a:pos x="T23" y="0"/>
                    </a:cxn>
                    <a:cxn ang="T72">
                      <a:pos x="T24" y="0"/>
                    </a:cxn>
                    <a:cxn ang="T73">
                      <a:pos x="T25" y="0"/>
                    </a:cxn>
                    <a:cxn ang="T74">
                      <a:pos x="T26" y="0"/>
                    </a:cxn>
                    <a:cxn ang="T75">
                      <a:pos x="T27" y="0"/>
                    </a:cxn>
                    <a:cxn ang="T76">
                      <a:pos x="T28" y="0"/>
                    </a:cxn>
                    <a:cxn ang="T77">
                      <a:pos x="T29" y="0"/>
                    </a:cxn>
                    <a:cxn ang="T78">
                      <a:pos x="T30" y="0"/>
                    </a:cxn>
                    <a:cxn ang="T79">
                      <a:pos x="T31" y="0"/>
                    </a:cxn>
                    <a:cxn ang="T80">
                      <a:pos x="T32" y="0"/>
                    </a:cxn>
                    <a:cxn ang="T81">
                      <a:pos x="T33" y="0"/>
                    </a:cxn>
                    <a:cxn ang="T82">
                      <a:pos x="T34" y="0"/>
                    </a:cxn>
                    <a:cxn ang="T83">
                      <a:pos x="T35" y="0"/>
                    </a:cxn>
                    <a:cxn ang="T84">
                      <a:pos x="T36" y="0"/>
                    </a:cxn>
                    <a:cxn ang="T85">
                      <a:pos x="T37" y="0"/>
                    </a:cxn>
                    <a:cxn ang="T86">
                      <a:pos x="T38" y="0"/>
                    </a:cxn>
                    <a:cxn ang="T87">
                      <a:pos x="T39" y="0"/>
                    </a:cxn>
                    <a:cxn ang="T88">
                      <a:pos x="T40" y="0"/>
                    </a:cxn>
                    <a:cxn ang="T89">
                      <a:pos x="T41" y="0"/>
                    </a:cxn>
                    <a:cxn ang="T90">
                      <a:pos x="T42" y="0"/>
                    </a:cxn>
                    <a:cxn ang="T91">
                      <a:pos x="T43" y="0"/>
                    </a:cxn>
                    <a:cxn ang="T92">
                      <a:pos x="T44" y="0"/>
                    </a:cxn>
                    <a:cxn ang="T93">
                      <a:pos x="T45" y="0"/>
                    </a:cxn>
                    <a:cxn ang="T94">
                      <a:pos x="T46" y="0"/>
                    </a:cxn>
                    <a:cxn ang="T95">
                      <a:pos x="T4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4" name="Freeform 25"/>
                <p:cNvSpPr>
                  <a:spLocks noEditPoints="1"/>
                </p:cNvSpPr>
                <p:nvPr/>
              </p:nvSpPr>
              <p:spPr bwMode="auto">
                <a:xfrm>
                  <a:off x="-2902" y="3355"/>
                  <a:ext cx="286" cy="2"/>
                </a:xfrm>
                <a:custGeom>
                  <a:avLst/>
                  <a:gdLst>
                    <a:gd name="T0" fmla="*/ 0 w 121"/>
                    <a:gd name="T1" fmla="*/ 0 h 1"/>
                    <a:gd name="T2" fmla="*/ 0 w 121"/>
                    <a:gd name="T3" fmla="*/ 0 h 1"/>
                    <a:gd name="T4" fmla="*/ 0 w 121"/>
                    <a:gd name="T5" fmla="*/ 2 h 1"/>
                    <a:gd name="T6" fmla="*/ 0 w 121"/>
                    <a:gd name="T7" fmla="*/ 2 h 1"/>
                    <a:gd name="T8" fmla="*/ 0 w 121"/>
                    <a:gd name="T9" fmla="*/ 0 h 1"/>
                    <a:gd name="T10" fmla="*/ 286 w 121"/>
                    <a:gd name="T11" fmla="*/ 0 h 1"/>
                    <a:gd name="T12" fmla="*/ 284 w 121"/>
                    <a:gd name="T13" fmla="*/ 0 h 1"/>
                    <a:gd name="T14" fmla="*/ 284 w 121"/>
                    <a:gd name="T15" fmla="*/ 2 h 1"/>
                    <a:gd name="T16" fmla="*/ 284 w 121"/>
                    <a:gd name="T17" fmla="*/ 2 h 1"/>
                    <a:gd name="T18" fmla="*/ 286 w 12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5" name="Freeform 26"/>
                <p:cNvSpPr>
                  <a:spLocks noEditPoints="1"/>
                </p:cNvSpPr>
                <p:nvPr/>
              </p:nvSpPr>
              <p:spPr bwMode="auto">
                <a:xfrm>
                  <a:off x="-2020" y="3355"/>
                  <a:ext cx="84" cy="2"/>
                </a:xfrm>
                <a:custGeom>
                  <a:avLst/>
                  <a:gdLst>
                    <a:gd name="T0" fmla="*/ 0 w 36"/>
                    <a:gd name="T1" fmla="*/ 0 h 1"/>
                    <a:gd name="T2" fmla="*/ 0 w 36"/>
                    <a:gd name="T3" fmla="*/ 0 h 1"/>
                    <a:gd name="T4" fmla="*/ 0 w 36"/>
                    <a:gd name="T5" fmla="*/ 2 h 1"/>
                    <a:gd name="T6" fmla="*/ 0 w 36"/>
                    <a:gd name="T7" fmla="*/ 2 h 1"/>
                    <a:gd name="T8" fmla="*/ 0 w 36"/>
                    <a:gd name="T9" fmla="*/ 0 h 1"/>
                    <a:gd name="T10" fmla="*/ 84 w 36"/>
                    <a:gd name="T11" fmla="*/ 0 h 1"/>
                    <a:gd name="T12" fmla="*/ 84 w 36"/>
                    <a:gd name="T13" fmla="*/ 0 h 1"/>
                    <a:gd name="T14" fmla="*/ 84 w 36"/>
                    <a:gd name="T15" fmla="*/ 0 h 1"/>
                    <a:gd name="T16" fmla="*/ 84 w 3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6" name="Freeform 27"/>
                <p:cNvSpPr>
                  <a:spLocks/>
                </p:cNvSpPr>
                <p:nvPr/>
              </p:nvSpPr>
              <p:spPr bwMode="auto">
                <a:xfrm>
                  <a:off x="-912" y="3355"/>
                  <a:ext cx="2" cy="2"/>
                </a:xfrm>
                <a:custGeom>
                  <a:avLst/>
                  <a:gdLst>
                    <a:gd name="T0" fmla="*/ 2 w 1"/>
                    <a:gd name="T1" fmla="*/ 0 h 1"/>
                    <a:gd name="T2" fmla="*/ 0 w 1"/>
                    <a:gd name="T3" fmla="*/ 0 h 1"/>
                    <a:gd name="T4" fmla="*/ 0 w 1"/>
                    <a:gd name="T5" fmla="*/ 2 h 1"/>
                    <a:gd name="T6" fmla="*/ 2 w 1"/>
                    <a:gd name="T7" fmla="*/ 2 h 1"/>
                    <a:gd name="T8" fmla="*/ 2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7" name="Freeform 28"/>
                <p:cNvSpPr>
                  <a:spLocks/>
                </p:cNvSpPr>
                <p:nvPr/>
              </p:nvSpPr>
              <p:spPr bwMode="auto">
                <a:xfrm>
                  <a:off x="-810" y="3357"/>
                  <a:ext cx="3" cy="0"/>
                </a:xfrm>
                <a:custGeom>
                  <a:avLst/>
                  <a:gdLst>
                    <a:gd name="T0" fmla="*/ 3 w 1"/>
                    <a:gd name="T1" fmla="*/ 0 w 1"/>
                    <a:gd name="T2" fmla="*/ 3 w 1"/>
                    <a:gd name="T3" fmla="*/ 3 w 1"/>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8" name="Freeform 29"/>
                <p:cNvSpPr>
                  <a:spLocks/>
                </p:cNvSpPr>
                <p:nvPr/>
              </p:nvSpPr>
              <p:spPr bwMode="auto">
                <a:xfrm>
                  <a:off x="-1050"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9" name="Freeform 30"/>
                <p:cNvSpPr>
                  <a:spLocks/>
                </p:cNvSpPr>
                <p:nvPr/>
              </p:nvSpPr>
              <p:spPr bwMode="auto">
                <a:xfrm>
                  <a:off x="-1104" y="2256"/>
                  <a:ext cx="7" cy="3"/>
                </a:xfrm>
                <a:custGeom>
                  <a:avLst/>
                  <a:gdLst>
                    <a:gd name="T0" fmla="*/ 5 w 3"/>
                    <a:gd name="T1" fmla="*/ 0 h 1"/>
                    <a:gd name="T2" fmla="*/ 0 w 3"/>
                    <a:gd name="T3" fmla="*/ 0 h 1"/>
                    <a:gd name="T4" fmla="*/ 0 w 3"/>
                    <a:gd name="T5" fmla="*/ 3 h 1"/>
                    <a:gd name="T6" fmla="*/ 7 w 3"/>
                    <a:gd name="T7" fmla="*/ 3 h 1"/>
                    <a:gd name="T8" fmla="*/ 5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0" name="Freeform 31"/>
                <p:cNvSpPr>
                  <a:spLocks/>
                </p:cNvSpPr>
                <p:nvPr/>
              </p:nvSpPr>
              <p:spPr bwMode="auto">
                <a:xfrm>
                  <a:off x="-2381" y="1987"/>
                  <a:ext cx="92" cy="270"/>
                </a:xfrm>
                <a:custGeom>
                  <a:avLst/>
                  <a:gdLst>
                    <a:gd name="T0" fmla="*/ 92 w 39"/>
                    <a:gd name="T1" fmla="*/ 0 h 114"/>
                    <a:gd name="T2" fmla="*/ 87 w 39"/>
                    <a:gd name="T3" fmla="*/ 0 h 114"/>
                    <a:gd name="T4" fmla="*/ 83 w 39"/>
                    <a:gd name="T5" fmla="*/ 12 h 114"/>
                    <a:gd name="T6" fmla="*/ 0 w 39"/>
                    <a:gd name="T7" fmla="*/ 270 h 114"/>
                    <a:gd name="T8" fmla="*/ 5 w 39"/>
                    <a:gd name="T9" fmla="*/ 270 h 114"/>
                    <a:gd name="T10" fmla="*/ 12 w 39"/>
                    <a:gd name="T11" fmla="*/ 239 h 114"/>
                    <a:gd name="T12" fmla="*/ 12 w 39"/>
                    <a:gd name="T13" fmla="*/ 239 h 114"/>
                    <a:gd name="T14" fmla="*/ 12 w 39"/>
                    <a:gd name="T15" fmla="*/ 237 h 114"/>
                    <a:gd name="T16" fmla="*/ 14 w 39"/>
                    <a:gd name="T17" fmla="*/ 237 h 114"/>
                    <a:gd name="T18" fmla="*/ 28 w 39"/>
                    <a:gd name="T19" fmla="*/ 182 h 114"/>
                    <a:gd name="T20" fmla="*/ 68 w 39"/>
                    <a:gd name="T21" fmla="*/ 62 h 114"/>
                    <a:gd name="T22" fmla="*/ 83 w 39"/>
                    <a:gd name="T23" fmla="*/ 26 h 114"/>
                    <a:gd name="T24" fmla="*/ 87 w 39"/>
                    <a:gd name="T25" fmla="*/ 14 h 114"/>
                    <a:gd name="T26" fmla="*/ 87 w 39"/>
                    <a:gd name="T27" fmla="*/ 14 h 114"/>
                    <a:gd name="T28" fmla="*/ 87 w 39"/>
                    <a:gd name="T29" fmla="*/ 14 h 114"/>
                    <a:gd name="T30" fmla="*/ 92 w 39"/>
                    <a:gd name="T31" fmla="*/ 0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1" name="Freeform 32"/>
                <p:cNvSpPr>
                  <a:spLocks/>
                </p:cNvSpPr>
                <p:nvPr/>
              </p:nvSpPr>
              <p:spPr bwMode="auto">
                <a:xfrm>
                  <a:off x="-2370" y="2222"/>
                  <a:ext cx="2" cy="3"/>
                </a:xfrm>
                <a:custGeom>
                  <a:avLst/>
                  <a:gdLst>
                    <a:gd name="T0" fmla="*/ 2 w 1"/>
                    <a:gd name="T1" fmla="*/ 0 h 1"/>
                    <a:gd name="T2" fmla="*/ 0 w 1"/>
                    <a:gd name="T3" fmla="*/ 0 h 1"/>
                    <a:gd name="T4" fmla="*/ 0 w 1"/>
                    <a:gd name="T5" fmla="*/ 3 h 1"/>
                    <a:gd name="T6" fmla="*/ 0 w 1"/>
                    <a:gd name="T7" fmla="*/ 3 h 1"/>
                    <a:gd name="T8" fmla="*/ 2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2" name="Freeform 33"/>
                <p:cNvSpPr>
                  <a:spLocks noEditPoints="1"/>
                </p:cNvSpPr>
                <p:nvPr/>
              </p:nvSpPr>
              <p:spPr bwMode="auto">
                <a:xfrm>
                  <a:off x="-2417" y="1522"/>
                  <a:ext cx="416" cy="1054"/>
                </a:xfrm>
                <a:custGeom>
                  <a:avLst/>
                  <a:gdLst>
                    <a:gd name="T0" fmla="*/ 5 w 176"/>
                    <a:gd name="T1" fmla="*/ 978 h 445"/>
                    <a:gd name="T2" fmla="*/ 0 w 176"/>
                    <a:gd name="T3" fmla="*/ 978 h 445"/>
                    <a:gd name="T4" fmla="*/ 0 w 176"/>
                    <a:gd name="T5" fmla="*/ 997 h 445"/>
                    <a:gd name="T6" fmla="*/ 2 w 176"/>
                    <a:gd name="T7" fmla="*/ 1054 h 445"/>
                    <a:gd name="T8" fmla="*/ 2 w 176"/>
                    <a:gd name="T9" fmla="*/ 1054 h 445"/>
                    <a:gd name="T10" fmla="*/ 2 w 176"/>
                    <a:gd name="T11" fmla="*/ 1054 h 445"/>
                    <a:gd name="T12" fmla="*/ 5 w 176"/>
                    <a:gd name="T13" fmla="*/ 1054 h 445"/>
                    <a:gd name="T14" fmla="*/ 7 w 176"/>
                    <a:gd name="T15" fmla="*/ 1054 h 445"/>
                    <a:gd name="T16" fmla="*/ 5 w 176"/>
                    <a:gd name="T17" fmla="*/ 997 h 445"/>
                    <a:gd name="T18" fmla="*/ 5 w 176"/>
                    <a:gd name="T19" fmla="*/ 978 h 445"/>
                    <a:gd name="T20" fmla="*/ 40 w 176"/>
                    <a:gd name="T21" fmla="*/ 737 h 445"/>
                    <a:gd name="T22" fmla="*/ 35 w 176"/>
                    <a:gd name="T23" fmla="*/ 737 h 445"/>
                    <a:gd name="T24" fmla="*/ 0 w 176"/>
                    <a:gd name="T25" fmla="*/ 976 h 445"/>
                    <a:gd name="T26" fmla="*/ 5 w 176"/>
                    <a:gd name="T27" fmla="*/ 976 h 445"/>
                    <a:gd name="T28" fmla="*/ 40 w 176"/>
                    <a:gd name="T29" fmla="*/ 737 h 445"/>
                    <a:gd name="T30" fmla="*/ 210 w 176"/>
                    <a:gd name="T31" fmla="*/ 234 h 445"/>
                    <a:gd name="T32" fmla="*/ 206 w 176"/>
                    <a:gd name="T33" fmla="*/ 234 h 445"/>
                    <a:gd name="T34" fmla="*/ 161 w 176"/>
                    <a:gd name="T35" fmla="*/ 348 h 445"/>
                    <a:gd name="T36" fmla="*/ 123 w 176"/>
                    <a:gd name="T37" fmla="*/ 462 h 445"/>
                    <a:gd name="T38" fmla="*/ 128 w 176"/>
                    <a:gd name="T39" fmla="*/ 462 h 445"/>
                    <a:gd name="T40" fmla="*/ 165 w 176"/>
                    <a:gd name="T41" fmla="*/ 348 h 445"/>
                    <a:gd name="T42" fmla="*/ 210 w 176"/>
                    <a:gd name="T43" fmla="*/ 234 h 445"/>
                    <a:gd name="T44" fmla="*/ 414 w 176"/>
                    <a:gd name="T45" fmla="*/ 0 h 445"/>
                    <a:gd name="T46" fmla="*/ 414 w 176"/>
                    <a:gd name="T47" fmla="*/ 0 h 445"/>
                    <a:gd name="T48" fmla="*/ 208 w 176"/>
                    <a:gd name="T49" fmla="*/ 230 h 445"/>
                    <a:gd name="T50" fmla="*/ 206 w 176"/>
                    <a:gd name="T51" fmla="*/ 232 h 445"/>
                    <a:gd name="T52" fmla="*/ 213 w 176"/>
                    <a:gd name="T53" fmla="*/ 232 h 445"/>
                    <a:gd name="T54" fmla="*/ 213 w 176"/>
                    <a:gd name="T55" fmla="*/ 232 h 445"/>
                    <a:gd name="T56" fmla="*/ 333 w 176"/>
                    <a:gd name="T57" fmla="*/ 69 h 445"/>
                    <a:gd name="T58" fmla="*/ 390 w 176"/>
                    <a:gd name="T59" fmla="*/ 21 h 445"/>
                    <a:gd name="T60" fmla="*/ 409 w 176"/>
                    <a:gd name="T61" fmla="*/ 9 h 445"/>
                    <a:gd name="T62" fmla="*/ 416 w 176"/>
                    <a:gd name="T63" fmla="*/ 5 h 445"/>
                    <a:gd name="T64" fmla="*/ 414 w 176"/>
                    <a:gd name="T65" fmla="*/ 0 h 4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3" name="Freeform 34"/>
                <p:cNvSpPr>
                  <a:spLocks/>
                </p:cNvSpPr>
                <p:nvPr/>
              </p:nvSpPr>
              <p:spPr bwMode="auto">
                <a:xfrm>
                  <a:off x="-2210" y="1754"/>
                  <a:ext cx="7" cy="2"/>
                </a:xfrm>
                <a:custGeom>
                  <a:avLst/>
                  <a:gdLst>
                    <a:gd name="T0" fmla="*/ 7 w 3"/>
                    <a:gd name="T1" fmla="*/ 0 h 1"/>
                    <a:gd name="T2" fmla="*/ 0 w 3"/>
                    <a:gd name="T3" fmla="*/ 0 h 1"/>
                    <a:gd name="T4" fmla="*/ 0 w 3"/>
                    <a:gd name="T5" fmla="*/ 2 h 1"/>
                    <a:gd name="T6" fmla="*/ 5 w 3"/>
                    <a:gd name="T7" fmla="*/ 2 h 1"/>
                    <a:gd name="T8" fmla="*/ 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4" name="Freeform 35"/>
                <p:cNvSpPr>
                  <a:spLocks/>
                </p:cNvSpPr>
                <p:nvPr/>
              </p:nvSpPr>
              <p:spPr bwMode="auto">
                <a:xfrm>
                  <a:off x="-2417"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5" name="Freeform 36"/>
                <p:cNvSpPr>
                  <a:spLocks/>
                </p:cNvSpPr>
                <p:nvPr/>
              </p:nvSpPr>
              <p:spPr bwMode="auto">
                <a:xfrm>
                  <a:off x="-2381" y="2256"/>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6" name="Freeform 37"/>
                <p:cNvSpPr>
                  <a:spLocks noEditPoints="1"/>
                </p:cNvSpPr>
                <p:nvPr/>
              </p:nvSpPr>
              <p:spPr bwMode="auto">
                <a:xfrm>
                  <a:off x="-2202" y="1987"/>
                  <a:ext cx="54" cy="270"/>
                </a:xfrm>
                <a:custGeom>
                  <a:avLst/>
                  <a:gdLst>
                    <a:gd name="T0" fmla="*/ 5 w 23"/>
                    <a:gd name="T1" fmla="*/ 239 h 114"/>
                    <a:gd name="T2" fmla="*/ 0 w 23"/>
                    <a:gd name="T3" fmla="*/ 270 h 114"/>
                    <a:gd name="T4" fmla="*/ 5 w 23"/>
                    <a:gd name="T5" fmla="*/ 270 h 114"/>
                    <a:gd name="T6" fmla="*/ 7 w 23"/>
                    <a:gd name="T7" fmla="*/ 239 h 114"/>
                    <a:gd name="T8" fmla="*/ 5 w 23"/>
                    <a:gd name="T9" fmla="*/ 239 h 114"/>
                    <a:gd name="T10" fmla="*/ 5 w 23"/>
                    <a:gd name="T11" fmla="*/ 239 h 114"/>
                    <a:gd name="T12" fmla="*/ 54 w 23"/>
                    <a:gd name="T13" fmla="*/ 0 h 114"/>
                    <a:gd name="T14" fmla="*/ 47 w 23"/>
                    <a:gd name="T15" fmla="*/ 0 h 114"/>
                    <a:gd name="T16" fmla="*/ 5 w 23"/>
                    <a:gd name="T17" fmla="*/ 237 h 114"/>
                    <a:gd name="T18" fmla="*/ 9 w 23"/>
                    <a:gd name="T19" fmla="*/ 237 h 114"/>
                    <a:gd name="T20" fmla="*/ 54 w 2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7" name="Freeform 38"/>
                <p:cNvSpPr>
                  <a:spLocks/>
                </p:cNvSpPr>
                <p:nvPr/>
              </p:nvSpPr>
              <p:spPr bwMode="auto">
                <a:xfrm>
                  <a:off x="-2197" y="2222"/>
                  <a:ext cx="5" cy="3"/>
                </a:xfrm>
                <a:custGeom>
                  <a:avLst/>
                  <a:gdLst>
                    <a:gd name="T0" fmla="*/ 5 w 2"/>
                    <a:gd name="T1" fmla="*/ 0 h 1"/>
                    <a:gd name="T2" fmla="*/ 0 w 2"/>
                    <a:gd name="T3" fmla="*/ 0 h 1"/>
                    <a:gd name="T4" fmla="*/ 0 w 2"/>
                    <a:gd name="T5" fmla="*/ 3 h 1"/>
                    <a:gd name="T6" fmla="*/ 0 w 2"/>
                    <a:gd name="T7" fmla="*/ 3 h 1"/>
                    <a:gd name="T8" fmla="*/ 3 w 2"/>
                    <a:gd name="T9" fmla="*/ 3 h 1"/>
                    <a:gd name="T10" fmla="*/ 5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8" name="Freeform 39"/>
                <p:cNvSpPr>
                  <a:spLocks noEditPoints="1"/>
                </p:cNvSpPr>
                <p:nvPr/>
              </p:nvSpPr>
              <p:spPr bwMode="auto">
                <a:xfrm>
                  <a:off x="-2223" y="2260"/>
                  <a:ext cx="85" cy="1016"/>
                </a:xfrm>
                <a:custGeom>
                  <a:avLst/>
                  <a:gdLst>
                    <a:gd name="T0" fmla="*/ 57 w 36"/>
                    <a:gd name="T1" fmla="*/ 812 h 429"/>
                    <a:gd name="T2" fmla="*/ 52 w 36"/>
                    <a:gd name="T3" fmla="*/ 812 h 429"/>
                    <a:gd name="T4" fmla="*/ 71 w 36"/>
                    <a:gd name="T5" fmla="*/ 947 h 429"/>
                    <a:gd name="T6" fmla="*/ 80 w 36"/>
                    <a:gd name="T7" fmla="*/ 1016 h 429"/>
                    <a:gd name="T8" fmla="*/ 85 w 36"/>
                    <a:gd name="T9" fmla="*/ 1016 h 429"/>
                    <a:gd name="T10" fmla="*/ 76 w 36"/>
                    <a:gd name="T11" fmla="*/ 947 h 429"/>
                    <a:gd name="T12" fmla="*/ 61 w 36"/>
                    <a:gd name="T13" fmla="*/ 853 h 429"/>
                    <a:gd name="T14" fmla="*/ 57 w 36"/>
                    <a:gd name="T15" fmla="*/ 812 h 429"/>
                    <a:gd name="T16" fmla="*/ 21 w 36"/>
                    <a:gd name="T17" fmla="*/ 604 h 429"/>
                    <a:gd name="T18" fmla="*/ 17 w 36"/>
                    <a:gd name="T19" fmla="*/ 604 h 429"/>
                    <a:gd name="T20" fmla="*/ 52 w 36"/>
                    <a:gd name="T21" fmla="*/ 810 h 429"/>
                    <a:gd name="T22" fmla="*/ 57 w 36"/>
                    <a:gd name="T23" fmla="*/ 810 h 429"/>
                    <a:gd name="T24" fmla="*/ 21 w 36"/>
                    <a:gd name="T25" fmla="*/ 604 h 429"/>
                    <a:gd name="T26" fmla="*/ 17 w 36"/>
                    <a:gd name="T27" fmla="*/ 552 h 429"/>
                    <a:gd name="T28" fmla="*/ 12 w 36"/>
                    <a:gd name="T29" fmla="*/ 552 h 429"/>
                    <a:gd name="T30" fmla="*/ 17 w 36"/>
                    <a:gd name="T31" fmla="*/ 602 h 429"/>
                    <a:gd name="T32" fmla="*/ 21 w 36"/>
                    <a:gd name="T33" fmla="*/ 602 h 429"/>
                    <a:gd name="T34" fmla="*/ 17 w 36"/>
                    <a:gd name="T35" fmla="*/ 552 h 429"/>
                    <a:gd name="T36" fmla="*/ 7 w 36"/>
                    <a:gd name="T37" fmla="*/ 242 h 429"/>
                    <a:gd name="T38" fmla="*/ 2 w 36"/>
                    <a:gd name="T39" fmla="*/ 242 h 429"/>
                    <a:gd name="T40" fmla="*/ 2 w 36"/>
                    <a:gd name="T41" fmla="*/ 265 h 429"/>
                    <a:gd name="T42" fmla="*/ 0 w 36"/>
                    <a:gd name="T43" fmla="*/ 296 h 429"/>
                    <a:gd name="T44" fmla="*/ 12 w 36"/>
                    <a:gd name="T45" fmla="*/ 549 h 429"/>
                    <a:gd name="T46" fmla="*/ 17 w 36"/>
                    <a:gd name="T47" fmla="*/ 549 h 429"/>
                    <a:gd name="T48" fmla="*/ 5 w 36"/>
                    <a:gd name="T49" fmla="*/ 296 h 429"/>
                    <a:gd name="T50" fmla="*/ 7 w 36"/>
                    <a:gd name="T51" fmla="*/ 265 h 429"/>
                    <a:gd name="T52" fmla="*/ 7 w 36"/>
                    <a:gd name="T53" fmla="*/ 242 h 429"/>
                    <a:gd name="T54" fmla="*/ 26 w 36"/>
                    <a:gd name="T55" fmla="*/ 0 h 429"/>
                    <a:gd name="T56" fmla="*/ 21 w 36"/>
                    <a:gd name="T57" fmla="*/ 0 h 429"/>
                    <a:gd name="T58" fmla="*/ 2 w 36"/>
                    <a:gd name="T59" fmla="*/ 239 h 429"/>
                    <a:gd name="T60" fmla="*/ 7 w 36"/>
                    <a:gd name="T61" fmla="*/ 239 h 429"/>
                    <a:gd name="T62" fmla="*/ 26 w 3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9" name="Freeform 40"/>
                <p:cNvSpPr>
                  <a:spLocks/>
                </p:cNvSpPr>
                <p:nvPr/>
              </p:nvSpPr>
              <p:spPr bwMode="auto">
                <a:xfrm>
                  <a:off x="-2171" y="3070"/>
                  <a:ext cx="5" cy="2"/>
                </a:xfrm>
                <a:custGeom>
                  <a:avLst/>
                  <a:gdLst>
                    <a:gd name="T0" fmla="*/ 5 w 2"/>
                    <a:gd name="T1" fmla="*/ 0 h 1"/>
                    <a:gd name="T2" fmla="*/ 0 w 2"/>
                    <a:gd name="T3" fmla="*/ 0 h 1"/>
                    <a:gd name="T4" fmla="*/ 0 w 2"/>
                    <a:gd name="T5" fmla="*/ 2 h 1"/>
                    <a:gd name="T6" fmla="*/ 0 w 2"/>
                    <a:gd name="T7" fmla="*/ 2 h 1"/>
                    <a:gd name="T8" fmla="*/ 0 w 2"/>
                    <a:gd name="T9" fmla="*/ 2 h 1"/>
                    <a:gd name="T10" fmla="*/ 5 w 2"/>
                    <a:gd name="T11" fmla="*/ 2 h 1"/>
                    <a:gd name="T12" fmla="*/ 5 w 2"/>
                    <a:gd name="T13" fmla="*/ 0 h 1"/>
                    <a:gd name="T14" fmla="*/ 5 w 2"/>
                    <a:gd name="T15" fmla="*/ 0 h 1"/>
                    <a:gd name="T16" fmla="*/ 5 w 2"/>
                    <a:gd name="T17" fmla="*/ 0 h 1"/>
                    <a:gd name="T18" fmla="*/ 5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0" name="Freeform 41"/>
                <p:cNvSpPr>
                  <a:spLocks/>
                </p:cNvSpPr>
                <p:nvPr/>
              </p:nvSpPr>
              <p:spPr bwMode="auto">
                <a:xfrm>
                  <a:off x="-2207" y="2861"/>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1" name="Freeform 42"/>
                <p:cNvSpPr>
                  <a:spLocks noEditPoints="1"/>
                </p:cNvSpPr>
                <p:nvPr/>
              </p:nvSpPr>
              <p:spPr bwMode="auto">
                <a:xfrm>
                  <a:off x="-2153" y="1522"/>
                  <a:ext cx="182" cy="1833"/>
                </a:xfrm>
                <a:custGeom>
                  <a:avLst/>
                  <a:gdLst>
                    <a:gd name="T0" fmla="*/ 14 w 77"/>
                    <a:gd name="T1" fmla="*/ 1757 h 773"/>
                    <a:gd name="T2" fmla="*/ 9 w 77"/>
                    <a:gd name="T3" fmla="*/ 1757 h 773"/>
                    <a:gd name="T4" fmla="*/ 24 w 77"/>
                    <a:gd name="T5" fmla="*/ 1833 h 773"/>
                    <a:gd name="T6" fmla="*/ 28 w 77"/>
                    <a:gd name="T7" fmla="*/ 1833 h 773"/>
                    <a:gd name="T8" fmla="*/ 14 w 77"/>
                    <a:gd name="T9" fmla="*/ 1757 h 773"/>
                    <a:gd name="T10" fmla="*/ 54 w 77"/>
                    <a:gd name="T11" fmla="*/ 235 h 773"/>
                    <a:gd name="T12" fmla="*/ 50 w 77"/>
                    <a:gd name="T13" fmla="*/ 235 h 773"/>
                    <a:gd name="T14" fmla="*/ 21 w 77"/>
                    <a:gd name="T15" fmla="*/ 349 h 773"/>
                    <a:gd name="T16" fmla="*/ 0 w 77"/>
                    <a:gd name="T17" fmla="*/ 462 h 773"/>
                    <a:gd name="T18" fmla="*/ 5 w 77"/>
                    <a:gd name="T19" fmla="*/ 462 h 773"/>
                    <a:gd name="T20" fmla="*/ 26 w 77"/>
                    <a:gd name="T21" fmla="*/ 349 h 773"/>
                    <a:gd name="T22" fmla="*/ 54 w 77"/>
                    <a:gd name="T23" fmla="*/ 235 h 773"/>
                    <a:gd name="T24" fmla="*/ 177 w 77"/>
                    <a:gd name="T25" fmla="*/ 0 h 773"/>
                    <a:gd name="T26" fmla="*/ 177 w 77"/>
                    <a:gd name="T27" fmla="*/ 0 h 773"/>
                    <a:gd name="T28" fmla="*/ 52 w 77"/>
                    <a:gd name="T29" fmla="*/ 232 h 773"/>
                    <a:gd name="T30" fmla="*/ 57 w 77"/>
                    <a:gd name="T31" fmla="*/ 232 h 773"/>
                    <a:gd name="T32" fmla="*/ 121 w 77"/>
                    <a:gd name="T33" fmla="*/ 90 h 773"/>
                    <a:gd name="T34" fmla="*/ 163 w 77"/>
                    <a:gd name="T35" fmla="*/ 26 h 773"/>
                    <a:gd name="T36" fmla="*/ 177 w 77"/>
                    <a:gd name="T37" fmla="*/ 9 h 773"/>
                    <a:gd name="T38" fmla="*/ 180 w 77"/>
                    <a:gd name="T39" fmla="*/ 5 h 773"/>
                    <a:gd name="T40" fmla="*/ 182 w 77"/>
                    <a:gd name="T41" fmla="*/ 5 h 773"/>
                    <a:gd name="T42" fmla="*/ 177 w 77"/>
                    <a:gd name="T43" fmla="*/ 0 h 7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2" name="Freeform 43"/>
                <p:cNvSpPr>
                  <a:spLocks/>
                </p:cNvSpPr>
                <p:nvPr/>
              </p:nvSpPr>
              <p:spPr bwMode="auto">
                <a:xfrm>
                  <a:off x="-2103" y="1754"/>
                  <a:ext cx="8" cy="2"/>
                </a:xfrm>
                <a:custGeom>
                  <a:avLst/>
                  <a:gdLst>
                    <a:gd name="T0" fmla="*/ 8 w 3"/>
                    <a:gd name="T1" fmla="*/ 0 h 1"/>
                    <a:gd name="T2" fmla="*/ 3 w 3"/>
                    <a:gd name="T3" fmla="*/ 0 h 1"/>
                    <a:gd name="T4" fmla="*/ 0 w 3"/>
                    <a:gd name="T5" fmla="*/ 2 h 1"/>
                    <a:gd name="T6" fmla="*/ 5 w 3"/>
                    <a:gd name="T7" fmla="*/ 2 h 1"/>
                    <a:gd name="T8" fmla="*/ 8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3" name="Freeform 44"/>
                <p:cNvSpPr>
                  <a:spLocks/>
                </p:cNvSpPr>
                <p:nvPr/>
              </p:nvSpPr>
              <p:spPr bwMode="auto">
                <a:xfrm>
                  <a:off x="-2210" y="2810"/>
                  <a:ext cx="3" cy="3"/>
                </a:xfrm>
                <a:custGeom>
                  <a:avLst/>
                  <a:gdLst>
                    <a:gd name="T0" fmla="*/ 3 w 2"/>
                    <a:gd name="T1" fmla="*/ 0 h 1"/>
                    <a:gd name="T2" fmla="*/ 0 w 2"/>
                    <a:gd name="T3" fmla="*/ 0 h 1"/>
                    <a:gd name="T4" fmla="*/ 0 w 2"/>
                    <a:gd name="T5" fmla="*/ 3 h 1"/>
                    <a:gd name="T6" fmla="*/ 3 w 2"/>
                    <a:gd name="T7" fmla="*/ 3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4" name="Freeform 45"/>
                <p:cNvSpPr>
                  <a:spLocks/>
                </p:cNvSpPr>
                <p:nvPr/>
              </p:nvSpPr>
              <p:spPr bwMode="auto">
                <a:xfrm>
                  <a:off x="-2143" y="3276"/>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5" name="Freeform 46"/>
                <p:cNvSpPr>
                  <a:spLocks/>
                </p:cNvSpPr>
                <p:nvPr/>
              </p:nvSpPr>
              <p:spPr bwMode="auto">
                <a:xfrm>
                  <a:off x="-2130" y="3357"/>
                  <a:ext cx="13" cy="26"/>
                </a:xfrm>
                <a:custGeom>
                  <a:avLst/>
                  <a:gdLst>
                    <a:gd name="T0" fmla="*/ 5 w 5"/>
                    <a:gd name="T1" fmla="*/ 0 h 11"/>
                    <a:gd name="T2" fmla="*/ 0 w 5"/>
                    <a:gd name="T3" fmla="*/ 0 h 11"/>
                    <a:gd name="T4" fmla="*/ 8 w 5"/>
                    <a:gd name="T5" fmla="*/ 26 h 11"/>
                    <a:gd name="T6" fmla="*/ 13 w 5"/>
                    <a:gd name="T7" fmla="*/ 26 h 11"/>
                    <a:gd name="T8" fmla="*/ 5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6" name="Freeform 47"/>
                <p:cNvSpPr>
                  <a:spLocks/>
                </p:cNvSpPr>
                <p:nvPr/>
              </p:nvSpPr>
              <p:spPr bwMode="auto">
                <a:xfrm>
                  <a:off x="-2130" y="3355"/>
                  <a:ext cx="7" cy="2"/>
                </a:xfrm>
                <a:custGeom>
                  <a:avLst/>
                  <a:gdLst>
                    <a:gd name="T0" fmla="*/ 7 w 2"/>
                    <a:gd name="T1" fmla="*/ 0 h 1"/>
                    <a:gd name="T2" fmla="*/ 0 w 2"/>
                    <a:gd name="T3" fmla="*/ 0 h 1"/>
                    <a:gd name="T4" fmla="*/ 0 w 2"/>
                    <a:gd name="T5" fmla="*/ 2 h 1"/>
                    <a:gd name="T6" fmla="*/ 7 w 2"/>
                    <a:gd name="T7" fmla="*/ 2 h 1"/>
                    <a:gd name="T8" fmla="*/ 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7" name="Freeform 48"/>
                <p:cNvSpPr>
                  <a:spLocks/>
                </p:cNvSpPr>
                <p:nvPr/>
              </p:nvSpPr>
              <p:spPr bwMode="auto">
                <a:xfrm>
                  <a:off x="-2220"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8" name="Freeform 49"/>
                <p:cNvSpPr>
                  <a:spLocks/>
                </p:cNvSpPr>
                <p:nvPr/>
              </p:nvSpPr>
              <p:spPr bwMode="auto">
                <a:xfrm>
                  <a:off x="-2202" y="2256"/>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9" name="Freeform 50"/>
                <p:cNvSpPr>
                  <a:spLocks/>
                </p:cNvSpPr>
                <p:nvPr/>
              </p:nvSpPr>
              <p:spPr bwMode="auto">
                <a:xfrm>
                  <a:off x="-2020" y="1987"/>
                  <a:ext cx="26" cy="270"/>
                </a:xfrm>
                <a:custGeom>
                  <a:avLst/>
                  <a:gdLst>
                    <a:gd name="T0" fmla="*/ 26 w 11"/>
                    <a:gd name="T1" fmla="*/ 0 h 114"/>
                    <a:gd name="T2" fmla="*/ 21 w 11"/>
                    <a:gd name="T3" fmla="*/ 0 h 114"/>
                    <a:gd name="T4" fmla="*/ 19 w 11"/>
                    <a:gd name="T5" fmla="*/ 21 h 114"/>
                    <a:gd name="T6" fmla="*/ 19 w 11"/>
                    <a:gd name="T7" fmla="*/ 21 h 114"/>
                    <a:gd name="T8" fmla="*/ 2 w 11"/>
                    <a:gd name="T9" fmla="*/ 237 h 114"/>
                    <a:gd name="T10" fmla="*/ 7 w 11"/>
                    <a:gd name="T11" fmla="*/ 237 h 114"/>
                    <a:gd name="T12" fmla="*/ 7 w 11"/>
                    <a:gd name="T13" fmla="*/ 239 h 114"/>
                    <a:gd name="T14" fmla="*/ 2 w 11"/>
                    <a:gd name="T15" fmla="*/ 239 h 114"/>
                    <a:gd name="T16" fmla="*/ 0 w 11"/>
                    <a:gd name="T17" fmla="*/ 270 h 114"/>
                    <a:gd name="T18" fmla="*/ 5 w 11"/>
                    <a:gd name="T19" fmla="*/ 270 h 114"/>
                    <a:gd name="T20" fmla="*/ 24 w 11"/>
                    <a:gd name="T21" fmla="*/ 21 h 114"/>
                    <a:gd name="T22" fmla="*/ 26 w 11"/>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0" name="Freeform 51"/>
                <p:cNvSpPr>
                  <a:spLocks/>
                </p:cNvSpPr>
                <p:nvPr/>
              </p:nvSpPr>
              <p:spPr bwMode="auto">
                <a:xfrm>
                  <a:off x="-2016" y="2222"/>
                  <a:ext cx="3" cy="3"/>
                </a:xfrm>
                <a:custGeom>
                  <a:avLst/>
                  <a:gdLst>
                    <a:gd name="T0" fmla="*/ 3 w 2"/>
                    <a:gd name="T1" fmla="*/ 0 h 1"/>
                    <a:gd name="T2" fmla="*/ 0 w 2"/>
                    <a:gd name="T3" fmla="*/ 0 h 1"/>
                    <a:gd name="T4" fmla="*/ 0 w 2"/>
                    <a:gd name="T5" fmla="*/ 3 h 1"/>
                    <a:gd name="T6" fmla="*/ 3 w 2"/>
                    <a:gd name="T7" fmla="*/ 3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1" name="Freeform 52"/>
                <p:cNvSpPr>
                  <a:spLocks noEditPoints="1"/>
                </p:cNvSpPr>
                <p:nvPr/>
              </p:nvSpPr>
              <p:spPr bwMode="auto">
                <a:xfrm>
                  <a:off x="-2030" y="2260"/>
                  <a:ext cx="15" cy="1016"/>
                </a:xfrm>
                <a:custGeom>
                  <a:avLst/>
                  <a:gdLst>
                    <a:gd name="T0" fmla="*/ 13 w 6"/>
                    <a:gd name="T1" fmla="*/ 812 h 429"/>
                    <a:gd name="T2" fmla="*/ 8 w 6"/>
                    <a:gd name="T3" fmla="*/ 812 h 429"/>
                    <a:gd name="T4" fmla="*/ 5 w 6"/>
                    <a:gd name="T5" fmla="*/ 1016 h 429"/>
                    <a:gd name="T6" fmla="*/ 10 w 6"/>
                    <a:gd name="T7" fmla="*/ 1016 h 429"/>
                    <a:gd name="T8" fmla="*/ 13 w 6"/>
                    <a:gd name="T9" fmla="*/ 812 h 429"/>
                    <a:gd name="T10" fmla="*/ 10 w 6"/>
                    <a:gd name="T11" fmla="*/ 803 h 429"/>
                    <a:gd name="T12" fmla="*/ 10 w 6"/>
                    <a:gd name="T13" fmla="*/ 803 h 429"/>
                    <a:gd name="T14" fmla="*/ 8 w 6"/>
                    <a:gd name="T15" fmla="*/ 552 h 429"/>
                    <a:gd name="T16" fmla="*/ 3 w 6"/>
                    <a:gd name="T17" fmla="*/ 552 h 429"/>
                    <a:gd name="T18" fmla="*/ 3 w 6"/>
                    <a:gd name="T19" fmla="*/ 602 h 429"/>
                    <a:gd name="T20" fmla="*/ 5 w 6"/>
                    <a:gd name="T21" fmla="*/ 602 h 429"/>
                    <a:gd name="T22" fmla="*/ 5 w 6"/>
                    <a:gd name="T23" fmla="*/ 604 h 429"/>
                    <a:gd name="T24" fmla="*/ 3 w 6"/>
                    <a:gd name="T25" fmla="*/ 604 h 429"/>
                    <a:gd name="T26" fmla="*/ 8 w 6"/>
                    <a:gd name="T27" fmla="*/ 803 h 429"/>
                    <a:gd name="T28" fmla="*/ 8 w 6"/>
                    <a:gd name="T29" fmla="*/ 810 h 429"/>
                    <a:gd name="T30" fmla="*/ 13 w 6"/>
                    <a:gd name="T31" fmla="*/ 810 h 429"/>
                    <a:gd name="T32" fmla="*/ 13 w 6"/>
                    <a:gd name="T33" fmla="*/ 803 h 429"/>
                    <a:gd name="T34" fmla="*/ 13 w 6"/>
                    <a:gd name="T35" fmla="*/ 803 h 429"/>
                    <a:gd name="T36" fmla="*/ 10 w 6"/>
                    <a:gd name="T37" fmla="*/ 774 h 429"/>
                    <a:gd name="T38" fmla="*/ 8 w 6"/>
                    <a:gd name="T39" fmla="*/ 552 h 429"/>
                    <a:gd name="T40" fmla="*/ 8 w 6"/>
                    <a:gd name="T41" fmla="*/ 242 h 429"/>
                    <a:gd name="T42" fmla="*/ 3 w 6"/>
                    <a:gd name="T43" fmla="*/ 242 h 429"/>
                    <a:gd name="T44" fmla="*/ 0 w 6"/>
                    <a:gd name="T45" fmla="*/ 436 h 429"/>
                    <a:gd name="T46" fmla="*/ 3 w 6"/>
                    <a:gd name="T47" fmla="*/ 549 h 429"/>
                    <a:gd name="T48" fmla="*/ 8 w 6"/>
                    <a:gd name="T49" fmla="*/ 549 h 429"/>
                    <a:gd name="T50" fmla="*/ 5 w 6"/>
                    <a:gd name="T51" fmla="*/ 436 h 429"/>
                    <a:gd name="T52" fmla="*/ 8 w 6"/>
                    <a:gd name="T53" fmla="*/ 242 h 429"/>
                    <a:gd name="T54" fmla="*/ 15 w 6"/>
                    <a:gd name="T55" fmla="*/ 0 h 429"/>
                    <a:gd name="T56" fmla="*/ 10 w 6"/>
                    <a:gd name="T57" fmla="*/ 0 h 429"/>
                    <a:gd name="T58" fmla="*/ 3 w 6"/>
                    <a:gd name="T59" fmla="*/ 239 h 429"/>
                    <a:gd name="T60" fmla="*/ 8 w 6"/>
                    <a:gd name="T61" fmla="*/ 239 h 429"/>
                    <a:gd name="T62" fmla="*/ 15 w 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2" name="Freeform 53"/>
                <p:cNvSpPr>
                  <a:spLocks/>
                </p:cNvSpPr>
                <p:nvPr/>
              </p:nvSpPr>
              <p:spPr bwMode="auto">
                <a:xfrm>
                  <a:off x="-2021" y="3070"/>
                  <a:ext cx="5" cy="2"/>
                </a:xfrm>
                <a:custGeom>
                  <a:avLst/>
                  <a:gdLst>
                    <a:gd name="T0" fmla="*/ 5 w 5"/>
                    <a:gd name="T1" fmla="*/ 0 h 3"/>
                    <a:gd name="T2" fmla="*/ 0 w 5"/>
                    <a:gd name="T3" fmla="*/ 0 h 3"/>
                    <a:gd name="T4" fmla="*/ 0 w 5"/>
                    <a:gd name="T5" fmla="*/ 2 h 3"/>
                    <a:gd name="T6" fmla="*/ 5 w 5"/>
                    <a:gd name="T7" fmla="*/ 2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3" name="Freeform 54"/>
                <p:cNvSpPr>
                  <a:spLocks/>
                </p:cNvSpPr>
                <p:nvPr/>
              </p:nvSpPr>
              <p:spPr bwMode="auto">
                <a:xfrm>
                  <a:off x="-2026" y="2861"/>
                  <a:ext cx="2" cy="3"/>
                </a:xfrm>
                <a:custGeom>
                  <a:avLst/>
                  <a:gdLst>
                    <a:gd name="T0" fmla="*/ 2 w 1"/>
                    <a:gd name="T1" fmla="*/ 0 h 1"/>
                    <a:gd name="T2" fmla="*/ 0 w 1"/>
                    <a:gd name="T3" fmla="*/ 0 h 1"/>
                    <a:gd name="T4" fmla="*/ 0 w 1"/>
                    <a:gd name="T5" fmla="*/ 3 h 1"/>
                    <a:gd name="T6" fmla="*/ 2 w 1"/>
                    <a:gd name="T7" fmla="*/ 3 h 1"/>
                    <a:gd name="T8" fmla="*/ 2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4" name="Freeform 55"/>
                <p:cNvSpPr>
                  <a:spLocks noEditPoints="1"/>
                </p:cNvSpPr>
                <p:nvPr/>
              </p:nvSpPr>
              <p:spPr bwMode="auto">
                <a:xfrm>
                  <a:off x="-2025" y="1522"/>
                  <a:ext cx="92" cy="1833"/>
                </a:xfrm>
                <a:custGeom>
                  <a:avLst/>
                  <a:gdLst>
                    <a:gd name="T0" fmla="*/ 5 w 39"/>
                    <a:gd name="T1" fmla="*/ 1757 h 773"/>
                    <a:gd name="T2" fmla="*/ 0 w 39"/>
                    <a:gd name="T3" fmla="*/ 1757 h 773"/>
                    <a:gd name="T4" fmla="*/ 0 w 39"/>
                    <a:gd name="T5" fmla="*/ 1833 h 773"/>
                    <a:gd name="T6" fmla="*/ 5 w 39"/>
                    <a:gd name="T7" fmla="*/ 1833 h 773"/>
                    <a:gd name="T8" fmla="*/ 5 w 39"/>
                    <a:gd name="T9" fmla="*/ 1757 h 773"/>
                    <a:gd name="T10" fmla="*/ 45 w 39"/>
                    <a:gd name="T11" fmla="*/ 235 h 773"/>
                    <a:gd name="T12" fmla="*/ 40 w 39"/>
                    <a:gd name="T13" fmla="*/ 235 h 773"/>
                    <a:gd name="T14" fmla="*/ 38 w 39"/>
                    <a:gd name="T15" fmla="*/ 292 h 773"/>
                    <a:gd name="T16" fmla="*/ 38 w 39"/>
                    <a:gd name="T17" fmla="*/ 292 h 773"/>
                    <a:gd name="T18" fmla="*/ 26 w 39"/>
                    <a:gd name="T19" fmla="*/ 462 h 773"/>
                    <a:gd name="T20" fmla="*/ 31 w 39"/>
                    <a:gd name="T21" fmla="*/ 462 h 773"/>
                    <a:gd name="T22" fmla="*/ 42 w 39"/>
                    <a:gd name="T23" fmla="*/ 292 h 773"/>
                    <a:gd name="T24" fmla="*/ 42 w 39"/>
                    <a:gd name="T25" fmla="*/ 292 h 773"/>
                    <a:gd name="T26" fmla="*/ 45 w 39"/>
                    <a:gd name="T27" fmla="*/ 235 h 773"/>
                    <a:gd name="T28" fmla="*/ 90 w 39"/>
                    <a:gd name="T29" fmla="*/ 0 h 773"/>
                    <a:gd name="T30" fmla="*/ 87 w 39"/>
                    <a:gd name="T31" fmla="*/ 0 h 773"/>
                    <a:gd name="T32" fmla="*/ 40 w 39"/>
                    <a:gd name="T33" fmla="*/ 232 h 773"/>
                    <a:gd name="T34" fmla="*/ 45 w 39"/>
                    <a:gd name="T35" fmla="*/ 232 h 773"/>
                    <a:gd name="T36" fmla="*/ 68 w 39"/>
                    <a:gd name="T37" fmla="*/ 76 h 773"/>
                    <a:gd name="T38" fmla="*/ 85 w 39"/>
                    <a:gd name="T39" fmla="*/ 21 h 773"/>
                    <a:gd name="T40" fmla="*/ 90 w 39"/>
                    <a:gd name="T41" fmla="*/ 7 h 773"/>
                    <a:gd name="T42" fmla="*/ 92 w 39"/>
                    <a:gd name="T43" fmla="*/ 2 h 773"/>
                    <a:gd name="T44" fmla="*/ 90 w 39"/>
                    <a:gd name="T45" fmla="*/ 0 h 7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5" name="Freeform 56"/>
                <p:cNvSpPr>
                  <a:spLocks/>
                </p:cNvSpPr>
                <p:nvPr/>
              </p:nvSpPr>
              <p:spPr bwMode="auto">
                <a:xfrm>
                  <a:off x="-1984" y="1754"/>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6" name="Freeform 57"/>
                <p:cNvSpPr>
                  <a:spLocks/>
                </p:cNvSpPr>
                <p:nvPr/>
              </p:nvSpPr>
              <p:spPr bwMode="auto">
                <a:xfrm>
                  <a:off x="-2026" y="2810"/>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7" name="Freeform 58"/>
                <p:cNvSpPr>
                  <a:spLocks/>
                </p:cNvSpPr>
                <p:nvPr/>
              </p:nvSpPr>
              <p:spPr bwMode="auto">
                <a:xfrm>
                  <a:off x="-2025" y="3276"/>
                  <a:ext cx="5" cy="2"/>
                </a:xfrm>
                <a:custGeom>
                  <a:avLst/>
                  <a:gdLst>
                    <a:gd name="T0" fmla="*/ 5 w 4"/>
                    <a:gd name="T1" fmla="*/ 0 h 2"/>
                    <a:gd name="T2" fmla="*/ 0 w 4"/>
                    <a:gd name="T3" fmla="*/ 0 h 2"/>
                    <a:gd name="T4" fmla="*/ 0 w 4"/>
                    <a:gd name="T5" fmla="*/ 2 h 2"/>
                    <a:gd name="T6" fmla="*/ 5 w 4"/>
                    <a:gd name="T7" fmla="*/ 2 h 2"/>
                    <a:gd name="T8" fmla="*/ 5 w 4"/>
                    <a:gd name="T9" fmla="*/ 0 h 2"/>
                    <a:gd name="T10" fmla="*/ 5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8" name="Freeform 59"/>
                <p:cNvSpPr>
                  <a:spLocks/>
                </p:cNvSpPr>
                <p:nvPr/>
              </p:nvSpPr>
              <p:spPr bwMode="auto">
                <a:xfrm>
                  <a:off x="-2026" y="3357"/>
                  <a:ext cx="7" cy="37"/>
                </a:xfrm>
                <a:custGeom>
                  <a:avLst/>
                  <a:gdLst>
                    <a:gd name="T0" fmla="*/ 7 w 7"/>
                    <a:gd name="T1" fmla="*/ 0 h 36"/>
                    <a:gd name="T2" fmla="*/ 3 w 7"/>
                    <a:gd name="T3" fmla="*/ 0 h 36"/>
                    <a:gd name="T4" fmla="*/ 0 w 7"/>
                    <a:gd name="T5" fmla="*/ 37 h 36"/>
                    <a:gd name="T6" fmla="*/ 5 w 7"/>
                    <a:gd name="T7" fmla="*/ 37 h 36"/>
                    <a:gd name="T8" fmla="*/ 7 w 7"/>
                    <a:gd name="T9" fmla="*/ 0 h 36"/>
                    <a:gd name="T10" fmla="*/ 7 w 7"/>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36">
                      <a:moveTo>
                        <a:pt x="7" y="0"/>
                      </a:moveTo>
                      <a:lnTo>
                        <a:pt x="3" y="0"/>
                      </a:lnTo>
                      <a:lnTo>
                        <a:pt x="0" y="36"/>
                      </a:lnTo>
                      <a:lnTo>
                        <a:pt x="5" y="3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9" name="Freeform 60"/>
                <p:cNvSpPr>
                  <a:spLocks/>
                </p:cNvSpPr>
                <p:nvPr/>
              </p:nvSpPr>
              <p:spPr bwMode="auto">
                <a:xfrm>
                  <a:off x="-2025" y="3355"/>
                  <a:ext cx="5" cy="2"/>
                </a:xfrm>
                <a:custGeom>
                  <a:avLst/>
                  <a:gdLst>
                    <a:gd name="T0" fmla="*/ 5 w 4"/>
                    <a:gd name="T1" fmla="*/ 0 h 2"/>
                    <a:gd name="T2" fmla="*/ 0 w 4"/>
                    <a:gd name="T3" fmla="*/ 0 h 2"/>
                    <a:gd name="T4" fmla="*/ 0 w 4"/>
                    <a:gd name="T5" fmla="*/ 2 h 2"/>
                    <a:gd name="T6" fmla="*/ 5 w 4"/>
                    <a:gd name="T7" fmla="*/ 2 h 2"/>
                    <a:gd name="T8" fmla="*/ 5 w 4"/>
                    <a:gd name="T9" fmla="*/ 0 h 2"/>
                    <a:gd name="T10" fmla="*/ 5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0" name="Freeform 61"/>
                <p:cNvSpPr>
                  <a:spLocks/>
                </p:cNvSpPr>
                <p:nvPr/>
              </p:nvSpPr>
              <p:spPr bwMode="auto">
                <a:xfrm>
                  <a:off x="-2026"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1" name="Freeform 62"/>
                <p:cNvSpPr>
                  <a:spLocks/>
                </p:cNvSpPr>
                <p:nvPr/>
              </p:nvSpPr>
              <p:spPr bwMode="auto">
                <a:xfrm>
                  <a:off x="-2020" y="2256"/>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2" name="Freeform 63"/>
                <p:cNvSpPr>
                  <a:spLocks/>
                </p:cNvSpPr>
                <p:nvPr/>
              </p:nvSpPr>
              <p:spPr bwMode="auto">
                <a:xfrm>
                  <a:off x="-1841" y="1987"/>
                  <a:ext cx="13" cy="270"/>
                </a:xfrm>
                <a:custGeom>
                  <a:avLst/>
                  <a:gdLst>
                    <a:gd name="T0" fmla="*/ 5 w 5"/>
                    <a:gd name="T1" fmla="*/ 0 h 114"/>
                    <a:gd name="T2" fmla="*/ 0 w 5"/>
                    <a:gd name="T3" fmla="*/ 0 h 114"/>
                    <a:gd name="T4" fmla="*/ 0 w 5"/>
                    <a:gd name="T5" fmla="*/ 9 h 114"/>
                    <a:gd name="T6" fmla="*/ 8 w 5"/>
                    <a:gd name="T7" fmla="*/ 270 h 114"/>
                    <a:gd name="T8" fmla="*/ 13 w 5"/>
                    <a:gd name="T9" fmla="*/ 270 h 114"/>
                    <a:gd name="T10" fmla="*/ 13 w 5"/>
                    <a:gd name="T11" fmla="*/ 239 h 114"/>
                    <a:gd name="T12" fmla="*/ 10 w 5"/>
                    <a:gd name="T13" fmla="*/ 239 h 114"/>
                    <a:gd name="T14" fmla="*/ 10 w 5"/>
                    <a:gd name="T15" fmla="*/ 237 h 114"/>
                    <a:gd name="T16" fmla="*/ 13 w 5"/>
                    <a:gd name="T17" fmla="*/ 237 h 114"/>
                    <a:gd name="T18" fmla="*/ 5 w 5"/>
                    <a:gd name="T19" fmla="*/ 9 h 114"/>
                    <a:gd name="T20" fmla="*/ 5 w 5"/>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3" name="Freeform 64"/>
                <p:cNvSpPr>
                  <a:spLocks/>
                </p:cNvSpPr>
                <p:nvPr/>
              </p:nvSpPr>
              <p:spPr bwMode="auto">
                <a:xfrm>
                  <a:off x="-1831" y="2222"/>
                  <a:ext cx="3" cy="3"/>
                </a:xfrm>
                <a:custGeom>
                  <a:avLst/>
                  <a:gdLst>
                    <a:gd name="T0" fmla="*/ 3 w 1"/>
                    <a:gd name="T1" fmla="*/ 0 h 1"/>
                    <a:gd name="T2" fmla="*/ 0 w 1"/>
                    <a:gd name="T3" fmla="*/ 0 h 1"/>
                    <a:gd name="T4" fmla="*/ 0 w 1"/>
                    <a:gd name="T5" fmla="*/ 3 h 1"/>
                    <a:gd name="T6" fmla="*/ 3 w 1"/>
                    <a:gd name="T7" fmla="*/ 3 h 1"/>
                    <a:gd name="T8" fmla="*/ 3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4" name="Freeform 65"/>
                <p:cNvSpPr>
                  <a:spLocks noEditPoints="1"/>
                </p:cNvSpPr>
                <p:nvPr/>
              </p:nvSpPr>
              <p:spPr bwMode="auto">
                <a:xfrm>
                  <a:off x="-1911" y="2260"/>
                  <a:ext cx="84" cy="1016"/>
                </a:xfrm>
                <a:custGeom>
                  <a:avLst/>
                  <a:gdLst>
                    <a:gd name="T0" fmla="*/ 36 w 35"/>
                    <a:gd name="T1" fmla="*/ 812 h 429"/>
                    <a:gd name="T2" fmla="*/ 31 w 35"/>
                    <a:gd name="T3" fmla="*/ 812 h 429"/>
                    <a:gd name="T4" fmla="*/ 0 w 35"/>
                    <a:gd name="T5" fmla="*/ 1016 h 429"/>
                    <a:gd name="T6" fmla="*/ 5 w 35"/>
                    <a:gd name="T7" fmla="*/ 1016 h 429"/>
                    <a:gd name="T8" fmla="*/ 36 w 35"/>
                    <a:gd name="T9" fmla="*/ 812 h 429"/>
                    <a:gd name="T10" fmla="*/ 74 w 35"/>
                    <a:gd name="T11" fmla="*/ 552 h 429"/>
                    <a:gd name="T12" fmla="*/ 70 w 35"/>
                    <a:gd name="T13" fmla="*/ 552 h 429"/>
                    <a:gd name="T14" fmla="*/ 53 w 35"/>
                    <a:gd name="T15" fmla="*/ 675 h 429"/>
                    <a:gd name="T16" fmla="*/ 38 w 35"/>
                    <a:gd name="T17" fmla="*/ 765 h 429"/>
                    <a:gd name="T18" fmla="*/ 31 w 35"/>
                    <a:gd name="T19" fmla="*/ 803 h 429"/>
                    <a:gd name="T20" fmla="*/ 31 w 35"/>
                    <a:gd name="T21" fmla="*/ 803 h 429"/>
                    <a:gd name="T22" fmla="*/ 31 w 35"/>
                    <a:gd name="T23" fmla="*/ 803 h 429"/>
                    <a:gd name="T24" fmla="*/ 31 w 35"/>
                    <a:gd name="T25" fmla="*/ 810 h 429"/>
                    <a:gd name="T26" fmla="*/ 36 w 35"/>
                    <a:gd name="T27" fmla="*/ 810 h 429"/>
                    <a:gd name="T28" fmla="*/ 36 w 35"/>
                    <a:gd name="T29" fmla="*/ 803 h 429"/>
                    <a:gd name="T30" fmla="*/ 36 w 35"/>
                    <a:gd name="T31" fmla="*/ 803 h 429"/>
                    <a:gd name="T32" fmla="*/ 74 w 35"/>
                    <a:gd name="T33" fmla="*/ 552 h 429"/>
                    <a:gd name="T34" fmla="*/ 84 w 35"/>
                    <a:gd name="T35" fmla="*/ 242 h 429"/>
                    <a:gd name="T36" fmla="*/ 79 w 35"/>
                    <a:gd name="T37" fmla="*/ 242 h 429"/>
                    <a:gd name="T38" fmla="*/ 79 w 35"/>
                    <a:gd name="T39" fmla="*/ 263 h 429"/>
                    <a:gd name="T40" fmla="*/ 79 w 35"/>
                    <a:gd name="T41" fmla="*/ 417 h 429"/>
                    <a:gd name="T42" fmla="*/ 79 w 35"/>
                    <a:gd name="T43" fmla="*/ 462 h 429"/>
                    <a:gd name="T44" fmla="*/ 79 w 35"/>
                    <a:gd name="T45" fmla="*/ 478 h 429"/>
                    <a:gd name="T46" fmla="*/ 70 w 35"/>
                    <a:gd name="T47" fmla="*/ 549 h 429"/>
                    <a:gd name="T48" fmla="*/ 74 w 35"/>
                    <a:gd name="T49" fmla="*/ 549 h 429"/>
                    <a:gd name="T50" fmla="*/ 84 w 35"/>
                    <a:gd name="T51" fmla="*/ 478 h 429"/>
                    <a:gd name="T52" fmla="*/ 84 w 35"/>
                    <a:gd name="T53" fmla="*/ 478 h 429"/>
                    <a:gd name="T54" fmla="*/ 84 w 35"/>
                    <a:gd name="T55" fmla="*/ 478 h 429"/>
                    <a:gd name="T56" fmla="*/ 84 w 35"/>
                    <a:gd name="T57" fmla="*/ 263 h 429"/>
                    <a:gd name="T58" fmla="*/ 84 w 35"/>
                    <a:gd name="T59" fmla="*/ 242 h 429"/>
                    <a:gd name="T60" fmla="*/ 84 w 35"/>
                    <a:gd name="T61" fmla="*/ 0 h 429"/>
                    <a:gd name="T62" fmla="*/ 79 w 35"/>
                    <a:gd name="T63" fmla="*/ 0 h 429"/>
                    <a:gd name="T64" fmla="*/ 79 w 35"/>
                    <a:gd name="T65" fmla="*/ 239 h 429"/>
                    <a:gd name="T66" fmla="*/ 84 w 35"/>
                    <a:gd name="T67" fmla="*/ 239 h 429"/>
                    <a:gd name="T68" fmla="*/ 84 w 35"/>
                    <a:gd name="T69" fmla="*/ 0 h 42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5" name="Freeform 66"/>
                <p:cNvSpPr>
                  <a:spLocks/>
                </p:cNvSpPr>
                <p:nvPr/>
              </p:nvSpPr>
              <p:spPr bwMode="auto">
                <a:xfrm>
                  <a:off x="-1880" y="3070"/>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6" name="Freeform 67"/>
                <p:cNvSpPr>
                  <a:spLocks noEditPoints="1"/>
                </p:cNvSpPr>
                <p:nvPr/>
              </p:nvSpPr>
              <p:spPr bwMode="auto">
                <a:xfrm>
                  <a:off x="-1936" y="1522"/>
                  <a:ext cx="100" cy="1833"/>
                </a:xfrm>
                <a:custGeom>
                  <a:avLst/>
                  <a:gdLst>
                    <a:gd name="T0" fmla="*/ 29 w 42"/>
                    <a:gd name="T1" fmla="*/ 1757 h 773"/>
                    <a:gd name="T2" fmla="*/ 24 w 42"/>
                    <a:gd name="T3" fmla="*/ 1757 h 773"/>
                    <a:gd name="T4" fmla="*/ 19 w 42"/>
                    <a:gd name="T5" fmla="*/ 1778 h 773"/>
                    <a:gd name="T6" fmla="*/ 0 w 42"/>
                    <a:gd name="T7" fmla="*/ 1833 h 773"/>
                    <a:gd name="T8" fmla="*/ 7 w 42"/>
                    <a:gd name="T9" fmla="*/ 1833 h 773"/>
                    <a:gd name="T10" fmla="*/ 29 w 42"/>
                    <a:gd name="T11" fmla="*/ 1757 h 773"/>
                    <a:gd name="T12" fmla="*/ 81 w 42"/>
                    <a:gd name="T13" fmla="*/ 235 h 773"/>
                    <a:gd name="T14" fmla="*/ 76 w 42"/>
                    <a:gd name="T15" fmla="*/ 235 h 773"/>
                    <a:gd name="T16" fmla="*/ 79 w 42"/>
                    <a:gd name="T17" fmla="*/ 251 h 773"/>
                    <a:gd name="T18" fmla="*/ 95 w 42"/>
                    <a:gd name="T19" fmla="*/ 462 h 773"/>
                    <a:gd name="T20" fmla="*/ 100 w 42"/>
                    <a:gd name="T21" fmla="*/ 462 h 773"/>
                    <a:gd name="T22" fmla="*/ 81 w 42"/>
                    <a:gd name="T23" fmla="*/ 235 h 773"/>
                    <a:gd name="T24" fmla="*/ 71 w 42"/>
                    <a:gd name="T25" fmla="*/ 161 h 773"/>
                    <a:gd name="T26" fmla="*/ 67 w 42"/>
                    <a:gd name="T27" fmla="*/ 161 h 773"/>
                    <a:gd name="T28" fmla="*/ 76 w 42"/>
                    <a:gd name="T29" fmla="*/ 232 h 773"/>
                    <a:gd name="T30" fmla="*/ 81 w 42"/>
                    <a:gd name="T31" fmla="*/ 232 h 773"/>
                    <a:gd name="T32" fmla="*/ 71 w 42"/>
                    <a:gd name="T33" fmla="*/ 161 h 773"/>
                    <a:gd name="T34" fmla="*/ 36 w 42"/>
                    <a:gd name="T35" fmla="*/ 0 h 773"/>
                    <a:gd name="T36" fmla="*/ 36 w 42"/>
                    <a:gd name="T37" fmla="*/ 0 h 773"/>
                    <a:gd name="T38" fmla="*/ 31 w 42"/>
                    <a:gd name="T39" fmla="*/ 2 h 773"/>
                    <a:gd name="T40" fmla="*/ 33 w 42"/>
                    <a:gd name="T41" fmla="*/ 5 h 773"/>
                    <a:gd name="T42" fmla="*/ 67 w 42"/>
                    <a:gd name="T43" fmla="*/ 159 h 773"/>
                    <a:gd name="T44" fmla="*/ 71 w 42"/>
                    <a:gd name="T45" fmla="*/ 159 h 773"/>
                    <a:gd name="T46" fmla="*/ 36 w 42"/>
                    <a:gd name="T47" fmla="*/ 0 h 7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7" name="Freeform 68"/>
                <p:cNvSpPr>
                  <a:spLocks/>
                </p:cNvSpPr>
                <p:nvPr/>
              </p:nvSpPr>
              <p:spPr bwMode="auto">
                <a:xfrm>
                  <a:off x="-1859" y="1754"/>
                  <a:ext cx="5" cy="2"/>
                </a:xfrm>
                <a:custGeom>
                  <a:avLst/>
                  <a:gdLst>
                    <a:gd name="T0" fmla="*/ 5 w 2"/>
                    <a:gd name="T1" fmla="*/ 0 h 1"/>
                    <a:gd name="T2" fmla="*/ 5 w 2"/>
                    <a:gd name="T3" fmla="*/ 0 h 1"/>
                    <a:gd name="T4" fmla="*/ 3 w 2"/>
                    <a:gd name="T5" fmla="*/ 0 h 1"/>
                    <a:gd name="T6" fmla="*/ 5 w 2"/>
                    <a:gd name="T7" fmla="*/ 0 h 1"/>
                    <a:gd name="T8" fmla="*/ 0 w 2"/>
                    <a:gd name="T9" fmla="*/ 0 h 1"/>
                    <a:gd name="T10" fmla="*/ 0 w 2"/>
                    <a:gd name="T11" fmla="*/ 0 h 1"/>
                    <a:gd name="T12" fmla="*/ 0 w 2"/>
                    <a:gd name="T13" fmla="*/ 2 h 1"/>
                    <a:gd name="T14" fmla="*/ 5 w 2"/>
                    <a:gd name="T15" fmla="*/ 2 h 1"/>
                    <a:gd name="T16" fmla="*/ 5 w 2"/>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8" name="Freeform 69"/>
                <p:cNvSpPr>
                  <a:spLocks/>
                </p:cNvSpPr>
                <p:nvPr/>
              </p:nvSpPr>
              <p:spPr bwMode="auto">
                <a:xfrm>
                  <a:off x="-1869" y="1682"/>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9" name="Freeform 70"/>
                <p:cNvSpPr>
                  <a:spLocks/>
                </p:cNvSpPr>
                <p:nvPr/>
              </p:nvSpPr>
              <p:spPr bwMode="auto">
                <a:xfrm>
                  <a:off x="-1842" y="2810"/>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0" name="Freeform 71"/>
                <p:cNvSpPr>
                  <a:spLocks/>
                </p:cNvSpPr>
                <p:nvPr/>
              </p:nvSpPr>
              <p:spPr bwMode="auto">
                <a:xfrm>
                  <a:off x="-1911" y="3276"/>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1" name="Freeform 72"/>
                <p:cNvSpPr>
                  <a:spLocks/>
                </p:cNvSpPr>
                <p:nvPr/>
              </p:nvSpPr>
              <p:spPr bwMode="auto">
                <a:xfrm>
                  <a:off x="-1946" y="3355"/>
                  <a:ext cx="16" cy="37"/>
                </a:xfrm>
                <a:custGeom>
                  <a:avLst/>
                  <a:gdLst>
                    <a:gd name="T0" fmla="*/ 11 w 7"/>
                    <a:gd name="T1" fmla="*/ 0 h 16"/>
                    <a:gd name="T2" fmla="*/ 9 w 7"/>
                    <a:gd name="T3" fmla="*/ 12 h 16"/>
                    <a:gd name="T4" fmla="*/ 2 w 7"/>
                    <a:gd name="T5" fmla="*/ 28 h 16"/>
                    <a:gd name="T6" fmla="*/ 0 w 7"/>
                    <a:gd name="T7" fmla="*/ 35 h 16"/>
                    <a:gd name="T8" fmla="*/ 5 w 7"/>
                    <a:gd name="T9" fmla="*/ 37 h 16"/>
                    <a:gd name="T10" fmla="*/ 16 w 7"/>
                    <a:gd name="T11" fmla="*/ 2 h 16"/>
                    <a:gd name="T12" fmla="*/ 11 w 7"/>
                    <a:gd name="T13" fmla="*/ 2 h 16"/>
                    <a:gd name="T14" fmla="*/ 11 w 7"/>
                    <a:gd name="T15" fmla="*/ 0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2" name="Freeform 73"/>
                <p:cNvSpPr>
                  <a:spLocks/>
                </p:cNvSpPr>
                <p:nvPr/>
              </p:nvSpPr>
              <p:spPr bwMode="auto">
                <a:xfrm>
                  <a:off x="-1936" y="3355"/>
                  <a:ext cx="8" cy="2"/>
                </a:xfrm>
                <a:custGeom>
                  <a:avLst/>
                  <a:gdLst>
                    <a:gd name="T0" fmla="*/ 8 w 3"/>
                    <a:gd name="T1" fmla="*/ 0 h 1"/>
                    <a:gd name="T2" fmla="*/ 0 w 3"/>
                    <a:gd name="T3" fmla="*/ 0 h 1"/>
                    <a:gd name="T4" fmla="*/ 0 w 3"/>
                    <a:gd name="T5" fmla="*/ 0 h 1"/>
                    <a:gd name="T6" fmla="*/ 0 w 3"/>
                    <a:gd name="T7" fmla="*/ 2 h 1"/>
                    <a:gd name="T8" fmla="*/ 5 w 3"/>
                    <a:gd name="T9" fmla="*/ 2 h 1"/>
                    <a:gd name="T10" fmla="*/ 8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3" name="Freeform 74"/>
                <p:cNvSpPr>
                  <a:spLocks/>
                </p:cNvSpPr>
                <p:nvPr/>
              </p:nvSpPr>
              <p:spPr bwMode="auto">
                <a:xfrm>
                  <a:off x="-1832"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4" name="Freeform 75"/>
                <p:cNvSpPr>
                  <a:spLocks/>
                </p:cNvSpPr>
                <p:nvPr/>
              </p:nvSpPr>
              <p:spPr bwMode="auto">
                <a:xfrm>
                  <a:off x="-1832" y="2256"/>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5" name="Freeform 76"/>
                <p:cNvSpPr>
                  <a:spLocks noEditPoints="1"/>
                </p:cNvSpPr>
                <p:nvPr/>
              </p:nvSpPr>
              <p:spPr bwMode="auto">
                <a:xfrm>
                  <a:off x="-1665" y="1683"/>
                  <a:ext cx="237" cy="865"/>
                </a:xfrm>
                <a:custGeom>
                  <a:avLst/>
                  <a:gdLst>
                    <a:gd name="T0" fmla="*/ 237 w 100"/>
                    <a:gd name="T1" fmla="*/ 818 h 365"/>
                    <a:gd name="T2" fmla="*/ 235 w 100"/>
                    <a:gd name="T3" fmla="*/ 818 h 365"/>
                    <a:gd name="T4" fmla="*/ 235 w 100"/>
                    <a:gd name="T5" fmla="*/ 865 h 365"/>
                    <a:gd name="T6" fmla="*/ 235 w 100"/>
                    <a:gd name="T7" fmla="*/ 865 h 365"/>
                    <a:gd name="T8" fmla="*/ 237 w 100"/>
                    <a:gd name="T9" fmla="*/ 865 h 365"/>
                    <a:gd name="T10" fmla="*/ 237 w 100"/>
                    <a:gd name="T11" fmla="*/ 865 h 365"/>
                    <a:gd name="T12" fmla="*/ 237 w 100"/>
                    <a:gd name="T13" fmla="*/ 818 h 365"/>
                    <a:gd name="T14" fmla="*/ 209 w 100"/>
                    <a:gd name="T15" fmla="*/ 576 h 365"/>
                    <a:gd name="T16" fmla="*/ 206 w 100"/>
                    <a:gd name="T17" fmla="*/ 576 h 365"/>
                    <a:gd name="T18" fmla="*/ 235 w 100"/>
                    <a:gd name="T19" fmla="*/ 815 h 365"/>
                    <a:gd name="T20" fmla="*/ 237 w 100"/>
                    <a:gd name="T21" fmla="*/ 815 h 365"/>
                    <a:gd name="T22" fmla="*/ 209 w 100"/>
                    <a:gd name="T23" fmla="*/ 576 h 365"/>
                    <a:gd name="T24" fmla="*/ 156 w 100"/>
                    <a:gd name="T25" fmla="*/ 303 h 365"/>
                    <a:gd name="T26" fmla="*/ 154 w 100"/>
                    <a:gd name="T27" fmla="*/ 303 h 365"/>
                    <a:gd name="T28" fmla="*/ 156 w 100"/>
                    <a:gd name="T29" fmla="*/ 310 h 365"/>
                    <a:gd name="T30" fmla="*/ 156 w 100"/>
                    <a:gd name="T31" fmla="*/ 310 h 365"/>
                    <a:gd name="T32" fmla="*/ 161 w 100"/>
                    <a:gd name="T33" fmla="*/ 327 h 365"/>
                    <a:gd name="T34" fmla="*/ 206 w 100"/>
                    <a:gd name="T35" fmla="*/ 574 h 365"/>
                    <a:gd name="T36" fmla="*/ 209 w 100"/>
                    <a:gd name="T37" fmla="*/ 574 h 365"/>
                    <a:gd name="T38" fmla="*/ 159 w 100"/>
                    <a:gd name="T39" fmla="*/ 310 h 365"/>
                    <a:gd name="T40" fmla="*/ 159 w 100"/>
                    <a:gd name="T41" fmla="*/ 310 h 365"/>
                    <a:gd name="T42" fmla="*/ 159 w 100"/>
                    <a:gd name="T43" fmla="*/ 310 h 365"/>
                    <a:gd name="T44" fmla="*/ 156 w 100"/>
                    <a:gd name="T45" fmla="*/ 303 h 365"/>
                    <a:gd name="T46" fmla="*/ 2 w 100"/>
                    <a:gd name="T47" fmla="*/ 0 h 365"/>
                    <a:gd name="T48" fmla="*/ 0 w 100"/>
                    <a:gd name="T49" fmla="*/ 0 h 365"/>
                    <a:gd name="T50" fmla="*/ 50 w 100"/>
                    <a:gd name="T51" fmla="*/ 71 h 365"/>
                    <a:gd name="T52" fmla="*/ 52 w 100"/>
                    <a:gd name="T53" fmla="*/ 71 h 365"/>
                    <a:gd name="T54" fmla="*/ 2 w 100"/>
                    <a:gd name="T55" fmla="*/ 0 h 3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6" name="Freeform 77"/>
                <p:cNvSpPr>
                  <a:spLocks/>
                </p:cNvSpPr>
                <p:nvPr/>
              </p:nvSpPr>
              <p:spPr bwMode="auto">
                <a:xfrm>
                  <a:off x="-1615" y="1754"/>
                  <a:ext cx="5" cy="2"/>
                </a:xfrm>
                <a:custGeom>
                  <a:avLst/>
                  <a:gdLst>
                    <a:gd name="T0" fmla="*/ 3 w 2"/>
                    <a:gd name="T1" fmla="*/ 0 h 1"/>
                    <a:gd name="T2" fmla="*/ 0 w 2"/>
                    <a:gd name="T3" fmla="*/ 0 h 1"/>
                    <a:gd name="T4" fmla="*/ 3 w 2"/>
                    <a:gd name="T5" fmla="*/ 2 h 1"/>
                    <a:gd name="T6" fmla="*/ 5 w 2"/>
                    <a:gd name="T7" fmla="*/ 2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7" name="Freeform 78"/>
                <p:cNvSpPr>
                  <a:spLocks/>
                </p:cNvSpPr>
                <p:nvPr/>
              </p:nvSpPr>
              <p:spPr bwMode="auto">
                <a:xfrm>
                  <a:off x="-1666" y="1682"/>
                  <a:ext cx="5" cy="3"/>
                </a:xfrm>
                <a:custGeom>
                  <a:avLst/>
                  <a:gdLst>
                    <a:gd name="T0" fmla="*/ 5 w 2"/>
                    <a:gd name="T1" fmla="*/ 0 h 1"/>
                    <a:gd name="T2" fmla="*/ 0 w 2"/>
                    <a:gd name="T3" fmla="*/ 0 h 1"/>
                    <a:gd name="T4" fmla="*/ 3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8" name="Freeform 79"/>
                <p:cNvSpPr>
                  <a:spLocks/>
                </p:cNvSpPr>
                <p:nvPr/>
              </p:nvSpPr>
              <p:spPr bwMode="auto">
                <a:xfrm>
                  <a:off x="-1430" y="2498"/>
                  <a:ext cx="2" cy="3"/>
                </a:xfrm>
                <a:custGeom>
                  <a:avLst/>
                  <a:gdLst>
                    <a:gd name="T0" fmla="*/ 2 w 1"/>
                    <a:gd name="T1" fmla="*/ 0 h 1"/>
                    <a:gd name="T2" fmla="*/ 0 w 1"/>
                    <a:gd name="T3" fmla="*/ 0 h 1"/>
                    <a:gd name="T4" fmla="*/ 0 w 1"/>
                    <a:gd name="T5" fmla="*/ 3 h 1"/>
                    <a:gd name="T6" fmla="*/ 2 w 1"/>
                    <a:gd name="T7" fmla="*/ 3 h 1"/>
                    <a:gd name="T8" fmla="*/ 2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9" name="Freeform 80"/>
                <p:cNvSpPr>
                  <a:spLocks/>
                </p:cNvSpPr>
                <p:nvPr/>
              </p:nvSpPr>
              <p:spPr bwMode="auto">
                <a:xfrm>
                  <a:off x="-1459" y="2256"/>
                  <a:ext cx="3" cy="3"/>
                </a:xfrm>
                <a:custGeom>
                  <a:avLst/>
                  <a:gdLst>
                    <a:gd name="T0" fmla="*/ 3 w 1"/>
                    <a:gd name="T1" fmla="*/ 0 h 1"/>
                    <a:gd name="T2" fmla="*/ 0 w 1"/>
                    <a:gd name="T3" fmla="*/ 0 h 1"/>
                    <a:gd name="T4" fmla="*/ 0 w 1"/>
                    <a:gd name="T5" fmla="*/ 3 h 1"/>
                    <a:gd name="T6" fmla="*/ 3 w 1"/>
                    <a:gd name="T7" fmla="*/ 3 h 1"/>
                    <a:gd name="T8" fmla="*/ 3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0" name="Freeform 81"/>
                <p:cNvSpPr>
                  <a:spLocks/>
                </p:cNvSpPr>
                <p:nvPr/>
              </p:nvSpPr>
              <p:spPr bwMode="auto">
                <a:xfrm>
                  <a:off x="-1376" y="1987"/>
                  <a:ext cx="99" cy="270"/>
                </a:xfrm>
                <a:custGeom>
                  <a:avLst/>
                  <a:gdLst>
                    <a:gd name="T0" fmla="*/ 5 w 42"/>
                    <a:gd name="T1" fmla="*/ 0 h 114"/>
                    <a:gd name="T2" fmla="*/ 0 w 42"/>
                    <a:gd name="T3" fmla="*/ 0 h 114"/>
                    <a:gd name="T4" fmla="*/ 2 w 42"/>
                    <a:gd name="T5" fmla="*/ 2 h 114"/>
                    <a:gd name="T6" fmla="*/ 75 w 42"/>
                    <a:gd name="T7" fmla="*/ 199 h 114"/>
                    <a:gd name="T8" fmla="*/ 92 w 42"/>
                    <a:gd name="T9" fmla="*/ 258 h 114"/>
                    <a:gd name="T10" fmla="*/ 94 w 42"/>
                    <a:gd name="T11" fmla="*/ 270 h 114"/>
                    <a:gd name="T12" fmla="*/ 99 w 42"/>
                    <a:gd name="T13" fmla="*/ 270 h 114"/>
                    <a:gd name="T14" fmla="*/ 92 w 42"/>
                    <a:gd name="T15" fmla="*/ 239 h 114"/>
                    <a:gd name="T16" fmla="*/ 87 w 42"/>
                    <a:gd name="T17" fmla="*/ 239 h 114"/>
                    <a:gd name="T18" fmla="*/ 87 w 42"/>
                    <a:gd name="T19" fmla="*/ 237 h 114"/>
                    <a:gd name="T20" fmla="*/ 92 w 42"/>
                    <a:gd name="T21" fmla="*/ 237 h 114"/>
                    <a:gd name="T22" fmla="*/ 5 w 42"/>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1" name="Freeform 82"/>
                <p:cNvSpPr>
                  <a:spLocks/>
                </p:cNvSpPr>
                <p:nvPr/>
              </p:nvSpPr>
              <p:spPr bwMode="auto">
                <a:xfrm>
                  <a:off x="-1288" y="2222"/>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2" name="Freeform 83"/>
                <p:cNvSpPr>
                  <a:spLocks noEditPoints="1"/>
                </p:cNvSpPr>
                <p:nvPr/>
              </p:nvSpPr>
              <p:spPr bwMode="auto">
                <a:xfrm>
                  <a:off x="-1282" y="2260"/>
                  <a:ext cx="232" cy="1016"/>
                </a:xfrm>
                <a:custGeom>
                  <a:avLst/>
                  <a:gdLst>
                    <a:gd name="T0" fmla="*/ 166 w 98"/>
                    <a:gd name="T1" fmla="*/ 812 h 429"/>
                    <a:gd name="T2" fmla="*/ 161 w 98"/>
                    <a:gd name="T3" fmla="*/ 812 h 429"/>
                    <a:gd name="T4" fmla="*/ 225 w 98"/>
                    <a:gd name="T5" fmla="*/ 1016 h 429"/>
                    <a:gd name="T6" fmla="*/ 232 w 98"/>
                    <a:gd name="T7" fmla="*/ 1016 h 429"/>
                    <a:gd name="T8" fmla="*/ 166 w 98"/>
                    <a:gd name="T9" fmla="*/ 812 h 429"/>
                    <a:gd name="T10" fmla="*/ 92 w 98"/>
                    <a:gd name="T11" fmla="*/ 604 h 429"/>
                    <a:gd name="T12" fmla="*/ 85 w 98"/>
                    <a:gd name="T13" fmla="*/ 604 h 429"/>
                    <a:gd name="T14" fmla="*/ 161 w 98"/>
                    <a:gd name="T15" fmla="*/ 810 h 429"/>
                    <a:gd name="T16" fmla="*/ 166 w 98"/>
                    <a:gd name="T17" fmla="*/ 810 h 429"/>
                    <a:gd name="T18" fmla="*/ 166 w 98"/>
                    <a:gd name="T19" fmla="*/ 810 h 429"/>
                    <a:gd name="T20" fmla="*/ 166 w 98"/>
                    <a:gd name="T21" fmla="*/ 810 h 429"/>
                    <a:gd name="T22" fmla="*/ 166 w 98"/>
                    <a:gd name="T23" fmla="*/ 810 h 429"/>
                    <a:gd name="T24" fmla="*/ 161 w 98"/>
                    <a:gd name="T25" fmla="*/ 798 h 429"/>
                    <a:gd name="T26" fmla="*/ 92 w 98"/>
                    <a:gd name="T27" fmla="*/ 604 h 429"/>
                    <a:gd name="T28" fmla="*/ 76 w 98"/>
                    <a:gd name="T29" fmla="*/ 552 h 429"/>
                    <a:gd name="T30" fmla="*/ 71 w 98"/>
                    <a:gd name="T31" fmla="*/ 552 h 429"/>
                    <a:gd name="T32" fmla="*/ 85 w 98"/>
                    <a:gd name="T33" fmla="*/ 602 h 429"/>
                    <a:gd name="T34" fmla="*/ 90 w 98"/>
                    <a:gd name="T35" fmla="*/ 602 h 429"/>
                    <a:gd name="T36" fmla="*/ 76 w 98"/>
                    <a:gd name="T37" fmla="*/ 552 h 429"/>
                    <a:gd name="T38" fmla="*/ 40 w 98"/>
                    <a:gd name="T39" fmla="*/ 242 h 429"/>
                    <a:gd name="T40" fmla="*/ 36 w 98"/>
                    <a:gd name="T41" fmla="*/ 242 h 429"/>
                    <a:gd name="T42" fmla="*/ 40 w 98"/>
                    <a:gd name="T43" fmla="*/ 277 h 429"/>
                    <a:gd name="T44" fmla="*/ 38 w 98"/>
                    <a:gd name="T45" fmla="*/ 324 h 429"/>
                    <a:gd name="T46" fmla="*/ 71 w 98"/>
                    <a:gd name="T47" fmla="*/ 549 h 429"/>
                    <a:gd name="T48" fmla="*/ 76 w 98"/>
                    <a:gd name="T49" fmla="*/ 549 h 429"/>
                    <a:gd name="T50" fmla="*/ 43 w 98"/>
                    <a:gd name="T51" fmla="*/ 324 h 429"/>
                    <a:gd name="T52" fmla="*/ 45 w 98"/>
                    <a:gd name="T53" fmla="*/ 277 h 429"/>
                    <a:gd name="T54" fmla="*/ 45 w 98"/>
                    <a:gd name="T55" fmla="*/ 277 h 429"/>
                    <a:gd name="T56" fmla="*/ 40 w 98"/>
                    <a:gd name="T57" fmla="*/ 242 h 429"/>
                    <a:gd name="T58" fmla="*/ 5 w 98"/>
                    <a:gd name="T59" fmla="*/ 0 h 429"/>
                    <a:gd name="T60" fmla="*/ 0 w 98"/>
                    <a:gd name="T61" fmla="*/ 0 h 429"/>
                    <a:gd name="T62" fmla="*/ 2 w 98"/>
                    <a:gd name="T63" fmla="*/ 2 h 429"/>
                    <a:gd name="T64" fmla="*/ 2 w 98"/>
                    <a:gd name="T65" fmla="*/ 7 h 429"/>
                    <a:gd name="T66" fmla="*/ 2 w 98"/>
                    <a:gd name="T67" fmla="*/ 7 h 429"/>
                    <a:gd name="T68" fmla="*/ 36 w 98"/>
                    <a:gd name="T69" fmla="*/ 239 h 429"/>
                    <a:gd name="T70" fmla="*/ 40 w 98"/>
                    <a:gd name="T71" fmla="*/ 239 h 429"/>
                    <a:gd name="T72" fmla="*/ 7 w 98"/>
                    <a:gd name="T73" fmla="*/ 7 h 429"/>
                    <a:gd name="T74" fmla="*/ 5 w 98"/>
                    <a:gd name="T75" fmla="*/ 0 h 4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3" name="Freeform 84"/>
                <p:cNvSpPr>
                  <a:spLocks/>
                </p:cNvSpPr>
                <p:nvPr/>
              </p:nvSpPr>
              <p:spPr bwMode="auto">
                <a:xfrm>
                  <a:off x="-1121" y="3070"/>
                  <a:ext cx="5" cy="2"/>
                </a:xfrm>
                <a:custGeom>
                  <a:avLst/>
                  <a:gdLst>
                    <a:gd name="T0" fmla="*/ 5 w 2"/>
                    <a:gd name="T1" fmla="*/ 0 h 1"/>
                    <a:gd name="T2" fmla="*/ 0 w 2"/>
                    <a:gd name="T3" fmla="*/ 0 h 1"/>
                    <a:gd name="T4" fmla="*/ 0 w 2"/>
                    <a:gd name="T5" fmla="*/ 0 h 1"/>
                    <a:gd name="T6" fmla="*/ 0 w 2"/>
                    <a:gd name="T7" fmla="*/ 2 h 1"/>
                    <a:gd name="T8" fmla="*/ 5 w 2"/>
                    <a:gd name="T9" fmla="*/ 2 h 1"/>
                    <a:gd name="T10" fmla="*/ 5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4" name="Freeform 85"/>
                <p:cNvSpPr>
                  <a:spLocks/>
                </p:cNvSpPr>
                <p:nvPr/>
              </p:nvSpPr>
              <p:spPr bwMode="auto">
                <a:xfrm>
                  <a:off x="-1196" y="2861"/>
                  <a:ext cx="7" cy="3"/>
                </a:xfrm>
                <a:custGeom>
                  <a:avLst/>
                  <a:gdLst>
                    <a:gd name="T0" fmla="*/ 5 w 3"/>
                    <a:gd name="T1" fmla="*/ 0 h 1"/>
                    <a:gd name="T2" fmla="*/ 0 w 3"/>
                    <a:gd name="T3" fmla="*/ 0 h 1"/>
                    <a:gd name="T4" fmla="*/ 0 w 3"/>
                    <a:gd name="T5" fmla="*/ 3 h 1"/>
                    <a:gd name="T6" fmla="*/ 7 w 3"/>
                    <a:gd name="T7" fmla="*/ 3 h 1"/>
                    <a:gd name="T8" fmla="*/ 5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5" name="Freeform 86"/>
                <p:cNvSpPr>
                  <a:spLocks noEditPoints="1"/>
                </p:cNvSpPr>
                <p:nvPr/>
              </p:nvSpPr>
              <p:spPr bwMode="auto">
                <a:xfrm>
                  <a:off x="-1775" y="1524"/>
                  <a:ext cx="766" cy="1831"/>
                </a:xfrm>
                <a:custGeom>
                  <a:avLst/>
                  <a:gdLst>
                    <a:gd name="T0" fmla="*/ 726 w 323"/>
                    <a:gd name="T1" fmla="*/ 1755 h 772"/>
                    <a:gd name="T2" fmla="*/ 721 w 323"/>
                    <a:gd name="T3" fmla="*/ 1755 h 772"/>
                    <a:gd name="T4" fmla="*/ 761 w 323"/>
                    <a:gd name="T5" fmla="*/ 1831 h 772"/>
                    <a:gd name="T6" fmla="*/ 766 w 323"/>
                    <a:gd name="T7" fmla="*/ 1831 h 772"/>
                    <a:gd name="T8" fmla="*/ 726 w 323"/>
                    <a:gd name="T9" fmla="*/ 1755 h 772"/>
                    <a:gd name="T10" fmla="*/ 263 w 323"/>
                    <a:gd name="T11" fmla="*/ 232 h 772"/>
                    <a:gd name="T12" fmla="*/ 256 w 323"/>
                    <a:gd name="T13" fmla="*/ 232 h 772"/>
                    <a:gd name="T14" fmla="*/ 396 w 323"/>
                    <a:gd name="T15" fmla="*/ 460 h 772"/>
                    <a:gd name="T16" fmla="*/ 403 w 323"/>
                    <a:gd name="T17" fmla="*/ 460 h 772"/>
                    <a:gd name="T18" fmla="*/ 263 w 323"/>
                    <a:gd name="T19" fmla="*/ 232 h 772"/>
                    <a:gd name="T20" fmla="*/ 2 w 323"/>
                    <a:gd name="T21" fmla="*/ 0 h 772"/>
                    <a:gd name="T22" fmla="*/ 0 w 323"/>
                    <a:gd name="T23" fmla="*/ 2 h 772"/>
                    <a:gd name="T24" fmla="*/ 254 w 323"/>
                    <a:gd name="T25" fmla="*/ 230 h 772"/>
                    <a:gd name="T26" fmla="*/ 261 w 323"/>
                    <a:gd name="T27" fmla="*/ 230 h 772"/>
                    <a:gd name="T28" fmla="*/ 199 w 323"/>
                    <a:gd name="T29" fmla="*/ 159 h 772"/>
                    <a:gd name="T30" fmla="*/ 199 w 323"/>
                    <a:gd name="T31" fmla="*/ 159 h 772"/>
                    <a:gd name="T32" fmla="*/ 199 w 323"/>
                    <a:gd name="T33" fmla="*/ 159 h 772"/>
                    <a:gd name="T34" fmla="*/ 2 w 323"/>
                    <a:gd name="T35" fmla="*/ 0 h 7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6" name="Freeform 87"/>
                <p:cNvSpPr>
                  <a:spLocks/>
                </p:cNvSpPr>
                <p:nvPr/>
              </p:nvSpPr>
              <p:spPr bwMode="auto">
                <a:xfrm>
                  <a:off x="-1520" y="1754"/>
                  <a:ext cx="8" cy="2"/>
                </a:xfrm>
                <a:custGeom>
                  <a:avLst/>
                  <a:gdLst>
                    <a:gd name="T0" fmla="*/ 6 w 4"/>
                    <a:gd name="T1" fmla="*/ 0 h 1"/>
                    <a:gd name="T2" fmla="*/ 0 w 4"/>
                    <a:gd name="T3" fmla="*/ 0 h 1"/>
                    <a:gd name="T4" fmla="*/ 2 w 4"/>
                    <a:gd name="T5" fmla="*/ 2 h 1"/>
                    <a:gd name="T6" fmla="*/ 8 w 4"/>
                    <a:gd name="T7" fmla="*/ 2 h 1"/>
                    <a:gd name="T8" fmla="*/ 6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7" name="Rectangle 88"/>
                <p:cNvSpPr>
                  <a:spLocks noChangeArrowheads="1"/>
                </p:cNvSpPr>
                <p:nvPr/>
              </p:nvSpPr>
              <p:spPr bwMode="auto">
                <a:xfrm>
                  <a:off x="-1576" y="1683"/>
                  <a:ext cx="2"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900" smtClean="0">
                    <a:solidFill>
                      <a:srgbClr val="263147"/>
                    </a:solidFill>
                    <a:latin typeface="Calibri" panose="020F0502020204030204" pitchFamily="34" charset="0"/>
                  </a:endParaRPr>
                </a:p>
              </p:txBody>
            </p:sp>
            <p:sp>
              <p:nvSpPr>
                <p:cNvPr id="228" name="Freeform 89"/>
                <p:cNvSpPr>
                  <a:spLocks/>
                </p:cNvSpPr>
                <p:nvPr/>
              </p:nvSpPr>
              <p:spPr bwMode="auto">
                <a:xfrm>
                  <a:off x="-1576" y="1683"/>
                  <a:ext cx="2" cy="2"/>
                </a:xfrm>
                <a:custGeom>
                  <a:avLst/>
                  <a:gdLst>
                    <a:gd name="T0" fmla="*/ 0 w 2"/>
                    <a:gd name="T1" fmla="*/ 0 h 2"/>
                    <a:gd name="T2" fmla="*/ 0 w 2"/>
                    <a:gd name="T3" fmla="*/ 0 h 2"/>
                    <a:gd name="T4" fmla="*/ 0 w 2"/>
                    <a:gd name="T5" fmla="*/ 0 h 2"/>
                    <a:gd name="T6" fmla="*/ 0 w 2"/>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9" name="Freeform 90"/>
                <p:cNvSpPr>
                  <a:spLocks/>
                </p:cNvSpPr>
                <p:nvPr/>
              </p:nvSpPr>
              <p:spPr bwMode="auto">
                <a:xfrm>
                  <a:off x="-1210" y="2810"/>
                  <a:ext cx="2" cy="3"/>
                </a:xfrm>
                <a:custGeom>
                  <a:avLst/>
                  <a:gdLst>
                    <a:gd name="T0" fmla="*/ 2 w 2"/>
                    <a:gd name="T1" fmla="*/ 0 h 1"/>
                    <a:gd name="T2" fmla="*/ 0 w 2"/>
                    <a:gd name="T3" fmla="*/ 0 h 1"/>
                    <a:gd name="T4" fmla="*/ 0 w 2"/>
                    <a:gd name="T5" fmla="*/ 3 h 1"/>
                    <a:gd name="T6" fmla="*/ 2 w 2"/>
                    <a:gd name="T7" fmla="*/ 3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0" name="Freeform 91"/>
                <p:cNvSpPr>
                  <a:spLocks/>
                </p:cNvSpPr>
                <p:nvPr/>
              </p:nvSpPr>
              <p:spPr bwMode="auto">
                <a:xfrm>
                  <a:off x="-1057" y="3276"/>
                  <a:ext cx="7" cy="2"/>
                </a:xfrm>
                <a:custGeom>
                  <a:avLst/>
                  <a:gdLst>
                    <a:gd name="T0" fmla="*/ 7 w 3"/>
                    <a:gd name="T1" fmla="*/ 0 h 1"/>
                    <a:gd name="T2" fmla="*/ 0 w 3"/>
                    <a:gd name="T3" fmla="*/ 0 h 1"/>
                    <a:gd name="T4" fmla="*/ 2 w 3"/>
                    <a:gd name="T5" fmla="*/ 2 h 1"/>
                    <a:gd name="T6" fmla="*/ 7 w 3"/>
                    <a:gd name="T7" fmla="*/ 2 h 1"/>
                    <a:gd name="T8" fmla="*/ 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1" name="Freeform 92"/>
                <p:cNvSpPr>
                  <a:spLocks/>
                </p:cNvSpPr>
                <p:nvPr/>
              </p:nvSpPr>
              <p:spPr bwMode="auto">
                <a:xfrm>
                  <a:off x="-1014" y="3357"/>
                  <a:ext cx="21" cy="31"/>
                </a:xfrm>
                <a:custGeom>
                  <a:avLst/>
                  <a:gdLst>
                    <a:gd name="T0" fmla="*/ 7 w 9"/>
                    <a:gd name="T1" fmla="*/ 0 h 13"/>
                    <a:gd name="T2" fmla="*/ 0 w 9"/>
                    <a:gd name="T3" fmla="*/ 0 h 13"/>
                    <a:gd name="T4" fmla="*/ 19 w 9"/>
                    <a:gd name="T5" fmla="*/ 31 h 13"/>
                    <a:gd name="T6" fmla="*/ 21 w 9"/>
                    <a:gd name="T7" fmla="*/ 29 h 13"/>
                    <a:gd name="T8" fmla="*/ 19 w 9"/>
                    <a:gd name="T9" fmla="*/ 21 h 13"/>
                    <a:gd name="T10" fmla="*/ 7 w 9"/>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2" name="Freeform 93"/>
                <p:cNvSpPr>
                  <a:spLocks/>
                </p:cNvSpPr>
                <p:nvPr/>
              </p:nvSpPr>
              <p:spPr bwMode="auto">
                <a:xfrm>
                  <a:off x="-1014" y="3355"/>
                  <a:ext cx="7" cy="2"/>
                </a:xfrm>
                <a:custGeom>
                  <a:avLst/>
                  <a:gdLst>
                    <a:gd name="T0" fmla="*/ 5 w 3"/>
                    <a:gd name="T1" fmla="*/ 0 h 1"/>
                    <a:gd name="T2" fmla="*/ 0 w 3"/>
                    <a:gd name="T3" fmla="*/ 0 h 1"/>
                    <a:gd name="T4" fmla="*/ 0 w 3"/>
                    <a:gd name="T5" fmla="*/ 2 h 1"/>
                    <a:gd name="T6" fmla="*/ 7 w 3"/>
                    <a:gd name="T7" fmla="*/ 2 h 1"/>
                    <a:gd name="T8" fmla="*/ 5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3" name="Freeform 94"/>
                <p:cNvSpPr>
                  <a:spLocks/>
                </p:cNvSpPr>
                <p:nvPr/>
              </p:nvSpPr>
              <p:spPr bwMode="auto">
                <a:xfrm>
                  <a:off x="-1246" y="2498"/>
                  <a:ext cx="5" cy="3"/>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4" name="Freeform 95"/>
                <p:cNvSpPr>
                  <a:spLocks/>
                </p:cNvSpPr>
                <p:nvPr/>
              </p:nvSpPr>
              <p:spPr bwMode="auto">
                <a:xfrm>
                  <a:off x="-1282" y="2256"/>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5" name="Freeform 96"/>
                <p:cNvSpPr>
                  <a:spLocks noEditPoints="1"/>
                </p:cNvSpPr>
                <p:nvPr/>
              </p:nvSpPr>
              <p:spPr bwMode="auto">
                <a:xfrm>
                  <a:off x="-1637" y="1524"/>
                  <a:ext cx="820" cy="460"/>
                </a:xfrm>
                <a:custGeom>
                  <a:avLst/>
                  <a:gdLst>
                    <a:gd name="T0" fmla="*/ 576 w 346"/>
                    <a:gd name="T1" fmla="*/ 234 h 193"/>
                    <a:gd name="T2" fmla="*/ 571 w 346"/>
                    <a:gd name="T3" fmla="*/ 234 h 193"/>
                    <a:gd name="T4" fmla="*/ 818 w 346"/>
                    <a:gd name="T5" fmla="*/ 460 h 193"/>
                    <a:gd name="T6" fmla="*/ 820 w 346"/>
                    <a:gd name="T7" fmla="*/ 460 h 193"/>
                    <a:gd name="T8" fmla="*/ 576 w 346"/>
                    <a:gd name="T9" fmla="*/ 234 h 193"/>
                    <a:gd name="T10" fmla="*/ 441 w 346"/>
                    <a:gd name="T11" fmla="*/ 160 h 193"/>
                    <a:gd name="T12" fmla="*/ 436 w 346"/>
                    <a:gd name="T13" fmla="*/ 160 h 193"/>
                    <a:gd name="T14" fmla="*/ 566 w 346"/>
                    <a:gd name="T15" fmla="*/ 231 h 193"/>
                    <a:gd name="T16" fmla="*/ 571 w 346"/>
                    <a:gd name="T17" fmla="*/ 231 h 193"/>
                    <a:gd name="T18" fmla="*/ 441 w 346"/>
                    <a:gd name="T19" fmla="*/ 160 h 193"/>
                    <a:gd name="T20" fmla="*/ 0 w 346"/>
                    <a:gd name="T21" fmla="*/ 0 h 193"/>
                    <a:gd name="T22" fmla="*/ 0 w 346"/>
                    <a:gd name="T23" fmla="*/ 2 h 193"/>
                    <a:gd name="T24" fmla="*/ 26 w 346"/>
                    <a:gd name="T25" fmla="*/ 10 h 193"/>
                    <a:gd name="T26" fmla="*/ 431 w 346"/>
                    <a:gd name="T27" fmla="*/ 157 h 193"/>
                    <a:gd name="T28" fmla="*/ 438 w 346"/>
                    <a:gd name="T29" fmla="*/ 157 h 193"/>
                    <a:gd name="T30" fmla="*/ 0 w 346"/>
                    <a:gd name="T31" fmla="*/ 0 h 19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6" name="Freeform 97"/>
                <p:cNvSpPr>
                  <a:spLocks/>
                </p:cNvSpPr>
                <p:nvPr/>
              </p:nvSpPr>
              <p:spPr bwMode="auto">
                <a:xfrm>
                  <a:off x="-1073" y="1754"/>
                  <a:ext cx="12" cy="2"/>
                </a:xfrm>
                <a:custGeom>
                  <a:avLst/>
                  <a:gdLst>
                    <a:gd name="T0" fmla="*/ 6 w 4"/>
                    <a:gd name="T1" fmla="*/ 0 h 1"/>
                    <a:gd name="T2" fmla="*/ 0 w 4"/>
                    <a:gd name="T3" fmla="*/ 0 h 1"/>
                    <a:gd name="T4" fmla="*/ 6 w 4"/>
                    <a:gd name="T5" fmla="*/ 2 h 1"/>
                    <a:gd name="T6" fmla="*/ 12 w 4"/>
                    <a:gd name="T7" fmla="*/ 2 h 1"/>
                    <a:gd name="T8" fmla="*/ 6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7" name="Freeform 98"/>
                <p:cNvSpPr>
                  <a:spLocks/>
                </p:cNvSpPr>
                <p:nvPr/>
              </p:nvSpPr>
              <p:spPr bwMode="auto">
                <a:xfrm>
                  <a:off x="-1206" y="1682"/>
                  <a:ext cx="10" cy="3"/>
                </a:xfrm>
                <a:custGeom>
                  <a:avLst/>
                  <a:gdLst>
                    <a:gd name="T0" fmla="*/ 8 w 4"/>
                    <a:gd name="T1" fmla="*/ 0 h 1"/>
                    <a:gd name="T2" fmla="*/ 0 w 4"/>
                    <a:gd name="T3" fmla="*/ 0 h 1"/>
                    <a:gd name="T4" fmla="*/ 5 w 4"/>
                    <a:gd name="T5" fmla="*/ 3 h 1"/>
                    <a:gd name="T6" fmla="*/ 10 w 4"/>
                    <a:gd name="T7" fmla="*/ 3 h 1"/>
                    <a:gd name="T8" fmla="*/ 8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8" name="Freeform 99"/>
                <p:cNvSpPr>
                  <a:spLocks/>
                </p:cNvSpPr>
                <p:nvPr/>
              </p:nvSpPr>
              <p:spPr bwMode="auto">
                <a:xfrm>
                  <a:off x="-955" y="1987"/>
                  <a:ext cx="214" cy="270"/>
                </a:xfrm>
                <a:custGeom>
                  <a:avLst/>
                  <a:gdLst>
                    <a:gd name="T0" fmla="*/ 7 w 91"/>
                    <a:gd name="T1" fmla="*/ 0 h 114"/>
                    <a:gd name="T2" fmla="*/ 0 w 91"/>
                    <a:gd name="T3" fmla="*/ 0 h 114"/>
                    <a:gd name="T4" fmla="*/ 0 w 91"/>
                    <a:gd name="T5" fmla="*/ 0 h 114"/>
                    <a:gd name="T6" fmla="*/ 0 w 91"/>
                    <a:gd name="T7" fmla="*/ 0 h 114"/>
                    <a:gd name="T8" fmla="*/ 2 w 91"/>
                    <a:gd name="T9" fmla="*/ 0 h 114"/>
                    <a:gd name="T10" fmla="*/ 5 w 91"/>
                    <a:gd name="T11" fmla="*/ 2 h 114"/>
                    <a:gd name="T12" fmla="*/ 193 w 91"/>
                    <a:gd name="T13" fmla="*/ 237 h 114"/>
                    <a:gd name="T14" fmla="*/ 195 w 91"/>
                    <a:gd name="T15" fmla="*/ 237 h 114"/>
                    <a:gd name="T16" fmla="*/ 195 w 91"/>
                    <a:gd name="T17" fmla="*/ 239 h 114"/>
                    <a:gd name="T18" fmla="*/ 195 w 91"/>
                    <a:gd name="T19" fmla="*/ 239 h 114"/>
                    <a:gd name="T20" fmla="*/ 209 w 91"/>
                    <a:gd name="T21" fmla="*/ 270 h 114"/>
                    <a:gd name="T22" fmla="*/ 214 w 91"/>
                    <a:gd name="T23" fmla="*/ 270 h 114"/>
                    <a:gd name="T24" fmla="*/ 7 w 91"/>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9" name="Freeform 100"/>
                <p:cNvSpPr>
                  <a:spLocks/>
                </p:cNvSpPr>
                <p:nvPr/>
              </p:nvSpPr>
              <p:spPr bwMode="auto">
                <a:xfrm>
                  <a:off x="-761" y="2222"/>
                  <a:ext cx="3" cy="3"/>
                </a:xfrm>
                <a:custGeom>
                  <a:avLst/>
                  <a:gdLst>
                    <a:gd name="T0" fmla="*/ 3 w 1"/>
                    <a:gd name="T1" fmla="*/ 0 h 1"/>
                    <a:gd name="T2" fmla="*/ 0 w 1"/>
                    <a:gd name="T3" fmla="*/ 0 h 1"/>
                    <a:gd name="T4" fmla="*/ 3 w 1"/>
                    <a:gd name="T5" fmla="*/ 3 h 1"/>
                    <a:gd name="T6" fmla="*/ 3 w 1"/>
                    <a:gd name="T7" fmla="*/ 3 h 1"/>
                    <a:gd name="T8" fmla="*/ 3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0" name="Freeform 101"/>
                <p:cNvSpPr>
                  <a:spLocks noEditPoints="1"/>
                </p:cNvSpPr>
                <p:nvPr/>
              </p:nvSpPr>
              <p:spPr bwMode="auto">
                <a:xfrm>
                  <a:off x="-743" y="2260"/>
                  <a:ext cx="89" cy="1016"/>
                </a:xfrm>
                <a:custGeom>
                  <a:avLst/>
                  <a:gdLst>
                    <a:gd name="T0" fmla="*/ 61 w 38"/>
                    <a:gd name="T1" fmla="*/ 812 h 429"/>
                    <a:gd name="T2" fmla="*/ 56 w 38"/>
                    <a:gd name="T3" fmla="*/ 812 h 429"/>
                    <a:gd name="T4" fmla="*/ 56 w 38"/>
                    <a:gd name="T5" fmla="*/ 834 h 429"/>
                    <a:gd name="T6" fmla="*/ 47 w 38"/>
                    <a:gd name="T7" fmla="*/ 988 h 429"/>
                    <a:gd name="T8" fmla="*/ 45 w 38"/>
                    <a:gd name="T9" fmla="*/ 1016 h 429"/>
                    <a:gd name="T10" fmla="*/ 49 w 38"/>
                    <a:gd name="T11" fmla="*/ 1016 h 429"/>
                    <a:gd name="T12" fmla="*/ 56 w 38"/>
                    <a:gd name="T13" fmla="*/ 931 h 429"/>
                    <a:gd name="T14" fmla="*/ 61 w 38"/>
                    <a:gd name="T15" fmla="*/ 812 h 429"/>
                    <a:gd name="T16" fmla="*/ 89 w 38"/>
                    <a:gd name="T17" fmla="*/ 552 h 429"/>
                    <a:gd name="T18" fmla="*/ 84 w 38"/>
                    <a:gd name="T19" fmla="*/ 552 h 429"/>
                    <a:gd name="T20" fmla="*/ 56 w 38"/>
                    <a:gd name="T21" fmla="*/ 791 h 429"/>
                    <a:gd name="T22" fmla="*/ 56 w 38"/>
                    <a:gd name="T23" fmla="*/ 793 h 429"/>
                    <a:gd name="T24" fmla="*/ 56 w 38"/>
                    <a:gd name="T25" fmla="*/ 793 h 429"/>
                    <a:gd name="T26" fmla="*/ 56 w 38"/>
                    <a:gd name="T27" fmla="*/ 810 h 429"/>
                    <a:gd name="T28" fmla="*/ 61 w 38"/>
                    <a:gd name="T29" fmla="*/ 810 h 429"/>
                    <a:gd name="T30" fmla="*/ 61 w 38"/>
                    <a:gd name="T31" fmla="*/ 793 h 429"/>
                    <a:gd name="T32" fmla="*/ 87 w 38"/>
                    <a:gd name="T33" fmla="*/ 604 h 429"/>
                    <a:gd name="T34" fmla="*/ 82 w 38"/>
                    <a:gd name="T35" fmla="*/ 604 h 429"/>
                    <a:gd name="T36" fmla="*/ 82 w 38"/>
                    <a:gd name="T37" fmla="*/ 602 h 429"/>
                    <a:gd name="T38" fmla="*/ 87 w 38"/>
                    <a:gd name="T39" fmla="*/ 602 h 429"/>
                    <a:gd name="T40" fmla="*/ 89 w 38"/>
                    <a:gd name="T41" fmla="*/ 552 h 429"/>
                    <a:gd name="T42" fmla="*/ 82 w 38"/>
                    <a:gd name="T43" fmla="*/ 242 h 429"/>
                    <a:gd name="T44" fmla="*/ 77 w 38"/>
                    <a:gd name="T45" fmla="*/ 242 h 429"/>
                    <a:gd name="T46" fmla="*/ 82 w 38"/>
                    <a:gd name="T47" fmla="*/ 272 h 429"/>
                    <a:gd name="T48" fmla="*/ 82 w 38"/>
                    <a:gd name="T49" fmla="*/ 272 h 429"/>
                    <a:gd name="T50" fmla="*/ 82 w 38"/>
                    <a:gd name="T51" fmla="*/ 284 h 429"/>
                    <a:gd name="T52" fmla="*/ 87 w 38"/>
                    <a:gd name="T53" fmla="*/ 443 h 429"/>
                    <a:gd name="T54" fmla="*/ 84 w 38"/>
                    <a:gd name="T55" fmla="*/ 549 h 429"/>
                    <a:gd name="T56" fmla="*/ 89 w 38"/>
                    <a:gd name="T57" fmla="*/ 549 h 429"/>
                    <a:gd name="T58" fmla="*/ 89 w 38"/>
                    <a:gd name="T59" fmla="*/ 530 h 429"/>
                    <a:gd name="T60" fmla="*/ 89 w 38"/>
                    <a:gd name="T61" fmla="*/ 353 h 429"/>
                    <a:gd name="T62" fmla="*/ 87 w 38"/>
                    <a:gd name="T63" fmla="*/ 272 h 429"/>
                    <a:gd name="T64" fmla="*/ 87 w 38"/>
                    <a:gd name="T65" fmla="*/ 272 h 429"/>
                    <a:gd name="T66" fmla="*/ 87 w 38"/>
                    <a:gd name="T67" fmla="*/ 272 h 429"/>
                    <a:gd name="T68" fmla="*/ 82 w 38"/>
                    <a:gd name="T69" fmla="*/ 242 h 429"/>
                    <a:gd name="T70" fmla="*/ 5 w 38"/>
                    <a:gd name="T71" fmla="*/ 0 h 429"/>
                    <a:gd name="T72" fmla="*/ 0 w 38"/>
                    <a:gd name="T73" fmla="*/ 0 h 429"/>
                    <a:gd name="T74" fmla="*/ 77 w 38"/>
                    <a:gd name="T75" fmla="*/ 239 h 429"/>
                    <a:gd name="T76" fmla="*/ 82 w 38"/>
                    <a:gd name="T77" fmla="*/ 239 h 429"/>
                    <a:gd name="T78" fmla="*/ 5 w 38"/>
                    <a:gd name="T79" fmla="*/ 0 h 4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1" name="Freeform 102"/>
                <p:cNvSpPr>
                  <a:spLocks/>
                </p:cNvSpPr>
                <p:nvPr/>
              </p:nvSpPr>
              <p:spPr bwMode="auto">
                <a:xfrm>
                  <a:off x="-685" y="3070"/>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2" name="Freeform 103"/>
                <p:cNvSpPr>
                  <a:spLocks/>
                </p:cNvSpPr>
                <p:nvPr/>
              </p:nvSpPr>
              <p:spPr bwMode="auto">
                <a:xfrm>
                  <a:off x="-659" y="2861"/>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3" name="Freeform 104"/>
                <p:cNvSpPr>
                  <a:spLocks noEditPoints="1"/>
                </p:cNvSpPr>
                <p:nvPr/>
              </p:nvSpPr>
              <p:spPr bwMode="auto">
                <a:xfrm>
                  <a:off x="-1681" y="1524"/>
                  <a:ext cx="989" cy="1876"/>
                </a:xfrm>
                <a:custGeom>
                  <a:avLst/>
                  <a:gdLst>
                    <a:gd name="T0" fmla="*/ 989 w 418"/>
                    <a:gd name="T1" fmla="*/ 1755 h 791"/>
                    <a:gd name="T2" fmla="*/ 984 w 418"/>
                    <a:gd name="T3" fmla="*/ 1755 h 791"/>
                    <a:gd name="T4" fmla="*/ 972 w 418"/>
                    <a:gd name="T5" fmla="*/ 1831 h 791"/>
                    <a:gd name="T6" fmla="*/ 972 w 418"/>
                    <a:gd name="T7" fmla="*/ 1831 h 791"/>
                    <a:gd name="T8" fmla="*/ 972 w 418"/>
                    <a:gd name="T9" fmla="*/ 1833 h 791"/>
                    <a:gd name="T10" fmla="*/ 970 w 418"/>
                    <a:gd name="T11" fmla="*/ 1833 h 791"/>
                    <a:gd name="T12" fmla="*/ 961 w 418"/>
                    <a:gd name="T13" fmla="*/ 1874 h 791"/>
                    <a:gd name="T14" fmla="*/ 963 w 418"/>
                    <a:gd name="T15" fmla="*/ 1876 h 791"/>
                    <a:gd name="T16" fmla="*/ 989 w 418"/>
                    <a:gd name="T17" fmla="*/ 1755 h 791"/>
                    <a:gd name="T18" fmla="*/ 509 w 418"/>
                    <a:gd name="T19" fmla="*/ 232 h 791"/>
                    <a:gd name="T20" fmla="*/ 499 w 418"/>
                    <a:gd name="T21" fmla="*/ 232 h 791"/>
                    <a:gd name="T22" fmla="*/ 726 w 418"/>
                    <a:gd name="T23" fmla="*/ 460 h 791"/>
                    <a:gd name="T24" fmla="*/ 731 w 418"/>
                    <a:gd name="T25" fmla="*/ 460 h 791"/>
                    <a:gd name="T26" fmla="*/ 731 w 418"/>
                    <a:gd name="T27" fmla="*/ 460 h 791"/>
                    <a:gd name="T28" fmla="*/ 509 w 418"/>
                    <a:gd name="T29" fmla="*/ 232 h 791"/>
                    <a:gd name="T30" fmla="*/ 2 w 418"/>
                    <a:gd name="T31" fmla="*/ 0 h 791"/>
                    <a:gd name="T32" fmla="*/ 0 w 418"/>
                    <a:gd name="T33" fmla="*/ 5 h 791"/>
                    <a:gd name="T34" fmla="*/ 21 w 418"/>
                    <a:gd name="T35" fmla="*/ 9 h 791"/>
                    <a:gd name="T36" fmla="*/ 383 w 418"/>
                    <a:gd name="T37" fmla="*/ 157 h 791"/>
                    <a:gd name="T38" fmla="*/ 390 w 418"/>
                    <a:gd name="T39" fmla="*/ 157 h 791"/>
                    <a:gd name="T40" fmla="*/ 390 w 418"/>
                    <a:gd name="T41" fmla="*/ 159 h 791"/>
                    <a:gd name="T42" fmla="*/ 386 w 418"/>
                    <a:gd name="T43" fmla="*/ 159 h 791"/>
                    <a:gd name="T44" fmla="*/ 497 w 418"/>
                    <a:gd name="T45" fmla="*/ 230 h 791"/>
                    <a:gd name="T46" fmla="*/ 504 w 418"/>
                    <a:gd name="T47" fmla="*/ 230 h 791"/>
                    <a:gd name="T48" fmla="*/ 2 w 418"/>
                    <a:gd name="T49" fmla="*/ 0 h 7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4" name="Freeform 105"/>
                <p:cNvSpPr>
                  <a:spLocks/>
                </p:cNvSpPr>
                <p:nvPr/>
              </p:nvSpPr>
              <p:spPr bwMode="auto">
                <a:xfrm>
                  <a:off x="-1185" y="1754"/>
                  <a:ext cx="13" cy="2"/>
                </a:xfrm>
                <a:custGeom>
                  <a:avLst/>
                  <a:gdLst>
                    <a:gd name="T0" fmla="*/ 8 w 5"/>
                    <a:gd name="T1" fmla="*/ 0 h 1"/>
                    <a:gd name="T2" fmla="*/ 0 w 5"/>
                    <a:gd name="T3" fmla="*/ 0 h 1"/>
                    <a:gd name="T4" fmla="*/ 3 w 5"/>
                    <a:gd name="T5" fmla="*/ 2 h 1"/>
                    <a:gd name="T6" fmla="*/ 13 w 5"/>
                    <a:gd name="T7" fmla="*/ 2 h 1"/>
                    <a:gd name="T8" fmla="*/ 8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5" name="Freeform 106"/>
                <p:cNvSpPr>
                  <a:spLocks/>
                </p:cNvSpPr>
                <p:nvPr/>
              </p:nvSpPr>
              <p:spPr bwMode="auto">
                <a:xfrm>
                  <a:off x="-1298" y="1682"/>
                  <a:ext cx="7" cy="3"/>
                </a:xfrm>
                <a:custGeom>
                  <a:avLst/>
                  <a:gdLst>
                    <a:gd name="T0" fmla="*/ 7 w 3"/>
                    <a:gd name="T1" fmla="*/ 0 h 1"/>
                    <a:gd name="T2" fmla="*/ 0 w 3"/>
                    <a:gd name="T3" fmla="*/ 0 h 1"/>
                    <a:gd name="T4" fmla="*/ 2 w 3"/>
                    <a:gd name="T5" fmla="*/ 3 h 1"/>
                    <a:gd name="T6" fmla="*/ 7 w 3"/>
                    <a:gd name="T7" fmla="*/ 3 h 1"/>
                    <a:gd name="T8" fmla="*/ 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6" name="Freeform 107"/>
                <p:cNvSpPr>
                  <a:spLocks/>
                </p:cNvSpPr>
                <p:nvPr/>
              </p:nvSpPr>
              <p:spPr bwMode="auto">
                <a:xfrm>
                  <a:off x="-656" y="2810"/>
                  <a:ext cx="2" cy="3"/>
                </a:xfrm>
                <a:custGeom>
                  <a:avLst/>
                  <a:gdLst>
                    <a:gd name="T0" fmla="*/ 2 w 2"/>
                    <a:gd name="T1" fmla="*/ 0 h 1"/>
                    <a:gd name="T2" fmla="*/ 0 w 2"/>
                    <a:gd name="T3" fmla="*/ 0 h 1"/>
                    <a:gd name="T4" fmla="*/ 0 w 2"/>
                    <a:gd name="T5" fmla="*/ 3 h 1"/>
                    <a:gd name="T6" fmla="*/ 2 w 2"/>
                    <a:gd name="T7" fmla="*/ 3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7" name="Freeform 108"/>
                <p:cNvSpPr>
                  <a:spLocks/>
                </p:cNvSpPr>
                <p:nvPr/>
              </p:nvSpPr>
              <p:spPr bwMode="auto">
                <a:xfrm>
                  <a:off x="-697" y="3276"/>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8" name="Freeform 109"/>
                <p:cNvSpPr>
                  <a:spLocks/>
                </p:cNvSpPr>
                <p:nvPr/>
              </p:nvSpPr>
              <p:spPr bwMode="auto">
                <a:xfrm>
                  <a:off x="-713" y="3355"/>
                  <a:ext cx="3" cy="2"/>
                </a:xfrm>
                <a:custGeom>
                  <a:avLst/>
                  <a:gdLst>
                    <a:gd name="T0" fmla="*/ 3 w 1"/>
                    <a:gd name="T1" fmla="*/ 0 h 1"/>
                    <a:gd name="T2" fmla="*/ 3 w 1"/>
                    <a:gd name="T3" fmla="*/ 0 h 1"/>
                    <a:gd name="T4" fmla="*/ 0 w 1"/>
                    <a:gd name="T5" fmla="*/ 2 h 1"/>
                    <a:gd name="T6" fmla="*/ 3 w 1"/>
                    <a:gd name="T7" fmla="*/ 2 h 1"/>
                    <a:gd name="T8" fmla="*/ 3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9" name="Freeform 110"/>
                <p:cNvSpPr>
                  <a:spLocks/>
                </p:cNvSpPr>
                <p:nvPr/>
              </p:nvSpPr>
              <p:spPr bwMode="auto">
                <a:xfrm>
                  <a:off x="-664"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0" name="Freeform 111"/>
                <p:cNvSpPr>
                  <a:spLocks/>
                </p:cNvSpPr>
                <p:nvPr/>
              </p:nvSpPr>
              <p:spPr bwMode="auto">
                <a:xfrm>
                  <a:off x="-746" y="2256"/>
                  <a:ext cx="8" cy="3"/>
                </a:xfrm>
                <a:custGeom>
                  <a:avLst/>
                  <a:gdLst>
                    <a:gd name="T0" fmla="*/ 5 w 3"/>
                    <a:gd name="T1" fmla="*/ 0 h 1"/>
                    <a:gd name="T2" fmla="*/ 0 w 3"/>
                    <a:gd name="T3" fmla="*/ 0 h 1"/>
                    <a:gd name="T4" fmla="*/ 3 w 3"/>
                    <a:gd name="T5" fmla="*/ 3 h 1"/>
                    <a:gd name="T6" fmla="*/ 8 w 3"/>
                    <a:gd name="T7" fmla="*/ 3 h 1"/>
                    <a:gd name="T8" fmla="*/ 5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1" name="Freeform 112"/>
                <p:cNvSpPr>
                  <a:spLocks noEditPoints="1"/>
                </p:cNvSpPr>
                <p:nvPr/>
              </p:nvSpPr>
              <p:spPr bwMode="auto">
                <a:xfrm>
                  <a:off x="-1101" y="1987"/>
                  <a:ext cx="182" cy="270"/>
                </a:xfrm>
                <a:custGeom>
                  <a:avLst/>
                  <a:gdLst>
                    <a:gd name="T0" fmla="*/ 165 w 76"/>
                    <a:gd name="T1" fmla="*/ 239 h 114"/>
                    <a:gd name="T2" fmla="*/ 160 w 76"/>
                    <a:gd name="T3" fmla="*/ 239 h 114"/>
                    <a:gd name="T4" fmla="*/ 177 w 76"/>
                    <a:gd name="T5" fmla="*/ 270 h 114"/>
                    <a:gd name="T6" fmla="*/ 182 w 76"/>
                    <a:gd name="T7" fmla="*/ 270 h 114"/>
                    <a:gd name="T8" fmla="*/ 165 w 76"/>
                    <a:gd name="T9" fmla="*/ 239 h 114"/>
                    <a:gd name="T10" fmla="*/ 5 w 76"/>
                    <a:gd name="T11" fmla="*/ 0 h 114"/>
                    <a:gd name="T12" fmla="*/ 0 w 76"/>
                    <a:gd name="T13" fmla="*/ 0 h 114"/>
                    <a:gd name="T14" fmla="*/ 19 w 76"/>
                    <a:gd name="T15" fmla="*/ 26 h 114"/>
                    <a:gd name="T16" fmla="*/ 158 w 76"/>
                    <a:gd name="T17" fmla="*/ 237 h 114"/>
                    <a:gd name="T18" fmla="*/ 163 w 76"/>
                    <a:gd name="T19" fmla="*/ 237 h 114"/>
                    <a:gd name="T20" fmla="*/ 24 w 76"/>
                    <a:gd name="T21" fmla="*/ 24 h 114"/>
                    <a:gd name="T22" fmla="*/ 5 w 76"/>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2" name="Freeform 113"/>
                <p:cNvSpPr>
                  <a:spLocks/>
                </p:cNvSpPr>
                <p:nvPr/>
              </p:nvSpPr>
              <p:spPr bwMode="auto">
                <a:xfrm>
                  <a:off x="-943" y="2222"/>
                  <a:ext cx="7" cy="3"/>
                </a:xfrm>
                <a:custGeom>
                  <a:avLst/>
                  <a:gdLst>
                    <a:gd name="T0" fmla="*/ 5 w 3"/>
                    <a:gd name="T1" fmla="*/ 0 h 1"/>
                    <a:gd name="T2" fmla="*/ 0 w 3"/>
                    <a:gd name="T3" fmla="*/ 0 h 1"/>
                    <a:gd name="T4" fmla="*/ 2 w 3"/>
                    <a:gd name="T5" fmla="*/ 3 h 1"/>
                    <a:gd name="T6" fmla="*/ 7 w 3"/>
                    <a:gd name="T7" fmla="*/ 3 h 1"/>
                    <a:gd name="T8" fmla="*/ 5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3" name="Freeform 114"/>
                <p:cNvSpPr>
                  <a:spLocks noEditPoints="1"/>
                </p:cNvSpPr>
                <p:nvPr/>
              </p:nvSpPr>
              <p:spPr bwMode="auto">
                <a:xfrm>
                  <a:off x="-924" y="2260"/>
                  <a:ext cx="107" cy="1016"/>
                </a:xfrm>
                <a:custGeom>
                  <a:avLst/>
                  <a:gdLst>
                    <a:gd name="T0" fmla="*/ 91 w 46"/>
                    <a:gd name="T1" fmla="*/ 812 h 429"/>
                    <a:gd name="T2" fmla="*/ 86 w 46"/>
                    <a:gd name="T3" fmla="*/ 812 h 429"/>
                    <a:gd name="T4" fmla="*/ 102 w 46"/>
                    <a:gd name="T5" fmla="*/ 1016 h 429"/>
                    <a:gd name="T6" fmla="*/ 107 w 46"/>
                    <a:gd name="T7" fmla="*/ 1016 h 429"/>
                    <a:gd name="T8" fmla="*/ 91 w 46"/>
                    <a:gd name="T9" fmla="*/ 812 h 429"/>
                    <a:gd name="T10" fmla="*/ 84 w 46"/>
                    <a:gd name="T11" fmla="*/ 552 h 429"/>
                    <a:gd name="T12" fmla="*/ 79 w 46"/>
                    <a:gd name="T13" fmla="*/ 552 h 429"/>
                    <a:gd name="T14" fmla="*/ 86 w 46"/>
                    <a:gd name="T15" fmla="*/ 793 h 429"/>
                    <a:gd name="T16" fmla="*/ 86 w 46"/>
                    <a:gd name="T17" fmla="*/ 793 h 429"/>
                    <a:gd name="T18" fmla="*/ 86 w 46"/>
                    <a:gd name="T19" fmla="*/ 798 h 429"/>
                    <a:gd name="T20" fmla="*/ 86 w 46"/>
                    <a:gd name="T21" fmla="*/ 810 h 429"/>
                    <a:gd name="T22" fmla="*/ 91 w 46"/>
                    <a:gd name="T23" fmla="*/ 810 h 429"/>
                    <a:gd name="T24" fmla="*/ 91 w 46"/>
                    <a:gd name="T25" fmla="*/ 798 h 429"/>
                    <a:gd name="T26" fmla="*/ 91 w 46"/>
                    <a:gd name="T27" fmla="*/ 793 h 429"/>
                    <a:gd name="T28" fmla="*/ 91 w 46"/>
                    <a:gd name="T29" fmla="*/ 793 h 429"/>
                    <a:gd name="T30" fmla="*/ 91 w 46"/>
                    <a:gd name="T31" fmla="*/ 793 h 429"/>
                    <a:gd name="T32" fmla="*/ 84 w 46"/>
                    <a:gd name="T33" fmla="*/ 552 h 429"/>
                    <a:gd name="T34" fmla="*/ 70 w 46"/>
                    <a:gd name="T35" fmla="*/ 242 h 429"/>
                    <a:gd name="T36" fmla="*/ 65 w 46"/>
                    <a:gd name="T37" fmla="*/ 242 h 429"/>
                    <a:gd name="T38" fmla="*/ 70 w 46"/>
                    <a:gd name="T39" fmla="*/ 268 h 429"/>
                    <a:gd name="T40" fmla="*/ 79 w 46"/>
                    <a:gd name="T41" fmla="*/ 542 h 429"/>
                    <a:gd name="T42" fmla="*/ 79 w 46"/>
                    <a:gd name="T43" fmla="*/ 549 h 429"/>
                    <a:gd name="T44" fmla="*/ 84 w 46"/>
                    <a:gd name="T45" fmla="*/ 549 h 429"/>
                    <a:gd name="T46" fmla="*/ 74 w 46"/>
                    <a:gd name="T47" fmla="*/ 268 h 429"/>
                    <a:gd name="T48" fmla="*/ 70 w 46"/>
                    <a:gd name="T49" fmla="*/ 242 h 429"/>
                    <a:gd name="T50" fmla="*/ 7 w 46"/>
                    <a:gd name="T51" fmla="*/ 0 h 429"/>
                    <a:gd name="T52" fmla="*/ 0 w 46"/>
                    <a:gd name="T53" fmla="*/ 0 h 429"/>
                    <a:gd name="T54" fmla="*/ 5 w 46"/>
                    <a:gd name="T55" fmla="*/ 5 h 429"/>
                    <a:gd name="T56" fmla="*/ 65 w 46"/>
                    <a:gd name="T57" fmla="*/ 239 h 429"/>
                    <a:gd name="T58" fmla="*/ 70 w 46"/>
                    <a:gd name="T59" fmla="*/ 239 h 429"/>
                    <a:gd name="T60" fmla="*/ 9 w 46"/>
                    <a:gd name="T61" fmla="*/ 5 h 429"/>
                    <a:gd name="T62" fmla="*/ 7 w 4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4" name="Freeform 115"/>
                <p:cNvSpPr>
                  <a:spLocks/>
                </p:cNvSpPr>
                <p:nvPr/>
              </p:nvSpPr>
              <p:spPr bwMode="auto">
                <a:xfrm>
                  <a:off x="-838" y="3070"/>
                  <a:ext cx="3" cy="2"/>
                </a:xfrm>
                <a:custGeom>
                  <a:avLst/>
                  <a:gdLst>
                    <a:gd name="T0" fmla="*/ 3 w 2"/>
                    <a:gd name="T1" fmla="*/ 0 h 1"/>
                    <a:gd name="T2" fmla="*/ 0 w 2"/>
                    <a:gd name="T3" fmla="*/ 0 h 1"/>
                    <a:gd name="T4" fmla="*/ 0 w 2"/>
                    <a:gd name="T5" fmla="*/ 2 h 1"/>
                    <a:gd name="T6" fmla="*/ 3 w 2"/>
                    <a:gd name="T7" fmla="*/ 2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5" name="Freeform 116"/>
                <p:cNvSpPr>
                  <a:spLocks noEditPoints="1"/>
                </p:cNvSpPr>
                <p:nvPr/>
              </p:nvSpPr>
              <p:spPr bwMode="auto">
                <a:xfrm>
                  <a:off x="-1712" y="1524"/>
                  <a:ext cx="905" cy="1833"/>
                </a:xfrm>
                <a:custGeom>
                  <a:avLst/>
                  <a:gdLst>
                    <a:gd name="T0" fmla="*/ 896 w 383"/>
                    <a:gd name="T1" fmla="*/ 1755 h 773"/>
                    <a:gd name="T2" fmla="*/ 891 w 383"/>
                    <a:gd name="T3" fmla="*/ 1755 h 773"/>
                    <a:gd name="T4" fmla="*/ 900 w 383"/>
                    <a:gd name="T5" fmla="*/ 1831 h 773"/>
                    <a:gd name="T6" fmla="*/ 905 w 383"/>
                    <a:gd name="T7" fmla="*/ 1831 h 773"/>
                    <a:gd name="T8" fmla="*/ 905 w 383"/>
                    <a:gd name="T9" fmla="*/ 1833 h 773"/>
                    <a:gd name="T10" fmla="*/ 905 w 383"/>
                    <a:gd name="T11" fmla="*/ 1833 h 773"/>
                    <a:gd name="T12" fmla="*/ 903 w 383"/>
                    <a:gd name="T13" fmla="*/ 1802 h 773"/>
                    <a:gd name="T14" fmla="*/ 896 w 383"/>
                    <a:gd name="T15" fmla="*/ 1755 h 773"/>
                    <a:gd name="T16" fmla="*/ 423 w 383"/>
                    <a:gd name="T17" fmla="*/ 232 h 773"/>
                    <a:gd name="T18" fmla="*/ 416 w 383"/>
                    <a:gd name="T19" fmla="*/ 232 h 773"/>
                    <a:gd name="T20" fmla="*/ 447 w 383"/>
                    <a:gd name="T21" fmla="*/ 258 h 773"/>
                    <a:gd name="T22" fmla="*/ 610 w 383"/>
                    <a:gd name="T23" fmla="*/ 460 h 773"/>
                    <a:gd name="T24" fmla="*/ 617 w 383"/>
                    <a:gd name="T25" fmla="*/ 460 h 773"/>
                    <a:gd name="T26" fmla="*/ 449 w 383"/>
                    <a:gd name="T27" fmla="*/ 254 h 773"/>
                    <a:gd name="T28" fmla="*/ 423 w 383"/>
                    <a:gd name="T29" fmla="*/ 232 h 773"/>
                    <a:gd name="T30" fmla="*/ 2 w 383"/>
                    <a:gd name="T31" fmla="*/ 0 h 773"/>
                    <a:gd name="T32" fmla="*/ 0 w 383"/>
                    <a:gd name="T33" fmla="*/ 5 h 773"/>
                    <a:gd name="T34" fmla="*/ 414 w 383"/>
                    <a:gd name="T35" fmla="*/ 230 h 773"/>
                    <a:gd name="T36" fmla="*/ 421 w 383"/>
                    <a:gd name="T37" fmla="*/ 230 h 773"/>
                    <a:gd name="T38" fmla="*/ 2 w 383"/>
                    <a:gd name="T39" fmla="*/ 0 h 7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6" name="Freeform 117"/>
                <p:cNvSpPr>
                  <a:spLocks/>
                </p:cNvSpPr>
                <p:nvPr/>
              </p:nvSpPr>
              <p:spPr bwMode="auto">
                <a:xfrm>
                  <a:off x="-1298" y="1754"/>
                  <a:ext cx="10" cy="2"/>
                </a:xfrm>
                <a:custGeom>
                  <a:avLst/>
                  <a:gdLst>
                    <a:gd name="T0" fmla="*/ 8 w 4"/>
                    <a:gd name="T1" fmla="*/ 0 h 1"/>
                    <a:gd name="T2" fmla="*/ 0 w 4"/>
                    <a:gd name="T3" fmla="*/ 0 h 1"/>
                    <a:gd name="T4" fmla="*/ 3 w 4"/>
                    <a:gd name="T5" fmla="*/ 2 h 1"/>
                    <a:gd name="T6" fmla="*/ 10 w 4"/>
                    <a:gd name="T7" fmla="*/ 2 h 1"/>
                    <a:gd name="T8" fmla="*/ 8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7" name="Freeform 118"/>
                <p:cNvSpPr>
                  <a:spLocks/>
                </p:cNvSpPr>
                <p:nvPr/>
              </p:nvSpPr>
              <p:spPr bwMode="auto">
                <a:xfrm>
                  <a:off x="-843" y="2810"/>
                  <a:ext cx="3" cy="3"/>
                </a:xfrm>
                <a:custGeom>
                  <a:avLst/>
                  <a:gdLst>
                    <a:gd name="T0" fmla="*/ 3 w 2"/>
                    <a:gd name="T1" fmla="*/ 0 h 1"/>
                    <a:gd name="T2" fmla="*/ 0 w 2"/>
                    <a:gd name="T3" fmla="*/ 0 h 1"/>
                    <a:gd name="T4" fmla="*/ 0 w 2"/>
                    <a:gd name="T5" fmla="*/ 3 h 1"/>
                    <a:gd name="T6" fmla="*/ 3 w 2"/>
                    <a:gd name="T7" fmla="*/ 3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8" name="Freeform 119"/>
                <p:cNvSpPr>
                  <a:spLocks/>
                </p:cNvSpPr>
                <p:nvPr/>
              </p:nvSpPr>
              <p:spPr bwMode="auto">
                <a:xfrm>
                  <a:off x="-820" y="3276"/>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9" name="Freeform 120"/>
                <p:cNvSpPr>
                  <a:spLocks/>
                </p:cNvSpPr>
                <p:nvPr/>
              </p:nvSpPr>
              <p:spPr bwMode="auto">
                <a:xfrm>
                  <a:off x="-810" y="3357"/>
                  <a:ext cx="2" cy="0"/>
                </a:xfrm>
                <a:custGeom>
                  <a:avLst/>
                  <a:gdLst>
                    <a:gd name="T0" fmla="*/ 2 w 1"/>
                    <a:gd name="T1" fmla="*/ 0 w 1"/>
                    <a:gd name="T2" fmla="*/ 0 w 1"/>
                    <a:gd name="T3" fmla="*/ 2 w 1"/>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0" name="Freeform 121"/>
                <p:cNvSpPr>
                  <a:spLocks/>
                </p:cNvSpPr>
                <p:nvPr/>
              </p:nvSpPr>
              <p:spPr bwMode="auto">
                <a:xfrm>
                  <a:off x="-810" y="3355"/>
                  <a:ext cx="3" cy="2"/>
                </a:xfrm>
                <a:custGeom>
                  <a:avLst/>
                  <a:gdLst>
                    <a:gd name="T0" fmla="*/ 3 w 2"/>
                    <a:gd name="T1" fmla="*/ 0 h 1"/>
                    <a:gd name="T2" fmla="*/ 0 w 2"/>
                    <a:gd name="T3" fmla="*/ 0 h 1"/>
                    <a:gd name="T4" fmla="*/ 0 w 2"/>
                    <a:gd name="T5" fmla="*/ 2 h 1"/>
                    <a:gd name="T6" fmla="*/ 2 w 2"/>
                    <a:gd name="T7" fmla="*/ 2 h 1"/>
                    <a:gd name="T8" fmla="*/ 3 w 2"/>
                    <a:gd name="T9" fmla="*/ 2 h 1"/>
                    <a:gd name="T10" fmla="*/ 3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1" name="Freeform 122"/>
                <p:cNvSpPr>
                  <a:spLocks/>
                </p:cNvSpPr>
                <p:nvPr/>
              </p:nvSpPr>
              <p:spPr bwMode="auto">
                <a:xfrm>
                  <a:off x="-858"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2" name="Freeform 123"/>
                <p:cNvSpPr>
                  <a:spLocks/>
                </p:cNvSpPr>
                <p:nvPr/>
              </p:nvSpPr>
              <p:spPr bwMode="auto">
                <a:xfrm>
                  <a:off x="-924" y="2256"/>
                  <a:ext cx="7" cy="3"/>
                </a:xfrm>
                <a:custGeom>
                  <a:avLst/>
                  <a:gdLst>
                    <a:gd name="T0" fmla="*/ 5 w 3"/>
                    <a:gd name="T1" fmla="*/ 0 h 1"/>
                    <a:gd name="T2" fmla="*/ 0 w 3"/>
                    <a:gd name="T3" fmla="*/ 0 h 1"/>
                    <a:gd name="T4" fmla="*/ 0 w 3"/>
                    <a:gd name="T5" fmla="*/ 3 h 1"/>
                    <a:gd name="T6" fmla="*/ 7 w 3"/>
                    <a:gd name="T7" fmla="*/ 3 h 1"/>
                    <a:gd name="T8" fmla="*/ 5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3" name="Freeform 124"/>
                <p:cNvSpPr>
                  <a:spLocks noEditPoints="1"/>
                </p:cNvSpPr>
                <p:nvPr/>
              </p:nvSpPr>
              <p:spPr bwMode="auto">
                <a:xfrm>
                  <a:off x="-2698" y="2452"/>
                  <a:ext cx="105" cy="824"/>
                </a:xfrm>
                <a:custGeom>
                  <a:avLst/>
                  <a:gdLst>
                    <a:gd name="T0" fmla="*/ 37 w 45"/>
                    <a:gd name="T1" fmla="*/ 620 h 348"/>
                    <a:gd name="T2" fmla="*/ 33 w 45"/>
                    <a:gd name="T3" fmla="*/ 620 h 348"/>
                    <a:gd name="T4" fmla="*/ 33 w 45"/>
                    <a:gd name="T5" fmla="*/ 630 h 348"/>
                    <a:gd name="T6" fmla="*/ 0 w 45"/>
                    <a:gd name="T7" fmla="*/ 824 h 348"/>
                    <a:gd name="T8" fmla="*/ 5 w 45"/>
                    <a:gd name="T9" fmla="*/ 824 h 348"/>
                    <a:gd name="T10" fmla="*/ 37 w 45"/>
                    <a:gd name="T11" fmla="*/ 620 h 348"/>
                    <a:gd name="T12" fmla="*/ 79 w 45"/>
                    <a:gd name="T13" fmla="*/ 360 h 348"/>
                    <a:gd name="T14" fmla="*/ 75 w 45"/>
                    <a:gd name="T15" fmla="*/ 360 h 348"/>
                    <a:gd name="T16" fmla="*/ 47 w 45"/>
                    <a:gd name="T17" fmla="*/ 566 h 348"/>
                    <a:gd name="T18" fmla="*/ 37 w 45"/>
                    <a:gd name="T19" fmla="*/ 606 h 348"/>
                    <a:gd name="T20" fmla="*/ 35 w 45"/>
                    <a:gd name="T21" fmla="*/ 616 h 348"/>
                    <a:gd name="T22" fmla="*/ 35 w 45"/>
                    <a:gd name="T23" fmla="*/ 616 h 348"/>
                    <a:gd name="T24" fmla="*/ 35 w 45"/>
                    <a:gd name="T25" fmla="*/ 618 h 348"/>
                    <a:gd name="T26" fmla="*/ 35 w 45"/>
                    <a:gd name="T27" fmla="*/ 618 h 348"/>
                    <a:gd name="T28" fmla="*/ 35 w 45"/>
                    <a:gd name="T29" fmla="*/ 618 h 348"/>
                    <a:gd name="T30" fmla="*/ 40 w 45"/>
                    <a:gd name="T31" fmla="*/ 618 h 348"/>
                    <a:gd name="T32" fmla="*/ 79 w 45"/>
                    <a:gd name="T33" fmla="*/ 360 h 348"/>
                    <a:gd name="T34" fmla="*/ 100 w 45"/>
                    <a:gd name="T35" fmla="*/ 50 h 348"/>
                    <a:gd name="T36" fmla="*/ 96 w 45"/>
                    <a:gd name="T37" fmla="*/ 50 h 348"/>
                    <a:gd name="T38" fmla="*/ 100 w 45"/>
                    <a:gd name="T39" fmla="*/ 123 h 348"/>
                    <a:gd name="T40" fmla="*/ 100 w 45"/>
                    <a:gd name="T41" fmla="*/ 130 h 348"/>
                    <a:gd name="T42" fmla="*/ 100 w 45"/>
                    <a:gd name="T43" fmla="*/ 130 h 348"/>
                    <a:gd name="T44" fmla="*/ 98 w 45"/>
                    <a:gd name="T45" fmla="*/ 156 h 348"/>
                    <a:gd name="T46" fmla="*/ 75 w 45"/>
                    <a:gd name="T47" fmla="*/ 358 h 348"/>
                    <a:gd name="T48" fmla="*/ 79 w 45"/>
                    <a:gd name="T49" fmla="*/ 358 h 348"/>
                    <a:gd name="T50" fmla="*/ 105 w 45"/>
                    <a:gd name="T51" fmla="*/ 130 h 348"/>
                    <a:gd name="T52" fmla="*/ 105 w 45"/>
                    <a:gd name="T53" fmla="*/ 130 h 348"/>
                    <a:gd name="T54" fmla="*/ 105 w 45"/>
                    <a:gd name="T55" fmla="*/ 123 h 348"/>
                    <a:gd name="T56" fmla="*/ 100 w 45"/>
                    <a:gd name="T57" fmla="*/ 50 h 348"/>
                    <a:gd name="T58" fmla="*/ 96 w 45"/>
                    <a:gd name="T59" fmla="*/ 0 h 348"/>
                    <a:gd name="T60" fmla="*/ 96 w 45"/>
                    <a:gd name="T61" fmla="*/ 2 h 348"/>
                    <a:gd name="T62" fmla="*/ 91 w 45"/>
                    <a:gd name="T63" fmla="*/ 2 h 348"/>
                    <a:gd name="T64" fmla="*/ 91 w 45"/>
                    <a:gd name="T65" fmla="*/ 2 h 348"/>
                    <a:gd name="T66" fmla="*/ 96 w 45"/>
                    <a:gd name="T67" fmla="*/ 47 h 348"/>
                    <a:gd name="T68" fmla="*/ 100 w 45"/>
                    <a:gd name="T69" fmla="*/ 47 h 348"/>
                    <a:gd name="T70" fmla="*/ 96 w 45"/>
                    <a:gd name="T71" fmla="*/ 0 h 3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4" name="Freeform 125"/>
                <p:cNvSpPr>
                  <a:spLocks/>
                </p:cNvSpPr>
                <p:nvPr/>
              </p:nvSpPr>
              <p:spPr bwMode="auto">
                <a:xfrm>
                  <a:off x="-2665" y="3070"/>
                  <a:ext cx="8" cy="2"/>
                </a:xfrm>
                <a:custGeom>
                  <a:avLst/>
                  <a:gdLst>
                    <a:gd name="T0" fmla="*/ 8 w 3"/>
                    <a:gd name="T1" fmla="*/ 0 h 1"/>
                    <a:gd name="T2" fmla="*/ 3 w 3"/>
                    <a:gd name="T3" fmla="*/ 0 h 1"/>
                    <a:gd name="T4" fmla="*/ 3 w 3"/>
                    <a:gd name="T5" fmla="*/ 0 h 1"/>
                    <a:gd name="T6" fmla="*/ 0 w 3"/>
                    <a:gd name="T7" fmla="*/ 2 h 1"/>
                    <a:gd name="T8" fmla="*/ 5 w 3"/>
                    <a:gd name="T9" fmla="*/ 2 h 1"/>
                    <a:gd name="T10" fmla="*/ 8 w 3"/>
                    <a:gd name="T11" fmla="*/ 0 h 1"/>
                    <a:gd name="T12" fmla="*/ 8 w 3"/>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5" name="Freeform 126"/>
                <p:cNvSpPr>
                  <a:spLocks/>
                </p:cNvSpPr>
                <p:nvPr/>
              </p:nvSpPr>
              <p:spPr bwMode="auto">
                <a:xfrm>
                  <a:off x="-2795" y="3278"/>
                  <a:ext cx="102" cy="260"/>
                </a:xfrm>
                <a:custGeom>
                  <a:avLst/>
                  <a:gdLst>
                    <a:gd name="T0" fmla="*/ 102 w 43"/>
                    <a:gd name="T1" fmla="*/ 0 h 109"/>
                    <a:gd name="T2" fmla="*/ 95 w 43"/>
                    <a:gd name="T3" fmla="*/ 0 h 109"/>
                    <a:gd name="T4" fmla="*/ 0 w 43"/>
                    <a:gd name="T5" fmla="*/ 258 h 109"/>
                    <a:gd name="T6" fmla="*/ 2 w 43"/>
                    <a:gd name="T7" fmla="*/ 260 h 109"/>
                    <a:gd name="T8" fmla="*/ 5 w 43"/>
                    <a:gd name="T9" fmla="*/ 260 h 109"/>
                    <a:gd name="T10" fmla="*/ 78 w 43"/>
                    <a:gd name="T11" fmla="*/ 79 h 109"/>
                    <a:gd name="T12" fmla="*/ 78 w 43"/>
                    <a:gd name="T13" fmla="*/ 76 h 109"/>
                    <a:gd name="T14" fmla="*/ 81 w 43"/>
                    <a:gd name="T15" fmla="*/ 76 h 109"/>
                    <a:gd name="T16" fmla="*/ 102 w 43"/>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6" name="Freeform 127"/>
                <p:cNvSpPr>
                  <a:spLocks/>
                </p:cNvSpPr>
                <p:nvPr/>
              </p:nvSpPr>
              <p:spPr bwMode="auto">
                <a:xfrm>
                  <a:off x="-2623" y="2810"/>
                  <a:ext cx="3" cy="3"/>
                </a:xfrm>
                <a:custGeom>
                  <a:avLst/>
                  <a:gdLst>
                    <a:gd name="T0" fmla="*/ 3 w 2"/>
                    <a:gd name="T1" fmla="*/ 0 h 1"/>
                    <a:gd name="T2" fmla="*/ 0 w 2"/>
                    <a:gd name="T3" fmla="*/ 0 h 1"/>
                    <a:gd name="T4" fmla="*/ 0 w 2"/>
                    <a:gd name="T5" fmla="*/ 0 h 1"/>
                    <a:gd name="T6" fmla="*/ 0 w 2"/>
                    <a:gd name="T7" fmla="*/ 0 h 1"/>
                    <a:gd name="T8" fmla="*/ 0 w 2"/>
                    <a:gd name="T9" fmla="*/ 0 h 1"/>
                    <a:gd name="T10" fmla="*/ 0 w 2"/>
                    <a:gd name="T11" fmla="*/ 3 h 1"/>
                    <a:gd name="T12" fmla="*/ 3 w 2"/>
                    <a:gd name="T13" fmla="*/ 3 h 1"/>
                    <a:gd name="T14" fmla="*/ 3 w 2"/>
                    <a:gd name="T15" fmla="*/ 3 h 1"/>
                    <a:gd name="T16" fmla="*/ 3 w 2"/>
                    <a:gd name="T17" fmla="*/ 3 h 1"/>
                    <a:gd name="T18" fmla="*/ 3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7" name="Freeform 128"/>
                <p:cNvSpPr>
                  <a:spLocks/>
                </p:cNvSpPr>
                <p:nvPr/>
              </p:nvSpPr>
              <p:spPr bwMode="auto">
                <a:xfrm>
                  <a:off x="-2702" y="3276"/>
                  <a:ext cx="8" cy="2"/>
                </a:xfrm>
                <a:custGeom>
                  <a:avLst/>
                  <a:gdLst>
                    <a:gd name="T0" fmla="*/ 8 w 3"/>
                    <a:gd name="T1" fmla="*/ 0 h 1"/>
                    <a:gd name="T2" fmla="*/ 3 w 3"/>
                    <a:gd name="T3" fmla="*/ 0 h 1"/>
                    <a:gd name="T4" fmla="*/ 0 w 3"/>
                    <a:gd name="T5" fmla="*/ 2 h 1"/>
                    <a:gd name="T6" fmla="*/ 8 w 3"/>
                    <a:gd name="T7" fmla="*/ 2 h 1"/>
                    <a:gd name="T8" fmla="*/ 8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8" name="Freeform 129"/>
                <p:cNvSpPr>
                  <a:spLocks/>
                </p:cNvSpPr>
                <p:nvPr/>
              </p:nvSpPr>
              <p:spPr bwMode="auto">
                <a:xfrm>
                  <a:off x="-2718" y="3355"/>
                  <a:ext cx="2" cy="2"/>
                </a:xfrm>
                <a:custGeom>
                  <a:avLst/>
                  <a:gdLst>
                    <a:gd name="T0" fmla="*/ 2 w 1"/>
                    <a:gd name="T1" fmla="*/ 0 h 1"/>
                    <a:gd name="T2" fmla="*/ 0 w 1"/>
                    <a:gd name="T3" fmla="*/ 0 h 1"/>
                    <a:gd name="T4" fmla="*/ 0 w 1"/>
                    <a:gd name="T5" fmla="*/ 2 h 1"/>
                    <a:gd name="T6" fmla="*/ 2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9" name="Freeform 130"/>
                <p:cNvSpPr>
                  <a:spLocks/>
                </p:cNvSpPr>
                <p:nvPr/>
              </p:nvSpPr>
              <p:spPr bwMode="auto">
                <a:xfrm>
                  <a:off x="-2601"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0" name="Freeform 131"/>
                <p:cNvSpPr>
                  <a:spLocks noEditPoints="1"/>
                </p:cNvSpPr>
                <p:nvPr/>
              </p:nvSpPr>
              <p:spPr bwMode="auto">
                <a:xfrm>
                  <a:off x="-3768" y="1987"/>
                  <a:ext cx="118" cy="270"/>
                </a:xfrm>
                <a:custGeom>
                  <a:avLst/>
                  <a:gdLst>
                    <a:gd name="T0" fmla="*/ 14 w 50"/>
                    <a:gd name="T1" fmla="*/ 239 h 114"/>
                    <a:gd name="T2" fmla="*/ 9 w 50"/>
                    <a:gd name="T3" fmla="*/ 239 h 114"/>
                    <a:gd name="T4" fmla="*/ 0 w 50"/>
                    <a:gd name="T5" fmla="*/ 270 h 114"/>
                    <a:gd name="T6" fmla="*/ 7 w 50"/>
                    <a:gd name="T7" fmla="*/ 270 h 114"/>
                    <a:gd name="T8" fmla="*/ 14 w 50"/>
                    <a:gd name="T9" fmla="*/ 239 h 114"/>
                    <a:gd name="T10" fmla="*/ 118 w 50"/>
                    <a:gd name="T11" fmla="*/ 0 h 114"/>
                    <a:gd name="T12" fmla="*/ 113 w 50"/>
                    <a:gd name="T13" fmla="*/ 0 h 114"/>
                    <a:gd name="T14" fmla="*/ 9 w 50"/>
                    <a:gd name="T15" fmla="*/ 237 h 114"/>
                    <a:gd name="T16" fmla="*/ 14 w 50"/>
                    <a:gd name="T17" fmla="*/ 237 h 114"/>
                    <a:gd name="T18" fmla="*/ 50 w 50"/>
                    <a:gd name="T19" fmla="*/ 130 h 114"/>
                    <a:gd name="T20" fmla="*/ 97 w 50"/>
                    <a:gd name="T21" fmla="*/ 31 h 114"/>
                    <a:gd name="T22" fmla="*/ 113 w 50"/>
                    <a:gd name="T23" fmla="*/ 7 h 114"/>
                    <a:gd name="T24" fmla="*/ 118 w 50"/>
                    <a:gd name="T25" fmla="*/ 0 h 114"/>
                    <a:gd name="T26" fmla="*/ 118 w 50"/>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1" name="Freeform 132"/>
                <p:cNvSpPr>
                  <a:spLocks/>
                </p:cNvSpPr>
                <p:nvPr/>
              </p:nvSpPr>
              <p:spPr bwMode="auto">
                <a:xfrm>
                  <a:off x="-3758" y="2222"/>
                  <a:ext cx="3" cy="3"/>
                </a:xfrm>
                <a:custGeom>
                  <a:avLst/>
                  <a:gdLst>
                    <a:gd name="T0" fmla="*/ 3 w 2"/>
                    <a:gd name="T1" fmla="*/ 0 h 1"/>
                    <a:gd name="T2" fmla="*/ 0 w 2"/>
                    <a:gd name="T3" fmla="*/ 0 h 1"/>
                    <a:gd name="T4" fmla="*/ 0 w 2"/>
                    <a:gd name="T5" fmla="*/ 3 h 1"/>
                    <a:gd name="T6" fmla="*/ 3 w 2"/>
                    <a:gd name="T7" fmla="*/ 3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2" name="Freeform 133"/>
                <p:cNvSpPr>
                  <a:spLocks noEditPoints="1"/>
                </p:cNvSpPr>
                <p:nvPr/>
              </p:nvSpPr>
              <p:spPr bwMode="auto">
                <a:xfrm>
                  <a:off x="-3655" y="1522"/>
                  <a:ext cx="329" cy="462"/>
                </a:xfrm>
                <a:custGeom>
                  <a:avLst/>
                  <a:gdLst>
                    <a:gd name="T0" fmla="*/ 97 w 139"/>
                    <a:gd name="T1" fmla="*/ 235 h 195"/>
                    <a:gd name="T2" fmla="*/ 90 w 139"/>
                    <a:gd name="T3" fmla="*/ 235 h 195"/>
                    <a:gd name="T4" fmla="*/ 2 w 139"/>
                    <a:gd name="T5" fmla="*/ 460 h 195"/>
                    <a:gd name="T6" fmla="*/ 0 w 139"/>
                    <a:gd name="T7" fmla="*/ 462 h 195"/>
                    <a:gd name="T8" fmla="*/ 7 w 139"/>
                    <a:gd name="T9" fmla="*/ 462 h 195"/>
                    <a:gd name="T10" fmla="*/ 97 w 139"/>
                    <a:gd name="T11" fmla="*/ 235 h 195"/>
                    <a:gd name="T12" fmla="*/ 149 w 139"/>
                    <a:gd name="T13" fmla="*/ 161 h 195"/>
                    <a:gd name="T14" fmla="*/ 142 w 139"/>
                    <a:gd name="T15" fmla="*/ 161 h 195"/>
                    <a:gd name="T16" fmla="*/ 92 w 139"/>
                    <a:gd name="T17" fmla="*/ 232 h 195"/>
                    <a:gd name="T18" fmla="*/ 97 w 139"/>
                    <a:gd name="T19" fmla="*/ 232 h 195"/>
                    <a:gd name="T20" fmla="*/ 149 w 139"/>
                    <a:gd name="T21" fmla="*/ 161 h 195"/>
                    <a:gd name="T22" fmla="*/ 327 w 139"/>
                    <a:gd name="T23" fmla="*/ 0 h 195"/>
                    <a:gd name="T24" fmla="*/ 327 w 139"/>
                    <a:gd name="T25" fmla="*/ 0 h 195"/>
                    <a:gd name="T26" fmla="*/ 144 w 139"/>
                    <a:gd name="T27" fmla="*/ 159 h 195"/>
                    <a:gd name="T28" fmla="*/ 149 w 139"/>
                    <a:gd name="T29" fmla="*/ 159 h 195"/>
                    <a:gd name="T30" fmla="*/ 149 w 139"/>
                    <a:gd name="T31" fmla="*/ 161 h 195"/>
                    <a:gd name="T32" fmla="*/ 192 w 139"/>
                    <a:gd name="T33" fmla="*/ 114 h 195"/>
                    <a:gd name="T34" fmla="*/ 286 w 139"/>
                    <a:gd name="T35" fmla="*/ 31 h 195"/>
                    <a:gd name="T36" fmla="*/ 317 w 139"/>
                    <a:gd name="T37" fmla="*/ 12 h 195"/>
                    <a:gd name="T38" fmla="*/ 324 w 139"/>
                    <a:gd name="T39" fmla="*/ 7 h 195"/>
                    <a:gd name="T40" fmla="*/ 329 w 139"/>
                    <a:gd name="T41" fmla="*/ 5 h 195"/>
                    <a:gd name="T42" fmla="*/ 327 w 139"/>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3" name="Freeform 134"/>
                <p:cNvSpPr>
                  <a:spLocks/>
                </p:cNvSpPr>
                <p:nvPr/>
              </p:nvSpPr>
              <p:spPr bwMode="auto">
                <a:xfrm>
                  <a:off x="-3564" y="1754"/>
                  <a:ext cx="8" cy="2"/>
                </a:xfrm>
                <a:custGeom>
                  <a:avLst/>
                  <a:gdLst>
                    <a:gd name="T0" fmla="*/ 8 w 3"/>
                    <a:gd name="T1" fmla="*/ 0 h 1"/>
                    <a:gd name="T2" fmla="*/ 3 w 3"/>
                    <a:gd name="T3" fmla="*/ 0 h 1"/>
                    <a:gd name="T4" fmla="*/ 0 w 3"/>
                    <a:gd name="T5" fmla="*/ 2 h 1"/>
                    <a:gd name="T6" fmla="*/ 8 w 3"/>
                    <a:gd name="T7" fmla="*/ 2 h 1"/>
                    <a:gd name="T8" fmla="*/ 8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4" name="Freeform 135"/>
                <p:cNvSpPr>
                  <a:spLocks/>
                </p:cNvSpPr>
                <p:nvPr/>
              </p:nvSpPr>
              <p:spPr bwMode="auto">
                <a:xfrm>
                  <a:off x="-3512" y="1682"/>
                  <a:ext cx="7" cy="3"/>
                </a:xfrm>
                <a:custGeom>
                  <a:avLst/>
                  <a:gdLst>
                    <a:gd name="T0" fmla="*/ 7 w 3"/>
                    <a:gd name="T1" fmla="*/ 0 h 1"/>
                    <a:gd name="T2" fmla="*/ 2 w 3"/>
                    <a:gd name="T3" fmla="*/ 0 h 1"/>
                    <a:gd name="T4" fmla="*/ 0 w 3"/>
                    <a:gd name="T5" fmla="*/ 3 h 1"/>
                    <a:gd name="T6" fmla="*/ 7 w 3"/>
                    <a:gd name="T7" fmla="*/ 3 h 1"/>
                    <a:gd name="T8" fmla="*/ 7 w 3"/>
                    <a:gd name="T9" fmla="*/ 3 h 1"/>
                    <a:gd name="T10" fmla="*/ 7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5" name="Freeform 136"/>
                <p:cNvSpPr>
                  <a:spLocks noEditPoints="1"/>
                </p:cNvSpPr>
                <p:nvPr/>
              </p:nvSpPr>
              <p:spPr bwMode="auto">
                <a:xfrm>
                  <a:off x="-3798" y="2260"/>
                  <a:ext cx="35" cy="1016"/>
                </a:xfrm>
                <a:custGeom>
                  <a:avLst/>
                  <a:gdLst>
                    <a:gd name="T0" fmla="*/ 9 w 15"/>
                    <a:gd name="T1" fmla="*/ 812 h 429"/>
                    <a:gd name="T2" fmla="*/ 5 w 15"/>
                    <a:gd name="T3" fmla="*/ 812 h 429"/>
                    <a:gd name="T4" fmla="*/ 5 w 15"/>
                    <a:gd name="T5" fmla="*/ 841 h 429"/>
                    <a:gd name="T6" fmla="*/ 7 w 15"/>
                    <a:gd name="T7" fmla="*/ 1016 h 429"/>
                    <a:gd name="T8" fmla="*/ 12 w 15"/>
                    <a:gd name="T9" fmla="*/ 1016 h 429"/>
                    <a:gd name="T10" fmla="*/ 9 w 15"/>
                    <a:gd name="T11" fmla="*/ 841 h 429"/>
                    <a:gd name="T12" fmla="*/ 9 w 15"/>
                    <a:gd name="T13" fmla="*/ 812 h 429"/>
                    <a:gd name="T14" fmla="*/ 7 w 15"/>
                    <a:gd name="T15" fmla="*/ 604 h 429"/>
                    <a:gd name="T16" fmla="*/ 2 w 15"/>
                    <a:gd name="T17" fmla="*/ 604 h 429"/>
                    <a:gd name="T18" fmla="*/ 5 w 15"/>
                    <a:gd name="T19" fmla="*/ 774 h 429"/>
                    <a:gd name="T20" fmla="*/ 5 w 15"/>
                    <a:gd name="T21" fmla="*/ 810 h 429"/>
                    <a:gd name="T22" fmla="*/ 9 w 15"/>
                    <a:gd name="T23" fmla="*/ 810 h 429"/>
                    <a:gd name="T24" fmla="*/ 9 w 15"/>
                    <a:gd name="T25" fmla="*/ 793 h 429"/>
                    <a:gd name="T26" fmla="*/ 9 w 15"/>
                    <a:gd name="T27" fmla="*/ 774 h 429"/>
                    <a:gd name="T28" fmla="*/ 9 w 15"/>
                    <a:gd name="T29" fmla="*/ 774 h 429"/>
                    <a:gd name="T30" fmla="*/ 7 w 15"/>
                    <a:gd name="T31" fmla="*/ 604 h 429"/>
                    <a:gd name="T32" fmla="*/ 7 w 15"/>
                    <a:gd name="T33" fmla="*/ 552 h 429"/>
                    <a:gd name="T34" fmla="*/ 2 w 15"/>
                    <a:gd name="T35" fmla="*/ 552 h 429"/>
                    <a:gd name="T36" fmla="*/ 2 w 15"/>
                    <a:gd name="T37" fmla="*/ 602 h 429"/>
                    <a:gd name="T38" fmla="*/ 7 w 15"/>
                    <a:gd name="T39" fmla="*/ 602 h 429"/>
                    <a:gd name="T40" fmla="*/ 7 w 15"/>
                    <a:gd name="T41" fmla="*/ 552 h 429"/>
                    <a:gd name="T42" fmla="*/ 5 w 15"/>
                    <a:gd name="T43" fmla="*/ 242 h 429"/>
                    <a:gd name="T44" fmla="*/ 0 w 15"/>
                    <a:gd name="T45" fmla="*/ 242 h 429"/>
                    <a:gd name="T46" fmla="*/ 0 w 15"/>
                    <a:gd name="T47" fmla="*/ 369 h 429"/>
                    <a:gd name="T48" fmla="*/ 2 w 15"/>
                    <a:gd name="T49" fmla="*/ 549 h 429"/>
                    <a:gd name="T50" fmla="*/ 7 w 15"/>
                    <a:gd name="T51" fmla="*/ 549 h 429"/>
                    <a:gd name="T52" fmla="*/ 5 w 15"/>
                    <a:gd name="T53" fmla="*/ 256 h 429"/>
                    <a:gd name="T54" fmla="*/ 5 w 15"/>
                    <a:gd name="T55" fmla="*/ 242 h 429"/>
                    <a:gd name="T56" fmla="*/ 35 w 15"/>
                    <a:gd name="T57" fmla="*/ 0 h 429"/>
                    <a:gd name="T58" fmla="*/ 30 w 15"/>
                    <a:gd name="T59" fmla="*/ 0 h 429"/>
                    <a:gd name="T60" fmla="*/ 0 w 15"/>
                    <a:gd name="T61" fmla="*/ 220 h 429"/>
                    <a:gd name="T62" fmla="*/ 0 w 15"/>
                    <a:gd name="T63" fmla="*/ 239 h 429"/>
                    <a:gd name="T64" fmla="*/ 5 w 15"/>
                    <a:gd name="T65" fmla="*/ 239 h 429"/>
                    <a:gd name="T66" fmla="*/ 35 w 15"/>
                    <a:gd name="T67" fmla="*/ 0 h 4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6" name="Freeform 137"/>
                <p:cNvSpPr>
                  <a:spLocks/>
                </p:cNvSpPr>
                <p:nvPr/>
              </p:nvSpPr>
              <p:spPr bwMode="auto">
                <a:xfrm>
                  <a:off x="-3793" y="3070"/>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7" name="Freeform 138"/>
                <p:cNvSpPr>
                  <a:spLocks/>
                </p:cNvSpPr>
                <p:nvPr/>
              </p:nvSpPr>
              <p:spPr bwMode="auto">
                <a:xfrm>
                  <a:off x="-3796" y="2861"/>
                  <a:ext cx="3" cy="3"/>
                </a:xfrm>
                <a:custGeom>
                  <a:avLst/>
                  <a:gdLst>
                    <a:gd name="T0" fmla="*/ 3 w 4"/>
                    <a:gd name="T1" fmla="*/ 0 h 2"/>
                    <a:gd name="T2" fmla="*/ 0 w 4"/>
                    <a:gd name="T3" fmla="*/ 0 h 2"/>
                    <a:gd name="T4" fmla="*/ 0 w 4"/>
                    <a:gd name="T5" fmla="*/ 3 h 2"/>
                    <a:gd name="T6" fmla="*/ 3 w 4"/>
                    <a:gd name="T7" fmla="*/ 3 h 2"/>
                    <a:gd name="T8" fmla="*/ 3 w 4"/>
                    <a:gd name="T9" fmla="*/ 0 h 2"/>
                    <a:gd name="T10" fmla="*/ 3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8" name="Freeform 139"/>
                <p:cNvSpPr>
                  <a:spLocks/>
                </p:cNvSpPr>
                <p:nvPr/>
              </p:nvSpPr>
              <p:spPr bwMode="auto">
                <a:xfrm>
                  <a:off x="-3793" y="3278"/>
                  <a:ext cx="15" cy="246"/>
                </a:xfrm>
                <a:custGeom>
                  <a:avLst/>
                  <a:gdLst>
                    <a:gd name="T0" fmla="*/ 5 w 6"/>
                    <a:gd name="T1" fmla="*/ 0 h 103"/>
                    <a:gd name="T2" fmla="*/ 0 w 6"/>
                    <a:gd name="T3" fmla="*/ 0 h 103"/>
                    <a:gd name="T4" fmla="*/ 10 w 6"/>
                    <a:gd name="T5" fmla="*/ 246 h 103"/>
                    <a:gd name="T6" fmla="*/ 15 w 6"/>
                    <a:gd name="T7" fmla="*/ 244 h 103"/>
                    <a:gd name="T8" fmla="*/ 8 w 6"/>
                    <a:gd name="T9" fmla="*/ 74 h 103"/>
                    <a:gd name="T10" fmla="*/ 3 w 6"/>
                    <a:gd name="T11" fmla="*/ 74 h 103"/>
                    <a:gd name="T12" fmla="*/ 3 w 6"/>
                    <a:gd name="T13" fmla="*/ 74 h 103"/>
                    <a:gd name="T14" fmla="*/ 8 w 6"/>
                    <a:gd name="T15" fmla="*/ 74 h 103"/>
                    <a:gd name="T16" fmla="*/ 5 w 6"/>
                    <a:gd name="T17" fmla="*/ 0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9" name="Freeform 140"/>
                <p:cNvSpPr>
                  <a:spLocks/>
                </p:cNvSpPr>
                <p:nvPr/>
              </p:nvSpPr>
              <p:spPr bwMode="auto">
                <a:xfrm>
                  <a:off x="-3796" y="2810"/>
                  <a:ext cx="3" cy="3"/>
                </a:xfrm>
                <a:custGeom>
                  <a:avLst/>
                  <a:gdLst>
                    <a:gd name="T0" fmla="*/ 3 w 4"/>
                    <a:gd name="T1" fmla="*/ 0 h 2"/>
                    <a:gd name="T2" fmla="*/ 0 w 4"/>
                    <a:gd name="T3" fmla="*/ 0 h 2"/>
                    <a:gd name="T4" fmla="*/ 0 w 4"/>
                    <a:gd name="T5" fmla="*/ 3 h 2"/>
                    <a:gd name="T6" fmla="*/ 3 w 4"/>
                    <a:gd name="T7" fmla="*/ 3 h 2"/>
                    <a:gd name="T8" fmla="*/ 3 w 4"/>
                    <a:gd name="T9" fmla="*/ 0 h 2"/>
                    <a:gd name="T10" fmla="*/ 3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0" name="Freeform 141"/>
                <p:cNvSpPr>
                  <a:spLocks/>
                </p:cNvSpPr>
                <p:nvPr/>
              </p:nvSpPr>
              <p:spPr bwMode="auto">
                <a:xfrm>
                  <a:off x="-3793" y="3276"/>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1" name="Freeform 142"/>
                <p:cNvSpPr>
                  <a:spLocks/>
                </p:cNvSpPr>
                <p:nvPr/>
              </p:nvSpPr>
              <p:spPr bwMode="auto">
                <a:xfrm>
                  <a:off x="-3788" y="3352"/>
                  <a:ext cx="5" cy="0"/>
                </a:xfrm>
                <a:custGeom>
                  <a:avLst/>
                  <a:gdLst>
                    <a:gd name="T0" fmla="*/ 5 w 2"/>
                    <a:gd name="T1" fmla="*/ 0 w 2"/>
                    <a:gd name="T2" fmla="*/ 0 w 2"/>
                    <a:gd name="T3" fmla="*/ 5 w 2"/>
                    <a:gd name="T4" fmla="*/ 5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2" name="Freeform 143"/>
                <p:cNvSpPr>
                  <a:spLocks/>
                </p:cNvSpPr>
                <p:nvPr/>
              </p:nvSpPr>
              <p:spPr bwMode="auto">
                <a:xfrm>
                  <a:off x="-3798"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3" name="Freeform 144"/>
                <p:cNvSpPr>
                  <a:spLocks/>
                </p:cNvSpPr>
                <p:nvPr/>
              </p:nvSpPr>
              <p:spPr bwMode="auto">
                <a:xfrm>
                  <a:off x="-3768" y="2256"/>
                  <a:ext cx="8" cy="3"/>
                </a:xfrm>
                <a:custGeom>
                  <a:avLst/>
                  <a:gdLst>
                    <a:gd name="T0" fmla="*/ 8 w 3"/>
                    <a:gd name="T1" fmla="*/ 0 h 1"/>
                    <a:gd name="T2" fmla="*/ 0 w 3"/>
                    <a:gd name="T3" fmla="*/ 0 h 1"/>
                    <a:gd name="T4" fmla="*/ 0 w 3"/>
                    <a:gd name="T5" fmla="*/ 3 h 1"/>
                    <a:gd name="T6" fmla="*/ 5 w 3"/>
                    <a:gd name="T7" fmla="*/ 3 h 1"/>
                    <a:gd name="T8" fmla="*/ 8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4" name="Freeform 145"/>
                <p:cNvSpPr>
                  <a:spLocks noEditPoints="1"/>
                </p:cNvSpPr>
                <p:nvPr/>
              </p:nvSpPr>
              <p:spPr bwMode="auto">
                <a:xfrm>
                  <a:off x="-3668" y="1987"/>
                  <a:ext cx="168" cy="1289"/>
                </a:xfrm>
                <a:custGeom>
                  <a:avLst/>
                  <a:gdLst>
                    <a:gd name="T0" fmla="*/ 33 w 71"/>
                    <a:gd name="T1" fmla="*/ 1085 h 544"/>
                    <a:gd name="T2" fmla="*/ 28 w 71"/>
                    <a:gd name="T3" fmla="*/ 1085 h 544"/>
                    <a:gd name="T4" fmla="*/ 0 w 71"/>
                    <a:gd name="T5" fmla="*/ 1289 h 544"/>
                    <a:gd name="T6" fmla="*/ 5 w 71"/>
                    <a:gd name="T7" fmla="*/ 1289 h 544"/>
                    <a:gd name="T8" fmla="*/ 33 w 71"/>
                    <a:gd name="T9" fmla="*/ 1085 h 544"/>
                    <a:gd name="T10" fmla="*/ 66 w 71"/>
                    <a:gd name="T11" fmla="*/ 825 h 544"/>
                    <a:gd name="T12" fmla="*/ 62 w 71"/>
                    <a:gd name="T13" fmla="*/ 825 h 544"/>
                    <a:gd name="T14" fmla="*/ 31 w 71"/>
                    <a:gd name="T15" fmla="*/ 1047 h 544"/>
                    <a:gd name="T16" fmla="*/ 31 w 71"/>
                    <a:gd name="T17" fmla="*/ 1047 h 544"/>
                    <a:gd name="T18" fmla="*/ 31 w 71"/>
                    <a:gd name="T19" fmla="*/ 1047 h 544"/>
                    <a:gd name="T20" fmla="*/ 31 w 71"/>
                    <a:gd name="T21" fmla="*/ 1057 h 544"/>
                    <a:gd name="T22" fmla="*/ 28 w 71"/>
                    <a:gd name="T23" fmla="*/ 1083 h 544"/>
                    <a:gd name="T24" fmla="*/ 33 w 71"/>
                    <a:gd name="T25" fmla="*/ 1083 h 544"/>
                    <a:gd name="T26" fmla="*/ 35 w 71"/>
                    <a:gd name="T27" fmla="*/ 1050 h 544"/>
                    <a:gd name="T28" fmla="*/ 64 w 71"/>
                    <a:gd name="T29" fmla="*/ 877 h 544"/>
                    <a:gd name="T30" fmla="*/ 64 w 71"/>
                    <a:gd name="T31" fmla="*/ 877 h 544"/>
                    <a:gd name="T32" fmla="*/ 64 w 71"/>
                    <a:gd name="T33" fmla="*/ 874 h 544"/>
                    <a:gd name="T34" fmla="*/ 64 w 71"/>
                    <a:gd name="T35" fmla="*/ 874 h 544"/>
                    <a:gd name="T36" fmla="*/ 66 w 71"/>
                    <a:gd name="T37" fmla="*/ 825 h 544"/>
                    <a:gd name="T38" fmla="*/ 69 w 71"/>
                    <a:gd name="T39" fmla="*/ 514 h 544"/>
                    <a:gd name="T40" fmla="*/ 64 w 71"/>
                    <a:gd name="T41" fmla="*/ 514 h 544"/>
                    <a:gd name="T42" fmla="*/ 64 w 71"/>
                    <a:gd name="T43" fmla="*/ 521 h 544"/>
                    <a:gd name="T44" fmla="*/ 64 w 71"/>
                    <a:gd name="T45" fmla="*/ 528 h 544"/>
                    <a:gd name="T46" fmla="*/ 66 w 71"/>
                    <a:gd name="T47" fmla="*/ 611 h 544"/>
                    <a:gd name="T48" fmla="*/ 62 w 71"/>
                    <a:gd name="T49" fmla="*/ 822 h 544"/>
                    <a:gd name="T50" fmla="*/ 66 w 71"/>
                    <a:gd name="T51" fmla="*/ 822 h 544"/>
                    <a:gd name="T52" fmla="*/ 71 w 71"/>
                    <a:gd name="T53" fmla="*/ 611 h 544"/>
                    <a:gd name="T54" fmla="*/ 69 w 71"/>
                    <a:gd name="T55" fmla="*/ 528 h 544"/>
                    <a:gd name="T56" fmla="*/ 69 w 71"/>
                    <a:gd name="T57" fmla="*/ 521 h 544"/>
                    <a:gd name="T58" fmla="*/ 69 w 71"/>
                    <a:gd name="T59" fmla="*/ 514 h 544"/>
                    <a:gd name="T60" fmla="*/ 92 w 71"/>
                    <a:gd name="T61" fmla="*/ 272 h 544"/>
                    <a:gd name="T62" fmla="*/ 88 w 71"/>
                    <a:gd name="T63" fmla="*/ 272 h 544"/>
                    <a:gd name="T64" fmla="*/ 64 w 71"/>
                    <a:gd name="T65" fmla="*/ 512 h 544"/>
                    <a:gd name="T66" fmla="*/ 69 w 71"/>
                    <a:gd name="T67" fmla="*/ 512 h 544"/>
                    <a:gd name="T68" fmla="*/ 92 w 71"/>
                    <a:gd name="T69" fmla="*/ 272 h 544"/>
                    <a:gd name="T70" fmla="*/ 168 w 71"/>
                    <a:gd name="T71" fmla="*/ 0 h 544"/>
                    <a:gd name="T72" fmla="*/ 163 w 71"/>
                    <a:gd name="T73" fmla="*/ 0 h 544"/>
                    <a:gd name="T74" fmla="*/ 163 w 71"/>
                    <a:gd name="T75" fmla="*/ 0 h 544"/>
                    <a:gd name="T76" fmla="*/ 88 w 71"/>
                    <a:gd name="T77" fmla="*/ 270 h 544"/>
                    <a:gd name="T78" fmla="*/ 92 w 71"/>
                    <a:gd name="T79" fmla="*/ 270 h 544"/>
                    <a:gd name="T80" fmla="*/ 118 w 71"/>
                    <a:gd name="T81" fmla="*/ 149 h 544"/>
                    <a:gd name="T82" fmla="*/ 151 w 71"/>
                    <a:gd name="T83" fmla="*/ 40 h 544"/>
                    <a:gd name="T84" fmla="*/ 163 w 71"/>
                    <a:gd name="T85" fmla="*/ 12 h 544"/>
                    <a:gd name="T86" fmla="*/ 168 w 71"/>
                    <a:gd name="T87" fmla="*/ 2 h 544"/>
                    <a:gd name="T88" fmla="*/ 168 w 71"/>
                    <a:gd name="T89" fmla="*/ 2 h 544"/>
                    <a:gd name="T90" fmla="*/ 168 w 71"/>
                    <a:gd name="T91" fmla="*/ 2 h 544"/>
                    <a:gd name="T92" fmla="*/ 168 w 71"/>
                    <a:gd name="T93" fmla="*/ 0 h 5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5" name="Freeform 146"/>
                <p:cNvSpPr>
                  <a:spLocks/>
                </p:cNvSpPr>
                <p:nvPr/>
              </p:nvSpPr>
              <p:spPr bwMode="auto">
                <a:xfrm>
                  <a:off x="-3640" y="3070"/>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6" name="Freeform 147"/>
                <p:cNvSpPr>
                  <a:spLocks/>
                </p:cNvSpPr>
                <p:nvPr/>
              </p:nvSpPr>
              <p:spPr bwMode="auto">
                <a:xfrm>
                  <a:off x="-3604" y="2861"/>
                  <a:ext cx="2" cy="3"/>
                </a:xfrm>
                <a:custGeom>
                  <a:avLst/>
                  <a:gdLst>
                    <a:gd name="T0" fmla="*/ 0 w 2"/>
                    <a:gd name="T1" fmla="*/ 0 h 1"/>
                    <a:gd name="T2" fmla="*/ 0 w 2"/>
                    <a:gd name="T3" fmla="*/ 0 h 1"/>
                    <a:gd name="T4" fmla="*/ 0 w 2"/>
                    <a:gd name="T5" fmla="*/ 3 h 1"/>
                    <a:gd name="T6" fmla="*/ 0 w 2"/>
                    <a:gd name="T7" fmla="*/ 3 h 1"/>
                    <a:gd name="T8" fmla="*/ 0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7" name="Freeform 148"/>
                <p:cNvSpPr>
                  <a:spLocks noEditPoints="1"/>
                </p:cNvSpPr>
                <p:nvPr/>
              </p:nvSpPr>
              <p:spPr bwMode="auto">
                <a:xfrm>
                  <a:off x="-3714" y="1522"/>
                  <a:ext cx="435" cy="1912"/>
                </a:xfrm>
                <a:custGeom>
                  <a:avLst/>
                  <a:gdLst>
                    <a:gd name="T0" fmla="*/ 31 w 184"/>
                    <a:gd name="T1" fmla="*/ 1829 h 807"/>
                    <a:gd name="T2" fmla="*/ 26 w 184"/>
                    <a:gd name="T3" fmla="*/ 1829 h 807"/>
                    <a:gd name="T4" fmla="*/ 0 w 184"/>
                    <a:gd name="T5" fmla="*/ 1912 h 807"/>
                    <a:gd name="T6" fmla="*/ 2 w 184"/>
                    <a:gd name="T7" fmla="*/ 1912 h 807"/>
                    <a:gd name="T8" fmla="*/ 31 w 184"/>
                    <a:gd name="T9" fmla="*/ 1829 h 807"/>
                    <a:gd name="T10" fmla="*/ 47 w 184"/>
                    <a:gd name="T11" fmla="*/ 1756 h 807"/>
                    <a:gd name="T12" fmla="*/ 43 w 184"/>
                    <a:gd name="T13" fmla="*/ 1756 h 807"/>
                    <a:gd name="T14" fmla="*/ 26 w 184"/>
                    <a:gd name="T15" fmla="*/ 1829 h 807"/>
                    <a:gd name="T16" fmla="*/ 31 w 184"/>
                    <a:gd name="T17" fmla="*/ 1829 h 807"/>
                    <a:gd name="T18" fmla="*/ 47 w 184"/>
                    <a:gd name="T19" fmla="*/ 1756 h 807"/>
                    <a:gd name="T20" fmla="*/ 281 w 184"/>
                    <a:gd name="T21" fmla="*/ 235 h 807"/>
                    <a:gd name="T22" fmla="*/ 274 w 184"/>
                    <a:gd name="T23" fmla="*/ 235 h 807"/>
                    <a:gd name="T24" fmla="*/ 208 w 184"/>
                    <a:gd name="T25" fmla="*/ 462 h 807"/>
                    <a:gd name="T26" fmla="*/ 213 w 184"/>
                    <a:gd name="T27" fmla="*/ 462 h 807"/>
                    <a:gd name="T28" fmla="*/ 281 w 184"/>
                    <a:gd name="T29" fmla="*/ 235 h 807"/>
                    <a:gd name="T30" fmla="*/ 433 w 184"/>
                    <a:gd name="T31" fmla="*/ 0 h 807"/>
                    <a:gd name="T32" fmla="*/ 430 w 184"/>
                    <a:gd name="T33" fmla="*/ 0 h 807"/>
                    <a:gd name="T34" fmla="*/ 277 w 184"/>
                    <a:gd name="T35" fmla="*/ 232 h 807"/>
                    <a:gd name="T36" fmla="*/ 281 w 184"/>
                    <a:gd name="T37" fmla="*/ 232 h 807"/>
                    <a:gd name="T38" fmla="*/ 352 w 184"/>
                    <a:gd name="T39" fmla="*/ 97 h 807"/>
                    <a:gd name="T40" fmla="*/ 409 w 184"/>
                    <a:gd name="T41" fmla="*/ 24 h 807"/>
                    <a:gd name="T42" fmla="*/ 428 w 184"/>
                    <a:gd name="T43" fmla="*/ 9 h 807"/>
                    <a:gd name="T44" fmla="*/ 433 w 184"/>
                    <a:gd name="T45" fmla="*/ 5 h 807"/>
                    <a:gd name="T46" fmla="*/ 435 w 184"/>
                    <a:gd name="T47" fmla="*/ 5 h 807"/>
                    <a:gd name="T48" fmla="*/ 433 w 184"/>
                    <a:gd name="T49" fmla="*/ 0 h 8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8" name="Freeform 149"/>
                <p:cNvSpPr>
                  <a:spLocks/>
                </p:cNvSpPr>
                <p:nvPr/>
              </p:nvSpPr>
              <p:spPr bwMode="auto">
                <a:xfrm>
                  <a:off x="-3438" y="1754"/>
                  <a:ext cx="7" cy="2"/>
                </a:xfrm>
                <a:custGeom>
                  <a:avLst/>
                  <a:gdLst>
                    <a:gd name="T0" fmla="*/ 7 w 3"/>
                    <a:gd name="T1" fmla="*/ 0 h 1"/>
                    <a:gd name="T2" fmla="*/ 2 w 3"/>
                    <a:gd name="T3" fmla="*/ 0 h 1"/>
                    <a:gd name="T4" fmla="*/ 0 w 3"/>
                    <a:gd name="T5" fmla="*/ 2 h 1"/>
                    <a:gd name="T6" fmla="*/ 7 w 3"/>
                    <a:gd name="T7" fmla="*/ 2 h 1"/>
                    <a:gd name="T8" fmla="*/ 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9" name="Freeform 150"/>
                <p:cNvSpPr>
                  <a:spLocks/>
                </p:cNvSpPr>
                <p:nvPr/>
              </p:nvSpPr>
              <p:spPr bwMode="auto">
                <a:xfrm>
                  <a:off x="-3607" y="2810"/>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0" name="Freeform 151"/>
                <p:cNvSpPr>
                  <a:spLocks/>
                </p:cNvSpPr>
                <p:nvPr/>
              </p:nvSpPr>
              <p:spPr bwMode="auto">
                <a:xfrm>
                  <a:off x="-3671" y="3276"/>
                  <a:ext cx="8" cy="2"/>
                </a:xfrm>
                <a:custGeom>
                  <a:avLst/>
                  <a:gdLst>
                    <a:gd name="T0" fmla="*/ 8 w 3"/>
                    <a:gd name="T1" fmla="*/ 0 h 1"/>
                    <a:gd name="T2" fmla="*/ 3 w 3"/>
                    <a:gd name="T3" fmla="*/ 0 h 1"/>
                    <a:gd name="T4" fmla="*/ 0 w 3"/>
                    <a:gd name="T5" fmla="*/ 2 h 1"/>
                    <a:gd name="T6" fmla="*/ 5 w 3"/>
                    <a:gd name="T7" fmla="*/ 2 h 1"/>
                    <a:gd name="T8" fmla="*/ 8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1" name="Freeform 152"/>
                <p:cNvSpPr>
                  <a:spLocks/>
                </p:cNvSpPr>
                <p:nvPr/>
              </p:nvSpPr>
              <p:spPr bwMode="auto">
                <a:xfrm>
                  <a:off x="-3686" y="3352"/>
                  <a:ext cx="2"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2" name="Freeform 153"/>
                <p:cNvSpPr>
                  <a:spLocks/>
                </p:cNvSpPr>
                <p:nvPr/>
              </p:nvSpPr>
              <p:spPr bwMode="auto">
                <a:xfrm>
                  <a:off x="-3604"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3" name="Freeform 154"/>
                <p:cNvSpPr>
                  <a:spLocks/>
                </p:cNvSpPr>
                <p:nvPr/>
              </p:nvSpPr>
              <p:spPr bwMode="auto">
                <a:xfrm>
                  <a:off x="-3581" y="2256"/>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4" name="Freeform 155"/>
                <p:cNvSpPr>
                  <a:spLocks noEditPoints="1"/>
                </p:cNvSpPr>
                <p:nvPr/>
              </p:nvSpPr>
              <p:spPr bwMode="auto">
                <a:xfrm>
                  <a:off x="-3395" y="1987"/>
                  <a:ext cx="46" cy="270"/>
                </a:xfrm>
                <a:custGeom>
                  <a:avLst/>
                  <a:gdLst>
                    <a:gd name="T0" fmla="*/ 7 w 19"/>
                    <a:gd name="T1" fmla="*/ 239 h 114"/>
                    <a:gd name="T2" fmla="*/ 2 w 19"/>
                    <a:gd name="T3" fmla="*/ 239 h 114"/>
                    <a:gd name="T4" fmla="*/ 0 w 19"/>
                    <a:gd name="T5" fmla="*/ 270 h 114"/>
                    <a:gd name="T6" fmla="*/ 5 w 19"/>
                    <a:gd name="T7" fmla="*/ 270 h 114"/>
                    <a:gd name="T8" fmla="*/ 7 w 19"/>
                    <a:gd name="T9" fmla="*/ 239 h 114"/>
                    <a:gd name="T10" fmla="*/ 46 w 19"/>
                    <a:gd name="T11" fmla="*/ 0 h 114"/>
                    <a:gd name="T12" fmla="*/ 41 w 19"/>
                    <a:gd name="T13" fmla="*/ 0 h 114"/>
                    <a:gd name="T14" fmla="*/ 41 w 19"/>
                    <a:gd name="T15" fmla="*/ 5 h 114"/>
                    <a:gd name="T16" fmla="*/ 41 w 19"/>
                    <a:gd name="T17" fmla="*/ 5 h 114"/>
                    <a:gd name="T18" fmla="*/ 39 w 19"/>
                    <a:gd name="T19" fmla="*/ 24 h 114"/>
                    <a:gd name="T20" fmla="*/ 31 w 19"/>
                    <a:gd name="T21" fmla="*/ 59 h 114"/>
                    <a:gd name="T22" fmla="*/ 2 w 19"/>
                    <a:gd name="T23" fmla="*/ 237 h 114"/>
                    <a:gd name="T24" fmla="*/ 7 w 19"/>
                    <a:gd name="T25" fmla="*/ 237 h 114"/>
                    <a:gd name="T26" fmla="*/ 36 w 19"/>
                    <a:gd name="T27" fmla="*/ 59 h 114"/>
                    <a:gd name="T28" fmla="*/ 46 w 19"/>
                    <a:gd name="T29" fmla="*/ 5 h 114"/>
                    <a:gd name="T30" fmla="*/ 46 w 19"/>
                    <a:gd name="T31" fmla="*/ 5 h 114"/>
                    <a:gd name="T32" fmla="*/ 46 w 19"/>
                    <a:gd name="T33" fmla="*/ 5 h 114"/>
                    <a:gd name="T34" fmla="*/ 46 w 19"/>
                    <a:gd name="T35" fmla="*/ 0 h 1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5" name="Freeform 156"/>
                <p:cNvSpPr>
                  <a:spLocks/>
                </p:cNvSpPr>
                <p:nvPr/>
              </p:nvSpPr>
              <p:spPr bwMode="auto">
                <a:xfrm>
                  <a:off x="-3392" y="2222"/>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6" name="Freeform 157"/>
                <p:cNvSpPr>
                  <a:spLocks noEditPoints="1"/>
                </p:cNvSpPr>
                <p:nvPr/>
              </p:nvSpPr>
              <p:spPr bwMode="auto">
                <a:xfrm>
                  <a:off x="-3354" y="1522"/>
                  <a:ext cx="118" cy="462"/>
                </a:xfrm>
                <a:custGeom>
                  <a:avLst/>
                  <a:gdLst>
                    <a:gd name="T0" fmla="*/ 28 w 50"/>
                    <a:gd name="T1" fmla="*/ 235 h 195"/>
                    <a:gd name="T2" fmla="*/ 21 w 50"/>
                    <a:gd name="T3" fmla="*/ 235 h 195"/>
                    <a:gd name="T4" fmla="*/ 0 w 50"/>
                    <a:gd name="T5" fmla="*/ 462 h 195"/>
                    <a:gd name="T6" fmla="*/ 5 w 50"/>
                    <a:gd name="T7" fmla="*/ 462 h 195"/>
                    <a:gd name="T8" fmla="*/ 28 w 50"/>
                    <a:gd name="T9" fmla="*/ 235 h 195"/>
                    <a:gd name="T10" fmla="*/ 45 w 50"/>
                    <a:gd name="T11" fmla="*/ 161 h 195"/>
                    <a:gd name="T12" fmla="*/ 40 w 50"/>
                    <a:gd name="T13" fmla="*/ 161 h 195"/>
                    <a:gd name="T14" fmla="*/ 24 w 50"/>
                    <a:gd name="T15" fmla="*/ 232 h 195"/>
                    <a:gd name="T16" fmla="*/ 28 w 50"/>
                    <a:gd name="T17" fmla="*/ 232 h 195"/>
                    <a:gd name="T18" fmla="*/ 45 w 50"/>
                    <a:gd name="T19" fmla="*/ 161 h 195"/>
                    <a:gd name="T20" fmla="*/ 113 w 50"/>
                    <a:gd name="T21" fmla="*/ 0 h 195"/>
                    <a:gd name="T22" fmla="*/ 113 w 50"/>
                    <a:gd name="T23" fmla="*/ 0 h 195"/>
                    <a:gd name="T24" fmla="*/ 40 w 50"/>
                    <a:gd name="T25" fmla="*/ 159 h 195"/>
                    <a:gd name="T26" fmla="*/ 45 w 50"/>
                    <a:gd name="T27" fmla="*/ 159 h 195"/>
                    <a:gd name="T28" fmla="*/ 61 w 50"/>
                    <a:gd name="T29" fmla="*/ 111 h 195"/>
                    <a:gd name="T30" fmla="*/ 99 w 50"/>
                    <a:gd name="T31" fmla="*/ 28 h 195"/>
                    <a:gd name="T32" fmla="*/ 113 w 50"/>
                    <a:gd name="T33" fmla="*/ 9 h 195"/>
                    <a:gd name="T34" fmla="*/ 116 w 50"/>
                    <a:gd name="T35" fmla="*/ 5 h 195"/>
                    <a:gd name="T36" fmla="*/ 118 w 50"/>
                    <a:gd name="T37" fmla="*/ 5 h 195"/>
                    <a:gd name="T38" fmla="*/ 113 w 50"/>
                    <a:gd name="T39" fmla="*/ 0 h 1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7" name="Freeform 158"/>
                <p:cNvSpPr>
                  <a:spLocks/>
                </p:cNvSpPr>
                <p:nvPr/>
              </p:nvSpPr>
              <p:spPr bwMode="auto">
                <a:xfrm>
                  <a:off x="-3333" y="1754"/>
                  <a:ext cx="7" cy="2"/>
                </a:xfrm>
                <a:custGeom>
                  <a:avLst/>
                  <a:gdLst>
                    <a:gd name="T0" fmla="*/ 7 w 3"/>
                    <a:gd name="T1" fmla="*/ 0 h 1"/>
                    <a:gd name="T2" fmla="*/ 2 w 3"/>
                    <a:gd name="T3" fmla="*/ 0 h 1"/>
                    <a:gd name="T4" fmla="*/ 0 w 3"/>
                    <a:gd name="T5" fmla="*/ 2 h 1"/>
                    <a:gd name="T6" fmla="*/ 7 w 3"/>
                    <a:gd name="T7" fmla="*/ 2 h 1"/>
                    <a:gd name="T8" fmla="*/ 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8" name="Freeform 159"/>
                <p:cNvSpPr>
                  <a:spLocks/>
                </p:cNvSpPr>
                <p:nvPr/>
              </p:nvSpPr>
              <p:spPr bwMode="auto">
                <a:xfrm>
                  <a:off x="-3313" y="1682"/>
                  <a:ext cx="3" cy="3"/>
                </a:xfrm>
                <a:custGeom>
                  <a:avLst/>
                  <a:gdLst>
                    <a:gd name="T0" fmla="*/ 3 w 2"/>
                    <a:gd name="T1" fmla="*/ 0 h 1"/>
                    <a:gd name="T2" fmla="*/ 0 w 2"/>
                    <a:gd name="T3" fmla="*/ 0 h 1"/>
                    <a:gd name="T4" fmla="*/ 0 w 2"/>
                    <a:gd name="T5" fmla="*/ 3 h 1"/>
                    <a:gd name="T6" fmla="*/ 3 w 2"/>
                    <a:gd name="T7" fmla="*/ 3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9" name="Freeform 160"/>
                <p:cNvSpPr>
                  <a:spLocks noEditPoints="1"/>
                </p:cNvSpPr>
                <p:nvPr/>
              </p:nvSpPr>
              <p:spPr bwMode="auto">
                <a:xfrm>
                  <a:off x="-3556" y="2260"/>
                  <a:ext cx="166" cy="1016"/>
                </a:xfrm>
                <a:custGeom>
                  <a:avLst/>
                  <a:gdLst>
                    <a:gd name="T0" fmla="*/ 66 w 70"/>
                    <a:gd name="T1" fmla="*/ 812 h 429"/>
                    <a:gd name="T2" fmla="*/ 62 w 70"/>
                    <a:gd name="T3" fmla="*/ 812 h 429"/>
                    <a:gd name="T4" fmla="*/ 0 w 70"/>
                    <a:gd name="T5" fmla="*/ 1016 h 429"/>
                    <a:gd name="T6" fmla="*/ 5 w 70"/>
                    <a:gd name="T7" fmla="*/ 1016 h 429"/>
                    <a:gd name="T8" fmla="*/ 66 w 70"/>
                    <a:gd name="T9" fmla="*/ 812 h 429"/>
                    <a:gd name="T10" fmla="*/ 128 w 70"/>
                    <a:gd name="T11" fmla="*/ 604 h 429"/>
                    <a:gd name="T12" fmla="*/ 123 w 70"/>
                    <a:gd name="T13" fmla="*/ 604 h 429"/>
                    <a:gd name="T14" fmla="*/ 114 w 70"/>
                    <a:gd name="T15" fmla="*/ 632 h 429"/>
                    <a:gd name="T16" fmla="*/ 83 w 70"/>
                    <a:gd name="T17" fmla="*/ 739 h 429"/>
                    <a:gd name="T18" fmla="*/ 71 w 70"/>
                    <a:gd name="T19" fmla="*/ 767 h 429"/>
                    <a:gd name="T20" fmla="*/ 69 w 70"/>
                    <a:gd name="T21" fmla="*/ 779 h 429"/>
                    <a:gd name="T22" fmla="*/ 69 w 70"/>
                    <a:gd name="T23" fmla="*/ 779 h 429"/>
                    <a:gd name="T24" fmla="*/ 69 w 70"/>
                    <a:gd name="T25" fmla="*/ 779 h 429"/>
                    <a:gd name="T26" fmla="*/ 62 w 70"/>
                    <a:gd name="T27" fmla="*/ 810 h 429"/>
                    <a:gd name="T28" fmla="*/ 66 w 70"/>
                    <a:gd name="T29" fmla="*/ 810 h 429"/>
                    <a:gd name="T30" fmla="*/ 74 w 70"/>
                    <a:gd name="T31" fmla="*/ 779 h 429"/>
                    <a:gd name="T32" fmla="*/ 74 w 70"/>
                    <a:gd name="T33" fmla="*/ 779 h 429"/>
                    <a:gd name="T34" fmla="*/ 128 w 70"/>
                    <a:gd name="T35" fmla="*/ 604 h 429"/>
                    <a:gd name="T36" fmla="*/ 140 w 70"/>
                    <a:gd name="T37" fmla="*/ 552 h 429"/>
                    <a:gd name="T38" fmla="*/ 135 w 70"/>
                    <a:gd name="T39" fmla="*/ 552 h 429"/>
                    <a:gd name="T40" fmla="*/ 123 w 70"/>
                    <a:gd name="T41" fmla="*/ 602 h 429"/>
                    <a:gd name="T42" fmla="*/ 128 w 70"/>
                    <a:gd name="T43" fmla="*/ 602 h 429"/>
                    <a:gd name="T44" fmla="*/ 140 w 70"/>
                    <a:gd name="T45" fmla="*/ 552 h 429"/>
                    <a:gd name="T46" fmla="*/ 161 w 70"/>
                    <a:gd name="T47" fmla="*/ 242 h 429"/>
                    <a:gd name="T48" fmla="*/ 157 w 70"/>
                    <a:gd name="T49" fmla="*/ 242 h 429"/>
                    <a:gd name="T50" fmla="*/ 159 w 70"/>
                    <a:gd name="T51" fmla="*/ 261 h 429"/>
                    <a:gd name="T52" fmla="*/ 161 w 70"/>
                    <a:gd name="T53" fmla="*/ 322 h 429"/>
                    <a:gd name="T54" fmla="*/ 135 w 70"/>
                    <a:gd name="T55" fmla="*/ 549 h 429"/>
                    <a:gd name="T56" fmla="*/ 140 w 70"/>
                    <a:gd name="T57" fmla="*/ 549 h 429"/>
                    <a:gd name="T58" fmla="*/ 166 w 70"/>
                    <a:gd name="T59" fmla="*/ 322 h 429"/>
                    <a:gd name="T60" fmla="*/ 164 w 70"/>
                    <a:gd name="T61" fmla="*/ 261 h 429"/>
                    <a:gd name="T62" fmla="*/ 161 w 70"/>
                    <a:gd name="T63" fmla="*/ 242 h 429"/>
                    <a:gd name="T64" fmla="*/ 166 w 70"/>
                    <a:gd name="T65" fmla="*/ 0 h 429"/>
                    <a:gd name="T66" fmla="*/ 161 w 70"/>
                    <a:gd name="T67" fmla="*/ 0 h 429"/>
                    <a:gd name="T68" fmla="*/ 154 w 70"/>
                    <a:gd name="T69" fmla="*/ 137 h 429"/>
                    <a:gd name="T70" fmla="*/ 157 w 70"/>
                    <a:gd name="T71" fmla="*/ 239 h 429"/>
                    <a:gd name="T72" fmla="*/ 161 w 70"/>
                    <a:gd name="T73" fmla="*/ 239 h 429"/>
                    <a:gd name="T74" fmla="*/ 159 w 70"/>
                    <a:gd name="T75" fmla="*/ 137 h 429"/>
                    <a:gd name="T76" fmla="*/ 166 w 70"/>
                    <a:gd name="T77" fmla="*/ 0 h 42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0" name="Freeform 161"/>
                <p:cNvSpPr>
                  <a:spLocks/>
                </p:cNvSpPr>
                <p:nvPr/>
              </p:nvSpPr>
              <p:spPr bwMode="auto">
                <a:xfrm>
                  <a:off x="-3494" y="3070"/>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1" name="Freeform 162"/>
                <p:cNvSpPr>
                  <a:spLocks/>
                </p:cNvSpPr>
                <p:nvPr/>
              </p:nvSpPr>
              <p:spPr bwMode="auto">
                <a:xfrm>
                  <a:off x="-3433" y="2861"/>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2" name="Freeform 163"/>
                <p:cNvSpPr>
                  <a:spLocks noEditPoints="1"/>
                </p:cNvSpPr>
                <p:nvPr/>
              </p:nvSpPr>
              <p:spPr bwMode="auto">
                <a:xfrm>
                  <a:off x="-3627" y="3278"/>
                  <a:ext cx="76" cy="156"/>
                </a:xfrm>
                <a:custGeom>
                  <a:avLst/>
                  <a:gdLst>
                    <a:gd name="T0" fmla="*/ 45 w 32"/>
                    <a:gd name="T1" fmla="*/ 74 h 65"/>
                    <a:gd name="T2" fmla="*/ 40 w 32"/>
                    <a:gd name="T3" fmla="*/ 74 h 65"/>
                    <a:gd name="T4" fmla="*/ 17 w 32"/>
                    <a:gd name="T5" fmla="*/ 125 h 65"/>
                    <a:gd name="T6" fmla="*/ 5 w 32"/>
                    <a:gd name="T7" fmla="*/ 146 h 65"/>
                    <a:gd name="T8" fmla="*/ 0 w 32"/>
                    <a:gd name="T9" fmla="*/ 154 h 65"/>
                    <a:gd name="T10" fmla="*/ 5 w 32"/>
                    <a:gd name="T11" fmla="*/ 156 h 65"/>
                    <a:gd name="T12" fmla="*/ 45 w 32"/>
                    <a:gd name="T13" fmla="*/ 74 h 65"/>
                    <a:gd name="T14" fmla="*/ 76 w 32"/>
                    <a:gd name="T15" fmla="*/ 0 h 65"/>
                    <a:gd name="T16" fmla="*/ 71 w 32"/>
                    <a:gd name="T17" fmla="*/ 0 h 65"/>
                    <a:gd name="T18" fmla="*/ 55 w 32"/>
                    <a:gd name="T19" fmla="*/ 43 h 65"/>
                    <a:gd name="T20" fmla="*/ 40 w 32"/>
                    <a:gd name="T21" fmla="*/ 74 h 65"/>
                    <a:gd name="T22" fmla="*/ 45 w 32"/>
                    <a:gd name="T23" fmla="*/ 74 h 65"/>
                    <a:gd name="T24" fmla="*/ 76 w 32"/>
                    <a:gd name="T25" fmla="*/ 0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3" name="Freeform 164"/>
                <p:cNvSpPr>
                  <a:spLocks/>
                </p:cNvSpPr>
                <p:nvPr/>
              </p:nvSpPr>
              <p:spPr bwMode="auto">
                <a:xfrm>
                  <a:off x="-3421" y="2810"/>
                  <a:ext cx="8" cy="3"/>
                </a:xfrm>
                <a:custGeom>
                  <a:avLst/>
                  <a:gdLst>
                    <a:gd name="T0" fmla="*/ 8 w 2"/>
                    <a:gd name="T1" fmla="*/ 0 h 1"/>
                    <a:gd name="T2" fmla="*/ 0 w 2"/>
                    <a:gd name="T3" fmla="*/ 0 h 1"/>
                    <a:gd name="T4" fmla="*/ 0 w 2"/>
                    <a:gd name="T5" fmla="*/ 3 h 1"/>
                    <a:gd name="T6" fmla="*/ 8 w 2"/>
                    <a:gd name="T7" fmla="*/ 3 h 1"/>
                    <a:gd name="T8" fmla="*/ 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4" name="Freeform 165"/>
                <p:cNvSpPr>
                  <a:spLocks/>
                </p:cNvSpPr>
                <p:nvPr/>
              </p:nvSpPr>
              <p:spPr bwMode="auto">
                <a:xfrm>
                  <a:off x="-3558" y="3276"/>
                  <a:ext cx="7" cy="2"/>
                </a:xfrm>
                <a:custGeom>
                  <a:avLst/>
                  <a:gdLst>
                    <a:gd name="T0" fmla="*/ 7 w 3"/>
                    <a:gd name="T1" fmla="*/ 0 h 1"/>
                    <a:gd name="T2" fmla="*/ 2 w 3"/>
                    <a:gd name="T3" fmla="*/ 0 h 1"/>
                    <a:gd name="T4" fmla="*/ 0 w 3"/>
                    <a:gd name="T5" fmla="*/ 2 h 1"/>
                    <a:gd name="T6" fmla="*/ 5 w 3"/>
                    <a:gd name="T7" fmla="*/ 2 h 1"/>
                    <a:gd name="T8" fmla="*/ 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5" name="Freeform 166"/>
                <p:cNvSpPr>
                  <a:spLocks/>
                </p:cNvSpPr>
                <p:nvPr/>
              </p:nvSpPr>
              <p:spPr bwMode="auto">
                <a:xfrm>
                  <a:off x="-3589" y="3352"/>
                  <a:ext cx="5" cy="0"/>
                </a:xfrm>
                <a:custGeom>
                  <a:avLst/>
                  <a:gdLst>
                    <a:gd name="T0" fmla="*/ 5 w 2"/>
                    <a:gd name="T1" fmla="*/ 0 w 2"/>
                    <a:gd name="T2" fmla="*/ 0 w 2"/>
                    <a:gd name="T3" fmla="*/ 5 w 2"/>
                    <a:gd name="T4" fmla="*/ 5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6" name="Freeform 167"/>
                <p:cNvSpPr>
                  <a:spLocks/>
                </p:cNvSpPr>
                <p:nvPr/>
              </p:nvSpPr>
              <p:spPr bwMode="auto">
                <a:xfrm>
                  <a:off x="-3400"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7" name="Freeform 168"/>
                <p:cNvSpPr>
                  <a:spLocks/>
                </p:cNvSpPr>
                <p:nvPr/>
              </p:nvSpPr>
              <p:spPr bwMode="auto">
                <a:xfrm>
                  <a:off x="-3395" y="2256"/>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8" name="Freeform 169"/>
                <p:cNvSpPr>
                  <a:spLocks/>
                </p:cNvSpPr>
                <p:nvPr/>
              </p:nvSpPr>
              <p:spPr bwMode="auto">
                <a:xfrm>
                  <a:off x="-3201" y="1987"/>
                  <a:ext cx="3" cy="270"/>
                </a:xfrm>
                <a:custGeom>
                  <a:avLst/>
                  <a:gdLst>
                    <a:gd name="T0" fmla="*/ 3 w 3"/>
                    <a:gd name="T1" fmla="*/ 0 h 270"/>
                    <a:gd name="T2" fmla="*/ 0 w 3"/>
                    <a:gd name="T3" fmla="*/ 0 h 270"/>
                    <a:gd name="T4" fmla="*/ 0 w 3"/>
                    <a:gd name="T5" fmla="*/ 270 h 270"/>
                    <a:gd name="T6" fmla="*/ 3 w 3"/>
                    <a:gd name="T7" fmla="*/ 270 h 270"/>
                    <a:gd name="T8" fmla="*/ 3 w 3"/>
                    <a:gd name="T9" fmla="*/ 240 h 270"/>
                    <a:gd name="T10" fmla="*/ 0 w 3"/>
                    <a:gd name="T11" fmla="*/ 240 h 270"/>
                    <a:gd name="T12" fmla="*/ 0 w 3"/>
                    <a:gd name="T13" fmla="*/ 237 h 270"/>
                    <a:gd name="T14" fmla="*/ 3 w 3"/>
                    <a:gd name="T15" fmla="*/ 237 h 270"/>
                    <a:gd name="T16" fmla="*/ 3 w 3"/>
                    <a:gd name="T17" fmla="*/ 0 h 270"/>
                    <a:gd name="T18" fmla="*/ 3 w 3"/>
                    <a:gd name="T19" fmla="*/ 0 h 2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270">
                      <a:moveTo>
                        <a:pt x="3" y="0"/>
                      </a:moveTo>
                      <a:lnTo>
                        <a:pt x="0" y="0"/>
                      </a:lnTo>
                      <a:lnTo>
                        <a:pt x="0" y="270"/>
                      </a:lnTo>
                      <a:lnTo>
                        <a:pt x="3" y="270"/>
                      </a:lnTo>
                      <a:lnTo>
                        <a:pt x="3" y="240"/>
                      </a:lnTo>
                      <a:lnTo>
                        <a:pt x="0" y="240"/>
                      </a:lnTo>
                      <a:lnTo>
                        <a:pt x="0" y="237"/>
                      </a:lnTo>
                      <a:lnTo>
                        <a:pt x="3" y="237"/>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9" name="Freeform 170"/>
                <p:cNvSpPr>
                  <a:spLocks/>
                </p:cNvSpPr>
                <p:nvPr/>
              </p:nvSpPr>
              <p:spPr bwMode="auto">
                <a:xfrm>
                  <a:off x="-3201" y="2222"/>
                  <a:ext cx="3"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0" name="Freeform 171"/>
                <p:cNvSpPr>
                  <a:spLocks noEditPoints="1"/>
                </p:cNvSpPr>
                <p:nvPr/>
              </p:nvSpPr>
              <p:spPr bwMode="auto">
                <a:xfrm>
                  <a:off x="-3203" y="1524"/>
                  <a:ext cx="7" cy="998"/>
                </a:xfrm>
                <a:custGeom>
                  <a:avLst/>
                  <a:gdLst>
                    <a:gd name="T0" fmla="*/ 7 w 7"/>
                    <a:gd name="T1" fmla="*/ 977 h 998"/>
                    <a:gd name="T2" fmla="*/ 5 w 7"/>
                    <a:gd name="T3" fmla="*/ 977 h 998"/>
                    <a:gd name="T4" fmla="*/ 5 w 7"/>
                    <a:gd name="T5" fmla="*/ 998 h 998"/>
                    <a:gd name="T6" fmla="*/ 7 w 7"/>
                    <a:gd name="T7" fmla="*/ 998 h 998"/>
                    <a:gd name="T8" fmla="*/ 7 w 7"/>
                    <a:gd name="T9" fmla="*/ 977 h 998"/>
                    <a:gd name="T10" fmla="*/ 7 w 7"/>
                    <a:gd name="T11" fmla="*/ 977 h 998"/>
                    <a:gd name="T12" fmla="*/ 5 w 7"/>
                    <a:gd name="T13" fmla="*/ 735 h 998"/>
                    <a:gd name="T14" fmla="*/ 2 w 7"/>
                    <a:gd name="T15" fmla="*/ 735 h 998"/>
                    <a:gd name="T16" fmla="*/ 5 w 7"/>
                    <a:gd name="T17" fmla="*/ 974 h 998"/>
                    <a:gd name="T18" fmla="*/ 7 w 7"/>
                    <a:gd name="T19" fmla="*/ 974 h 998"/>
                    <a:gd name="T20" fmla="*/ 5 w 7"/>
                    <a:gd name="T21" fmla="*/ 735 h 998"/>
                    <a:gd name="T22" fmla="*/ 5 w 7"/>
                    <a:gd name="T23" fmla="*/ 735 h 998"/>
                    <a:gd name="T24" fmla="*/ 2 w 7"/>
                    <a:gd name="T25" fmla="*/ 232 h 998"/>
                    <a:gd name="T26" fmla="*/ 0 w 7"/>
                    <a:gd name="T27" fmla="*/ 232 h 998"/>
                    <a:gd name="T28" fmla="*/ 2 w 7"/>
                    <a:gd name="T29" fmla="*/ 460 h 998"/>
                    <a:gd name="T30" fmla="*/ 2 w 7"/>
                    <a:gd name="T31" fmla="*/ 460 h 998"/>
                    <a:gd name="T32" fmla="*/ 2 w 7"/>
                    <a:gd name="T33" fmla="*/ 232 h 998"/>
                    <a:gd name="T34" fmla="*/ 2 w 7"/>
                    <a:gd name="T35" fmla="*/ 232 h 998"/>
                    <a:gd name="T36" fmla="*/ 2 w 7"/>
                    <a:gd name="T37" fmla="*/ 0 h 998"/>
                    <a:gd name="T38" fmla="*/ 0 w 7"/>
                    <a:gd name="T39" fmla="*/ 0 h 998"/>
                    <a:gd name="T40" fmla="*/ 0 w 7"/>
                    <a:gd name="T41" fmla="*/ 230 h 998"/>
                    <a:gd name="T42" fmla="*/ 2 w 7"/>
                    <a:gd name="T43" fmla="*/ 230 h 998"/>
                    <a:gd name="T44" fmla="*/ 2 w 7"/>
                    <a:gd name="T45" fmla="*/ 0 h 998"/>
                    <a:gd name="T46" fmla="*/ 2 w 7"/>
                    <a:gd name="T47" fmla="*/ 0 h 9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 h="998">
                      <a:moveTo>
                        <a:pt x="7" y="977"/>
                      </a:moveTo>
                      <a:lnTo>
                        <a:pt x="5" y="977"/>
                      </a:lnTo>
                      <a:lnTo>
                        <a:pt x="5" y="998"/>
                      </a:lnTo>
                      <a:lnTo>
                        <a:pt x="7" y="998"/>
                      </a:lnTo>
                      <a:lnTo>
                        <a:pt x="7" y="977"/>
                      </a:lnTo>
                      <a:close/>
                      <a:moveTo>
                        <a:pt x="5" y="735"/>
                      </a:moveTo>
                      <a:lnTo>
                        <a:pt x="2" y="735"/>
                      </a:lnTo>
                      <a:lnTo>
                        <a:pt x="5" y="974"/>
                      </a:lnTo>
                      <a:lnTo>
                        <a:pt x="7" y="974"/>
                      </a:lnTo>
                      <a:lnTo>
                        <a:pt x="5" y="735"/>
                      </a:lnTo>
                      <a:close/>
                      <a:moveTo>
                        <a:pt x="2" y="232"/>
                      </a:moveTo>
                      <a:lnTo>
                        <a:pt x="0" y="232"/>
                      </a:lnTo>
                      <a:lnTo>
                        <a:pt x="2" y="460"/>
                      </a:lnTo>
                      <a:lnTo>
                        <a:pt x="2" y="232"/>
                      </a:lnTo>
                      <a:close/>
                      <a:moveTo>
                        <a:pt x="2" y="0"/>
                      </a:moveTo>
                      <a:lnTo>
                        <a:pt x="0" y="0"/>
                      </a:lnTo>
                      <a:lnTo>
                        <a:pt x="0" y="230"/>
                      </a:lnTo>
                      <a:lnTo>
                        <a:pt x="2" y="23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1" name="Freeform 172"/>
                <p:cNvSpPr>
                  <a:spLocks/>
                </p:cNvSpPr>
                <p:nvPr/>
              </p:nvSpPr>
              <p:spPr bwMode="auto">
                <a:xfrm>
                  <a:off x="-3203" y="1754"/>
                  <a:ext cx="2" cy="2"/>
                </a:xfrm>
                <a:custGeom>
                  <a:avLst/>
                  <a:gdLst>
                    <a:gd name="T0" fmla="*/ 2 w 2"/>
                    <a:gd name="T1" fmla="*/ 0 h 2"/>
                    <a:gd name="T2" fmla="*/ 0 w 2"/>
                    <a:gd name="T3" fmla="*/ 0 h 2"/>
                    <a:gd name="T4" fmla="*/ 0 w 2"/>
                    <a:gd name="T5" fmla="*/ 2 h 2"/>
                    <a:gd name="T6" fmla="*/ 2 w 2"/>
                    <a:gd name="T7" fmla="*/ 2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0" y="0"/>
                      </a:lnTo>
                      <a:lnTo>
                        <a:pt x="0" y="2"/>
                      </a:lnTo>
                      <a:lnTo>
                        <a:pt x="2" y="2"/>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2" name="Freeform 173"/>
                <p:cNvSpPr>
                  <a:spLocks/>
                </p:cNvSpPr>
                <p:nvPr/>
              </p:nvSpPr>
              <p:spPr bwMode="auto">
                <a:xfrm>
                  <a:off x="-3198" y="2498"/>
                  <a:ext cx="2" cy="3"/>
                </a:xfrm>
                <a:custGeom>
                  <a:avLst/>
                  <a:gdLst>
                    <a:gd name="T0" fmla="*/ 2 w 2"/>
                    <a:gd name="T1" fmla="*/ 0 h 3"/>
                    <a:gd name="T2" fmla="*/ 0 w 2"/>
                    <a:gd name="T3" fmla="*/ 0 h 3"/>
                    <a:gd name="T4" fmla="*/ 0 w 2"/>
                    <a:gd name="T5" fmla="*/ 3 h 3"/>
                    <a:gd name="T6" fmla="*/ 2 w 2"/>
                    <a:gd name="T7" fmla="*/ 3 h 3"/>
                    <a:gd name="T8" fmla="*/ 2 w 2"/>
                    <a:gd name="T9" fmla="*/ 0 h 3"/>
                    <a:gd name="T10" fmla="*/ 2 w 2"/>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3">
                      <a:moveTo>
                        <a:pt x="2" y="0"/>
                      </a:moveTo>
                      <a:lnTo>
                        <a:pt x="0" y="0"/>
                      </a:lnTo>
                      <a:lnTo>
                        <a:pt x="0" y="3"/>
                      </a:lnTo>
                      <a:lnTo>
                        <a:pt x="2" y="3"/>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3" name="Freeform 174"/>
                <p:cNvSpPr>
                  <a:spLocks/>
                </p:cNvSpPr>
                <p:nvPr/>
              </p:nvSpPr>
              <p:spPr bwMode="auto">
                <a:xfrm>
                  <a:off x="-3201" y="2256"/>
                  <a:ext cx="3"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4" name="Freeform 175"/>
                <p:cNvSpPr>
                  <a:spLocks noEditPoints="1"/>
                </p:cNvSpPr>
                <p:nvPr/>
              </p:nvSpPr>
              <p:spPr bwMode="auto">
                <a:xfrm>
                  <a:off x="-3160" y="1524"/>
                  <a:ext cx="151" cy="733"/>
                </a:xfrm>
                <a:custGeom>
                  <a:avLst/>
                  <a:gdLst>
                    <a:gd name="T0" fmla="*/ 118 w 64"/>
                    <a:gd name="T1" fmla="*/ 463 h 309"/>
                    <a:gd name="T2" fmla="*/ 113 w 64"/>
                    <a:gd name="T3" fmla="*/ 463 h 309"/>
                    <a:gd name="T4" fmla="*/ 146 w 64"/>
                    <a:gd name="T5" fmla="*/ 733 h 309"/>
                    <a:gd name="T6" fmla="*/ 151 w 64"/>
                    <a:gd name="T7" fmla="*/ 733 h 309"/>
                    <a:gd name="T8" fmla="*/ 118 w 64"/>
                    <a:gd name="T9" fmla="*/ 463 h 309"/>
                    <a:gd name="T10" fmla="*/ 68 w 64"/>
                    <a:gd name="T11" fmla="*/ 232 h 309"/>
                    <a:gd name="T12" fmla="*/ 64 w 64"/>
                    <a:gd name="T13" fmla="*/ 232 h 309"/>
                    <a:gd name="T14" fmla="*/ 113 w 64"/>
                    <a:gd name="T15" fmla="*/ 460 h 309"/>
                    <a:gd name="T16" fmla="*/ 118 w 64"/>
                    <a:gd name="T17" fmla="*/ 460 h 309"/>
                    <a:gd name="T18" fmla="*/ 68 w 64"/>
                    <a:gd name="T19" fmla="*/ 232 h 309"/>
                    <a:gd name="T20" fmla="*/ 5 w 64"/>
                    <a:gd name="T21" fmla="*/ 0 h 309"/>
                    <a:gd name="T22" fmla="*/ 0 w 64"/>
                    <a:gd name="T23" fmla="*/ 0 h 309"/>
                    <a:gd name="T24" fmla="*/ 5 w 64"/>
                    <a:gd name="T25" fmla="*/ 21 h 309"/>
                    <a:gd name="T26" fmla="*/ 45 w 64"/>
                    <a:gd name="T27" fmla="*/ 157 h 309"/>
                    <a:gd name="T28" fmla="*/ 50 w 64"/>
                    <a:gd name="T29" fmla="*/ 157 h 309"/>
                    <a:gd name="T30" fmla="*/ 50 w 64"/>
                    <a:gd name="T31" fmla="*/ 159 h 309"/>
                    <a:gd name="T32" fmla="*/ 45 w 64"/>
                    <a:gd name="T33" fmla="*/ 159 h 309"/>
                    <a:gd name="T34" fmla="*/ 64 w 64"/>
                    <a:gd name="T35" fmla="*/ 230 h 309"/>
                    <a:gd name="T36" fmla="*/ 68 w 64"/>
                    <a:gd name="T37" fmla="*/ 230 h 309"/>
                    <a:gd name="T38" fmla="*/ 5 w 64"/>
                    <a:gd name="T39" fmla="*/ 0 h 3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5" name="Freeform 176"/>
                <p:cNvSpPr>
                  <a:spLocks/>
                </p:cNvSpPr>
                <p:nvPr/>
              </p:nvSpPr>
              <p:spPr bwMode="auto">
                <a:xfrm>
                  <a:off x="-3096" y="1754"/>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6" name="Freeform 177"/>
                <p:cNvSpPr>
                  <a:spLocks/>
                </p:cNvSpPr>
                <p:nvPr/>
              </p:nvSpPr>
              <p:spPr bwMode="auto">
                <a:xfrm>
                  <a:off x="-3116" y="1682"/>
                  <a:ext cx="5" cy="3"/>
                </a:xfrm>
                <a:custGeom>
                  <a:avLst/>
                  <a:gdLst>
                    <a:gd name="T0" fmla="*/ 0 w 2"/>
                    <a:gd name="T1" fmla="*/ 0 h 1"/>
                    <a:gd name="T2" fmla="*/ 0 w 2"/>
                    <a:gd name="T3" fmla="*/ 3 h 1"/>
                    <a:gd name="T4" fmla="*/ 5 w 2"/>
                    <a:gd name="T5" fmla="*/ 3 h 1"/>
                    <a:gd name="T6" fmla="*/ 5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7" name="Line 178"/>
                <p:cNvSpPr>
                  <a:spLocks noChangeShapeType="1"/>
                </p:cNvSpPr>
                <p:nvPr/>
              </p:nvSpPr>
              <p:spPr bwMode="auto">
                <a:xfrm>
                  <a:off x="-3111" y="1682"/>
                  <a:ext cx="2"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8" name="Line 179"/>
                <p:cNvSpPr>
                  <a:spLocks noChangeShapeType="1"/>
                </p:cNvSpPr>
                <p:nvPr/>
              </p:nvSpPr>
              <p:spPr bwMode="auto">
                <a:xfrm>
                  <a:off x="-3111" y="1682"/>
                  <a:ext cx="2"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9" name="Freeform 180"/>
                <p:cNvSpPr>
                  <a:spLocks noEditPoints="1"/>
                </p:cNvSpPr>
                <p:nvPr/>
              </p:nvSpPr>
              <p:spPr bwMode="auto">
                <a:xfrm>
                  <a:off x="-3014" y="2260"/>
                  <a:ext cx="92" cy="1016"/>
                </a:xfrm>
                <a:custGeom>
                  <a:avLst/>
                  <a:gdLst>
                    <a:gd name="T0" fmla="*/ 61 w 39"/>
                    <a:gd name="T1" fmla="*/ 812 h 429"/>
                    <a:gd name="T2" fmla="*/ 57 w 39"/>
                    <a:gd name="T3" fmla="*/ 812 h 429"/>
                    <a:gd name="T4" fmla="*/ 87 w 39"/>
                    <a:gd name="T5" fmla="*/ 1016 h 429"/>
                    <a:gd name="T6" fmla="*/ 92 w 39"/>
                    <a:gd name="T7" fmla="*/ 1016 h 429"/>
                    <a:gd name="T8" fmla="*/ 71 w 39"/>
                    <a:gd name="T9" fmla="*/ 895 h 429"/>
                    <a:gd name="T10" fmla="*/ 61 w 39"/>
                    <a:gd name="T11" fmla="*/ 817 h 429"/>
                    <a:gd name="T12" fmla="*/ 61 w 39"/>
                    <a:gd name="T13" fmla="*/ 812 h 429"/>
                    <a:gd name="T14" fmla="*/ 31 w 39"/>
                    <a:gd name="T15" fmla="*/ 604 h 429"/>
                    <a:gd name="T16" fmla="*/ 26 w 39"/>
                    <a:gd name="T17" fmla="*/ 604 h 429"/>
                    <a:gd name="T18" fmla="*/ 54 w 39"/>
                    <a:gd name="T19" fmla="*/ 789 h 429"/>
                    <a:gd name="T20" fmla="*/ 54 w 39"/>
                    <a:gd name="T21" fmla="*/ 789 h 429"/>
                    <a:gd name="T22" fmla="*/ 57 w 39"/>
                    <a:gd name="T23" fmla="*/ 810 h 429"/>
                    <a:gd name="T24" fmla="*/ 61 w 39"/>
                    <a:gd name="T25" fmla="*/ 810 h 429"/>
                    <a:gd name="T26" fmla="*/ 59 w 39"/>
                    <a:gd name="T27" fmla="*/ 789 h 429"/>
                    <a:gd name="T28" fmla="*/ 59 w 39"/>
                    <a:gd name="T29" fmla="*/ 789 h 429"/>
                    <a:gd name="T30" fmla="*/ 59 w 39"/>
                    <a:gd name="T31" fmla="*/ 789 h 429"/>
                    <a:gd name="T32" fmla="*/ 31 w 39"/>
                    <a:gd name="T33" fmla="*/ 604 h 429"/>
                    <a:gd name="T34" fmla="*/ 24 w 39"/>
                    <a:gd name="T35" fmla="*/ 552 h 429"/>
                    <a:gd name="T36" fmla="*/ 19 w 39"/>
                    <a:gd name="T37" fmla="*/ 552 h 429"/>
                    <a:gd name="T38" fmla="*/ 26 w 39"/>
                    <a:gd name="T39" fmla="*/ 602 h 429"/>
                    <a:gd name="T40" fmla="*/ 31 w 39"/>
                    <a:gd name="T41" fmla="*/ 602 h 429"/>
                    <a:gd name="T42" fmla="*/ 24 w 39"/>
                    <a:gd name="T43" fmla="*/ 552 h 429"/>
                    <a:gd name="T44" fmla="*/ 9 w 39"/>
                    <a:gd name="T45" fmla="*/ 242 h 429"/>
                    <a:gd name="T46" fmla="*/ 5 w 39"/>
                    <a:gd name="T47" fmla="*/ 242 h 429"/>
                    <a:gd name="T48" fmla="*/ 5 w 39"/>
                    <a:gd name="T49" fmla="*/ 268 h 429"/>
                    <a:gd name="T50" fmla="*/ 5 w 39"/>
                    <a:gd name="T51" fmla="*/ 313 h 429"/>
                    <a:gd name="T52" fmla="*/ 19 w 39"/>
                    <a:gd name="T53" fmla="*/ 549 h 429"/>
                    <a:gd name="T54" fmla="*/ 24 w 39"/>
                    <a:gd name="T55" fmla="*/ 549 h 429"/>
                    <a:gd name="T56" fmla="*/ 9 w 39"/>
                    <a:gd name="T57" fmla="*/ 313 h 429"/>
                    <a:gd name="T58" fmla="*/ 9 w 39"/>
                    <a:gd name="T59" fmla="*/ 279 h 429"/>
                    <a:gd name="T60" fmla="*/ 9 w 39"/>
                    <a:gd name="T61" fmla="*/ 268 h 429"/>
                    <a:gd name="T62" fmla="*/ 9 w 39"/>
                    <a:gd name="T63" fmla="*/ 268 h 429"/>
                    <a:gd name="T64" fmla="*/ 9 w 39"/>
                    <a:gd name="T65" fmla="*/ 268 h 429"/>
                    <a:gd name="T66" fmla="*/ 9 w 39"/>
                    <a:gd name="T67" fmla="*/ 242 h 429"/>
                    <a:gd name="T68" fmla="*/ 5 w 39"/>
                    <a:gd name="T69" fmla="*/ 0 h 429"/>
                    <a:gd name="T70" fmla="*/ 0 w 39"/>
                    <a:gd name="T71" fmla="*/ 0 h 429"/>
                    <a:gd name="T72" fmla="*/ 0 w 39"/>
                    <a:gd name="T73" fmla="*/ 12 h 429"/>
                    <a:gd name="T74" fmla="*/ 0 w 39"/>
                    <a:gd name="T75" fmla="*/ 12 h 429"/>
                    <a:gd name="T76" fmla="*/ 0 w 39"/>
                    <a:gd name="T77" fmla="*/ 12 h 429"/>
                    <a:gd name="T78" fmla="*/ 0 w 39"/>
                    <a:gd name="T79" fmla="*/ 12 h 429"/>
                    <a:gd name="T80" fmla="*/ 5 w 39"/>
                    <a:gd name="T81" fmla="*/ 239 h 429"/>
                    <a:gd name="T82" fmla="*/ 9 w 39"/>
                    <a:gd name="T83" fmla="*/ 239 h 429"/>
                    <a:gd name="T84" fmla="*/ 5 w 39"/>
                    <a:gd name="T85" fmla="*/ 12 h 429"/>
                    <a:gd name="T86" fmla="*/ 5 w 39"/>
                    <a:gd name="T87" fmla="*/ 12 h 429"/>
                    <a:gd name="T88" fmla="*/ 5 w 39"/>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0" name="Freeform 181"/>
                <p:cNvSpPr>
                  <a:spLocks/>
                </p:cNvSpPr>
                <p:nvPr/>
              </p:nvSpPr>
              <p:spPr bwMode="auto">
                <a:xfrm>
                  <a:off x="-2956" y="3070"/>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1" name="Freeform 182"/>
                <p:cNvSpPr>
                  <a:spLocks/>
                </p:cNvSpPr>
                <p:nvPr/>
              </p:nvSpPr>
              <p:spPr bwMode="auto">
                <a:xfrm>
                  <a:off x="-2986" y="2861"/>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2" name="Freeform 183"/>
                <p:cNvSpPr>
                  <a:spLocks/>
                </p:cNvSpPr>
                <p:nvPr/>
              </p:nvSpPr>
              <p:spPr bwMode="auto">
                <a:xfrm>
                  <a:off x="-2925" y="3278"/>
                  <a:ext cx="23" cy="77"/>
                </a:xfrm>
                <a:custGeom>
                  <a:avLst/>
                  <a:gdLst>
                    <a:gd name="T0" fmla="*/ 5 w 10"/>
                    <a:gd name="T1" fmla="*/ 0 h 32"/>
                    <a:gd name="T2" fmla="*/ 0 w 10"/>
                    <a:gd name="T3" fmla="*/ 0 h 32"/>
                    <a:gd name="T4" fmla="*/ 18 w 10"/>
                    <a:gd name="T5" fmla="*/ 77 h 32"/>
                    <a:gd name="T6" fmla="*/ 23 w 10"/>
                    <a:gd name="T7" fmla="*/ 77 h 32"/>
                    <a:gd name="T8" fmla="*/ 5 w 1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3" name="Freeform 184"/>
                <p:cNvSpPr>
                  <a:spLocks/>
                </p:cNvSpPr>
                <p:nvPr/>
              </p:nvSpPr>
              <p:spPr bwMode="auto">
                <a:xfrm>
                  <a:off x="-2994" y="2810"/>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4" name="Freeform 185"/>
                <p:cNvSpPr>
                  <a:spLocks/>
                </p:cNvSpPr>
                <p:nvPr/>
              </p:nvSpPr>
              <p:spPr bwMode="auto">
                <a:xfrm>
                  <a:off x="-2925" y="3276"/>
                  <a:ext cx="3" cy="2"/>
                </a:xfrm>
                <a:custGeom>
                  <a:avLst/>
                  <a:gdLst>
                    <a:gd name="T0" fmla="*/ 3 w 2"/>
                    <a:gd name="T1" fmla="*/ 0 h 1"/>
                    <a:gd name="T2" fmla="*/ 0 w 2"/>
                    <a:gd name="T3" fmla="*/ 0 h 1"/>
                    <a:gd name="T4" fmla="*/ 0 w 2"/>
                    <a:gd name="T5" fmla="*/ 2 h 1"/>
                    <a:gd name="T6" fmla="*/ 3 w 2"/>
                    <a:gd name="T7" fmla="*/ 2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5" name="Freeform 186"/>
                <p:cNvSpPr>
                  <a:spLocks/>
                </p:cNvSpPr>
                <p:nvPr/>
              </p:nvSpPr>
              <p:spPr bwMode="auto">
                <a:xfrm>
                  <a:off x="-2907" y="3357"/>
                  <a:ext cx="20" cy="57"/>
                </a:xfrm>
                <a:custGeom>
                  <a:avLst/>
                  <a:gdLst>
                    <a:gd name="T0" fmla="*/ 5 w 8"/>
                    <a:gd name="T1" fmla="*/ 0 h 24"/>
                    <a:gd name="T2" fmla="*/ 0 w 8"/>
                    <a:gd name="T3" fmla="*/ 0 h 24"/>
                    <a:gd name="T4" fmla="*/ 15 w 8"/>
                    <a:gd name="T5" fmla="*/ 57 h 24"/>
                    <a:gd name="T6" fmla="*/ 20 w 8"/>
                    <a:gd name="T7" fmla="*/ 57 h 24"/>
                    <a:gd name="T8" fmla="*/ 5 w 8"/>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6" name="Freeform 187"/>
                <p:cNvSpPr>
                  <a:spLocks/>
                </p:cNvSpPr>
                <p:nvPr/>
              </p:nvSpPr>
              <p:spPr bwMode="auto">
                <a:xfrm>
                  <a:off x="-2907" y="3355"/>
                  <a:ext cx="5" cy="2"/>
                </a:xfrm>
                <a:custGeom>
                  <a:avLst/>
                  <a:gdLst>
                    <a:gd name="T0" fmla="*/ 5 w 2"/>
                    <a:gd name="T1" fmla="*/ 0 h 1"/>
                    <a:gd name="T2" fmla="*/ 0 w 2"/>
                    <a:gd name="T3" fmla="*/ 0 h 1"/>
                    <a:gd name="T4" fmla="*/ 0 w 2"/>
                    <a:gd name="T5" fmla="*/ 2 h 1"/>
                    <a:gd name="T6" fmla="*/ 5 w 2"/>
                    <a:gd name="T7" fmla="*/ 2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7" name="Freeform 188"/>
                <p:cNvSpPr>
                  <a:spLocks/>
                </p:cNvSpPr>
                <p:nvPr/>
              </p:nvSpPr>
              <p:spPr bwMode="auto">
                <a:xfrm>
                  <a:off x="-3009"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8" name="Freeform 189"/>
                <p:cNvSpPr>
                  <a:spLocks/>
                </p:cNvSpPr>
                <p:nvPr/>
              </p:nvSpPr>
              <p:spPr bwMode="auto">
                <a:xfrm>
                  <a:off x="-3014" y="2256"/>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9" name="Freeform 190"/>
                <p:cNvSpPr>
                  <a:spLocks/>
                </p:cNvSpPr>
                <p:nvPr/>
              </p:nvSpPr>
              <p:spPr bwMode="auto">
                <a:xfrm>
                  <a:off x="-2902" y="1987"/>
                  <a:ext cx="82" cy="270"/>
                </a:xfrm>
                <a:custGeom>
                  <a:avLst/>
                  <a:gdLst>
                    <a:gd name="T0" fmla="*/ 5 w 35"/>
                    <a:gd name="T1" fmla="*/ 0 h 114"/>
                    <a:gd name="T2" fmla="*/ 0 w 35"/>
                    <a:gd name="T3" fmla="*/ 0 h 114"/>
                    <a:gd name="T4" fmla="*/ 0 w 35"/>
                    <a:gd name="T5" fmla="*/ 12 h 114"/>
                    <a:gd name="T6" fmla="*/ 2 w 35"/>
                    <a:gd name="T7" fmla="*/ 12 h 114"/>
                    <a:gd name="T8" fmla="*/ 2 w 35"/>
                    <a:gd name="T9" fmla="*/ 12 h 114"/>
                    <a:gd name="T10" fmla="*/ 5 w 35"/>
                    <a:gd name="T11" fmla="*/ 19 h 114"/>
                    <a:gd name="T12" fmla="*/ 77 w 35"/>
                    <a:gd name="T13" fmla="*/ 270 h 114"/>
                    <a:gd name="T14" fmla="*/ 82 w 35"/>
                    <a:gd name="T15" fmla="*/ 270 h 114"/>
                    <a:gd name="T16" fmla="*/ 75 w 35"/>
                    <a:gd name="T17" fmla="*/ 239 h 114"/>
                    <a:gd name="T18" fmla="*/ 70 w 35"/>
                    <a:gd name="T19" fmla="*/ 239 h 114"/>
                    <a:gd name="T20" fmla="*/ 70 w 35"/>
                    <a:gd name="T21" fmla="*/ 237 h 114"/>
                    <a:gd name="T22" fmla="*/ 75 w 35"/>
                    <a:gd name="T23" fmla="*/ 237 h 114"/>
                    <a:gd name="T24" fmla="*/ 5 w 35"/>
                    <a:gd name="T25" fmla="*/ 9 h 114"/>
                    <a:gd name="T26" fmla="*/ 5 w 35"/>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0" name="Freeform 191"/>
                <p:cNvSpPr>
                  <a:spLocks/>
                </p:cNvSpPr>
                <p:nvPr/>
              </p:nvSpPr>
              <p:spPr bwMode="auto">
                <a:xfrm>
                  <a:off x="-2831" y="2222"/>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1" name="Freeform 192"/>
                <p:cNvSpPr>
                  <a:spLocks noEditPoints="1"/>
                </p:cNvSpPr>
                <p:nvPr/>
              </p:nvSpPr>
              <p:spPr bwMode="auto">
                <a:xfrm>
                  <a:off x="-3112" y="1522"/>
                  <a:ext cx="215" cy="462"/>
                </a:xfrm>
                <a:custGeom>
                  <a:avLst/>
                  <a:gdLst>
                    <a:gd name="T0" fmla="*/ 158 w 91"/>
                    <a:gd name="T1" fmla="*/ 235 h 195"/>
                    <a:gd name="T2" fmla="*/ 154 w 91"/>
                    <a:gd name="T3" fmla="*/ 235 h 195"/>
                    <a:gd name="T4" fmla="*/ 210 w 91"/>
                    <a:gd name="T5" fmla="*/ 462 h 195"/>
                    <a:gd name="T6" fmla="*/ 215 w 91"/>
                    <a:gd name="T7" fmla="*/ 462 h 195"/>
                    <a:gd name="T8" fmla="*/ 158 w 91"/>
                    <a:gd name="T9" fmla="*/ 235 h 195"/>
                    <a:gd name="T10" fmla="*/ 125 w 91"/>
                    <a:gd name="T11" fmla="*/ 161 h 195"/>
                    <a:gd name="T12" fmla="*/ 125 w 91"/>
                    <a:gd name="T13" fmla="*/ 161 h 195"/>
                    <a:gd name="T14" fmla="*/ 120 w 91"/>
                    <a:gd name="T15" fmla="*/ 161 h 195"/>
                    <a:gd name="T16" fmla="*/ 151 w 91"/>
                    <a:gd name="T17" fmla="*/ 232 h 195"/>
                    <a:gd name="T18" fmla="*/ 156 w 91"/>
                    <a:gd name="T19" fmla="*/ 232 h 195"/>
                    <a:gd name="T20" fmla="*/ 125 w 91"/>
                    <a:gd name="T21" fmla="*/ 161 h 195"/>
                    <a:gd name="T22" fmla="*/ 5 w 91"/>
                    <a:gd name="T23" fmla="*/ 0 h 195"/>
                    <a:gd name="T24" fmla="*/ 2 w 91"/>
                    <a:gd name="T25" fmla="*/ 0 h 195"/>
                    <a:gd name="T26" fmla="*/ 0 w 91"/>
                    <a:gd name="T27" fmla="*/ 2 h 195"/>
                    <a:gd name="T28" fmla="*/ 2 w 91"/>
                    <a:gd name="T29" fmla="*/ 5 h 195"/>
                    <a:gd name="T30" fmla="*/ 118 w 91"/>
                    <a:gd name="T31" fmla="*/ 159 h 195"/>
                    <a:gd name="T32" fmla="*/ 123 w 91"/>
                    <a:gd name="T33" fmla="*/ 159 h 195"/>
                    <a:gd name="T34" fmla="*/ 5 w 91"/>
                    <a:gd name="T35" fmla="*/ 0 h 1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2" name="Freeform 193"/>
                <p:cNvSpPr>
                  <a:spLocks/>
                </p:cNvSpPr>
                <p:nvPr/>
              </p:nvSpPr>
              <p:spPr bwMode="auto">
                <a:xfrm>
                  <a:off x="-2961" y="1754"/>
                  <a:ext cx="8" cy="2"/>
                </a:xfrm>
                <a:custGeom>
                  <a:avLst/>
                  <a:gdLst>
                    <a:gd name="T0" fmla="*/ 5 w 3"/>
                    <a:gd name="T1" fmla="*/ 0 h 1"/>
                    <a:gd name="T2" fmla="*/ 0 w 3"/>
                    <a:gd name="T3" fmla="*/ 0 h 1"/>
                    <a:gd name="T4" fmla="*/ 3 w 3"/>
                    <a:gd name="T5" fmla="*/ 2 h 1"/>
                    <a:gd name="T6" fmla="*/ 8 w 3"/>
                    <a:gd name="T7" fmla="*/ 2 h 1"/>
                    <a:gd name="T8" fmla="*/ 5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3" name="Freeform 194"/>
                <p:cNvSpPr>
                  <a:spLocks/>
                </p:cNvSpPr>
                <p:nvPr/>
              </p:nvSpPr>
              <p:spPr bwMode="auto">
                <a:xfrm>
                  <a:off x="-2989" y="1682"/>
                  <a:ext cx="3" cy="3"/>
                </a:xfrm>
                <a:custGeom>
                  <a:avLst/>
                  <a:gdLst>
                    <a:gd name="T0" fmla="*/ 3 w 1"/>
                    <a:gd name="T1" fmla="*/ 3 h 1"/>
                    <a:gd name="T2" fmla="*/ 0 w 1"/>
                    <a:gd name="T3" fmla="*/ 0 h 1"/>
                    <a:gd name="T4" fmla="*/ 0 60000 65536"/>
                    <a:gd name="T5" fmla="*/ 0 60000 65536"/>
                  </a:gdLst>
                  <a:ahLst/>
                  <a:cxnLst>
                    <a:cxn ang="T4">
                      <a:pos x="T0" y="T1"/>
                    </a:cxn>
                    <a:cxn ang="T5">
                      <a:pos x="T2" y="T3"/>
                    </a:cxn>
                  </a:cxnLst>
                  <a:rect l="0" t="0" r="r" b="b"/>
                  <a:pathLst>
                    <a:path w="1" h="1">
                      <a:moveTo>
                        <a:pt x="1" y="1"/>
                      </a:moveTo>
                      <a:cubicBezTo>
                        <a:pt x="1" y="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4" name="Freeform 195"/>
                <p:cNvSpPr>
                  <a:spLocks/>
                </p:cNvSpPr>
                <p:nvPr/>
              </p:nvSpPr>
              <p:spPr bwMode="auto">
                <a:xfrm>
                  <a:off x="-2994" y="1682"/>
                  <a:ext cx="5" cy="3"/>
                </a:xfrm>
                <a:custGeom>
                  <a:avLst/>
                  <a:gdLst>
                    <a:gd name="T0" fmla="*/ 5 w 2"/>
                    <a:gd name="T1" fmla="*/ 0 h 1"/>
                    <a:gd name="T2" fmla="*/ 0 w 2"/>
                    <a:gd name="T3" fmla="*/ 0 h 1"/>
                    <a:gd name="T4" fmla="*/ 3 w 2"/>
                    <a:gd name="T5" fmla="*/ 3 h 1"/>
                    <a:gd name="T6" fmla="*/ 0 60000 65536"/>
                    <a:gd name="T7" fmla="*/ 0 60000 65536"/>
                    <a:gd name="T8" fmla="*/ 0 60000 65536"/>
                  </a:gdLst>
                  <a:ahLst/>
                  <a:cxnLst>
                    <a:cxn ang="T6">
                      <a:pos x="T0" y="T1"/>
                    </a:cxn>
                    <a:cxn ang="T7">
                      <a:pos x="T2" y="T3"/>
                    </a:cxn>
                    <a:cxn ang="T8">
                      <a:pos x="T4" y="T5"/>
                    </a:cxn>
                  </a:cxnLst>
                  <a:rect l="0" t="0" r="r" b="b"/>
                  <a:pathLst>
                    <a:path w="2" h="1">
                      <a:moveTo>
                        <a:pt x="2" y="0"/>
                      </a:moveTo>
                      <a:cubicBezTo>
                        <a:pt x="0" y="0"/>
                        <a:pt x="0" y="0"/>
                        <a:pt x="0" y="0"/>
                      </a:cubicBezTo>
                      <a:cubicBezTo>
                        <a:pt x="0" y="1"/>
                        <a:pt x="0" y="1"/>
                        <a:pt x="1"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5" name="Freeform 196"/>
                <p:cNvSpPr>
                  <a:spLocks noEditPoints="1"/>
                </p:cNvSpPr>
                <p:nvPr/>
              </p:nvSpPr>
              <p:spPr bwMode="auto">
                <a:xfrm>
                  <a:off x="-2823" y="2260"/>
                  <a:ext cx="25" cy="1016"/>
                </a:xfrm>
                <a:custGeom>
                  <a:avLst/>
                  <a:gdLst>
                    <a:gd name="T0" fmla="*/ 18 w 11"/>
                    <a:gd name="T1" fmla="*/ 812 h 429"/>
                    <a:gd name="T2" fmla="*/ 14 w 11"/>
                    <a:gd name="T3" fmla="*/ 812 h 429"/>
                    <a:gd name="T4" fmla="*/ 14 w 11"/>
                    <a:gd name="T5" fmla="*/ 1016 h 429"/>
                    <a:gd name="T6" fmla="*/ 18 w 11"/>
                    <a:gd name="T7" fmla="*/ 1016 h 429"/>
                    <a:gd name="T8" fmla="*/ 18 w 11"/>
                    <a:gd name="T9" fmla="*/ 812 h 429"/>
                    <a:gd name="T10" fmla="*/ 25 w 11"/>
                    <a:gd name="T11" fmla="*/ 552 h 429"/>
                    <a:gd name="T12" fmla="*/ 20 w 11"/>
                    <a:gd name="T13" fmla="*/ 552 h 429"/>
                    <a:gd name="T14" fmla="*/ 11 w 11"/>
                    <a:gd name="T15" fmla="*/ 789 h 429"/>
                    <a:gd name="T16" fmla="*/ 14 w 11"/>
                    <a:gd name="T17" fmla="*/ 810 h 429"/>
                    <a:gd name="T18" fmla="*/ 18 w 11"/>
                    <a:gd name="T19" fmla="*/ 810 h 429"/>
                    <a:gd name="T20" fmla="*/ 18 w 11"/>
                    <a:gd name="T21" fmla="*/ 789 h 429"/>
                    <a:gd name="T22" fmla="*/ 25 w 11"/>
                    <a:gd name="T23" fmla="*/ 552 h 429"/>
                    <a:gd name="T24" fmla="*/ 23 w 11"/>
                    <a:gd name="T25" fmla="*/ 242 h 429"/>
                    <a:gd name="T26" fmla="*/ 18 w 11"/>
                    <a:gd name="T27" fmla="*/ 242 h 429"/>
                    <a:gd name="T28" fmla="*/ 20 w 11"/>
                    <a:gd name="T29" fmla="*/ 422 h 429"/>
                    <a:gd name="T30" fmla="*/ 20 w 11"/>
                    <a:gd name="T31" fmla="*/ 549 h 429"/>
                    <a:gd name="T32" fmla="*/ 25 w 11"/>
                    <a:gd name="T33" fmla="*/ 549 h 429"/>
                    <a:gd name="T34" fmla="*/ 25 w 11"/>
                    <a:gd name="T35" fmla="*/ 422 h 429"/>
                    <a:gd name="T36" fmla="*/ 23 w 11"/>
                    <a:gd name="T37" fmla="*/ 242 h 429"/>
                    <a:gd name="T38" fmla="*/ 5 w 11"/>
                    <a:gd name="T39" fmla="*/ 0 h 429"/>
                    <a:gd name="T40" fmla="*/ 0 w 11"/>
                    <a:gd name="T41" fmla="*/ 0 h 429"/>
                    <a:gd name="T42" fmla="*/ 16 w 11"/>
                    <a:gd name="T43" fmla="*/ 142 h 429"/>
                    <a:gd name="T44" fmla="*/ 16 w 11"/>
                    <a:gd name="T45" fmla="*/ 163 h 429"/>
                    <a:gd name="T46" fmla="*/ 18 w 11"/>
                    <a:gd name="T47" fmla="*/ 239 h 429"/>
                    <a:gd name="T48" fmla="*/ 23 w 11"/>
                    <a:gd name="T49" fmla="*/ 239 h 429"/>
                    <a:gd name="T50" fmla="*/ 20 w 11"/>
                    <a:gd name="T51" fmla="*/ 142 h 429"/>
                    <a:gd name="T52" fmla="*/ 5 w 11"/>
                    <a:gd name="T53" fmla="*/ 0 h 4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6" name="Freeform 197"/>
                <p:cNvSpPr>
                  <a:spLocks/>
                </p:cNvSpPr>
                <p:nvPr/>
              </p:nvSpPr>
              <p:spPr bwMode="auto">
                <a:xfrm>
                  <a:off x="-2810" y="3070"/>
                  <a:ext cx="5" cy="2"/>
                </a:xfrm>
                <a:custGeom>
                  <a:avLst/>
                  <a:gdLst>
                    <a:gd name="T0" fmla="*/ 5 w 4"/>
                    <a:gd name="T1" fmla="*/ 0 h 3"/>
                    <a:gd name="T2" fmla="*/ 0 w 4"/>
                    <a:gd name="T3" fmla="*/ 0 h 3"/>
                    <a:gd name="T4" fmla="*/ 0 w 4"/>
                    <a:gd name="T5" fmla="*/ 2 h 3"/>
                    <a:gd name="T6" fmla="*/ 5 w 4"/>
                    <a:gd name="T7" fmla="*/ 2 h 3"/>
                    <a:gd name="T8" fmla="*/ 5 w 4"/>
                    <a:gd name="T9" fmla="*/ 0 h 3"/>
                    <a:gd name="T10" fmla="*/ 5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4" y="0"/>
                      </a:moveTo>
                      <a:lnTo>
                        <a:pt x="0" y="0"/>
                      </a:lnTo>
                      <a:lnTo>
                        <a:pt x="0" y="3"/>
                      </a:lnTo>
                      <a:lnTo>
                        <a:pt x="4" y="3"/>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7" name="Freeform 198"/>
                <p:cNvSpPr>
                  <a:spLocks/>
                </p:cNvSpPr>
                <p:nvPr/>
              </p:nvSpPr>
              <p:spPr bwMode="auto">
                <a:xfrm>
                  <a:off x="-2810" y="3278"/>
                  <a:ext cx="5" cy="77"/>
                </a:xfrm>
                <a:custGeom>
                  <a:avLst/>
                  <a:gdLst>
                    <a:gd name="T0" fmla="*/ 5 w 4"/>
                    <a:gd name="T1" fmla="*/ 0 h 76"/>
                    <a:gd name="T2" fmla="*/ 0 w 4"/>
                    <a:gd name="T3" fmla="*/ 0 h 76"/>
                    <a:gd name="T4" fmla="*/ 0 w 4"/>
                    <a:gd name="T5" fmla="*/ 77 h 76"/>
                    <a:gd name="T6" fmla="*/ 5 w 4"/>
                    <a:gd name="T7" fmla="*/ 77 h 76"/>
                    <a:gd name="T8" fmla="*/ 5 w 4"/>
                    <a:gd name="T9" fmla="*/ 0 h 76"/>
                    <a:gd name="T10" fmla="*/ 5 w 4"/>
                    <a:gd name="T11" fmla="*/ 0 h 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6">
                      <a:moveTo>
                        <a:pt x="4" y="0"/>
                      </a:moveTo>
                      <a:lnTo>
                        <a:pt x="0" y="0"/>
                      </a:lnTo>
                      <a:lnTo>
                        <a:pt x="0" y="76"/>
                      </a:lnTo>
                      <a:lnTo>
                        <a:pt x="4" y="76"/>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8" name="Freeform 199"/>
                <p:cNvSpPr>
                  <a:spLocks/>
                </p:cNvSpPr>
                <p:nvPr/>
              </p:nvSpPr>
              <p:spPr bwMode="auto">
                <a:xfrm>
                  <a:off x="-2803" y="2810"/>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9" name="Freeform 200"/>
                <p:cNvSpPr>
                  <a:spLocks/>
                </p:cNvSpPr>
                <p:nvPr/>
              </p:nvSpPr>
              <p:spPr bwMode="auto">
                <a:xfrm>
                  <a:off x="-2810" y="3276"/>
                  <a:ext cx="5" cy="2"/>
                </a:xfrm>
                <a:custGeom>
                  <a:avLst/>
                  <a:gdLst>
                    <a:gd name="T0" fmla="*/ 5 w 4"/>
                    <a:gd name="T1" fmla="*/ 0 h 2"/>
                    <a:gd name="T2" fmla="*/ 0 w 4"/>
                    <a:gd name="T3" fmla="*/ 0 h 2"/>
                    <a:gd name="T4" fmla="*/ 0 w 4"/>
                    <a:gd name="T5" fmla="*/ 2 h 2"/>
                    <a:gd name="T6" fmla="*/ 5 w 4"/>
                    <a:gd name="T7" fmla="*/ 2 h 2"/>
                    <a:gd name="T8" fmla="*/ 5 w 4"/>
                    <a:gd name="T9" fmla="*/ 0 h 2"/>
                    <a:gd name="T10" fmla="*/ 5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0" name="Freeform 201"/>
                <p:cNvSpPr>
                  <a:spLocks/>
                </p:cNvSpPr>
                <p:nvPr/>
              </p:nvSpPr>
              <p:spPr bwMode="auto">
                <a:xfrm>
                  <a:off x="-2810" y="3357"/>
                  <a:ext cx="5" cy="71"/>
                </a:xfrm>
                <a:custGeom>
                  <a:avLst/>
                  <a:gdLst>
                    <a:gd name="T0" fmla="*/ 5 w 4"/>
                    <a:gd name="T1" fmla="*/ 0 h 71"/>
                    <a:gd name="T2" fmla="*/ 0 w 4"/>
                    <a:gd name="T3" fmla="*/ 0 h 71"/>
                    <a:gd name="T4" fmla="*/ 0 w 4"/>
                    <a:gd name="T5" fmla="*/ 71 h 71"/>
                    <a:gd name="T6" fmla="*/ 5 w 4"/>
                    <a:gd name="T7" fmla="*/ 71 h 71"/>
                    <a:gd name="T8" fmla="*/ 5 w 4"/>
                    <a:gd name="T9" fmla="*/ 0 h 71"/>
                    <a:gd name="T10" fmla="*/ 5 w 4"/>
                    <a:gd name="T11" fmla="*/ 0 h 7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1">
                      <a:moveTo>
                        <a:pt x="4" y="0"/>
                      </a:moveTo>
                      <a:lnTo>
                        <a:pt x="0" y="0"/>
                      </a:lnTo>
                      <a:lnTo>
                        <a:pt x="0" y="71"/>
                      </a:lnTo>
                      <a:lnTo>
                        <a:pt x="4" y="71"/>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1" name="Freeform 202"/>
                <p:cNvSpPr>
                  <a:spLocks/>
                </p:cNvSpPr>
                <p:nvPr/>
              </p:nvSpPr>
              <p:spPr bwMode="auto">
                <a:xfrm>
                  <a:off x="-2810" y="3355"/>
                  <a:ext cx="5" cy="2"/>
                </a:xfrm>
                <a:custGeom>
                  <a:avLst/>
                  <a:gdLst>
                    <a:gd name="T0" fmla="*/ 5 w 4"/>
                    <a:gd name="T1" fmla="*/ 0 h 2"/>
                    <a:gd name="T2" fmla="*/ 0 w 4"/>
                    <a:gd name="T3" fmla="*/ 0 h 2"/>
                    <a:gd name="T4" fmla="*/ 0 w 4"/>
                    <a:gd name="T5" fmla="*/ 2 h 2"/>
                    <a:gd name="T6" fmla="*/ 5 w 4"/>
                    <a:gd name="T7" fmla="*/ 2 h 2"/>
                    <a:gd name="T8" fmla="*/ 5 w 4"/>
                    <a:gd name="T9" fmla="*/ 0 h 2"/>
                    <a:gd name="T10" fmla="*/ 5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2" name="Freeform 203"/>
                <p:cNvSpPr>
                  <a:spLocks/>
                </p:cNvSpPr>
                <p:nvPr/>
              </p:nvSpPr>
              <p:spPr bwMode="auto">
                <a:xfrm>
                  <a:off x="-2805" y="2498"/>
                  <a:ext cx="5" cy="3"/>
                </a:xfrm>
                <a:custGeom>
                  <a:avLst/>
                  <a:gdLst>
                    <a:gd name="T0" fmla="*/ 5 w 2"/>
                    <a:gd name="T1" fmla="*/ 0 h 1"/>
                    <a:gd name="T2" fmla="*/ 0 w 2"/>
                    <a:gd name="T3" fmla="*/ 0 h 1"/>
                    <a:gd name="T4" fmla="*/ 0 w 2"/>
                    <a:gd name="T5" fmla="*/ 3 h 1"/>
                    <a:gd name="T6" fmla="*/ 5 w 2"/>
                    <a:gd name="T7" fmla="*/ 3 h 1"/>
                    <a:gd name="T8" fmla="*/ 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3" name="Freeform 204"/>
                <p:cNvSpPr>
                  <a:spLocks/>
                </p:cNvSpPr>
                <p:nvPr/>
              </p:nvSpPr>
              <p:spPr bwMode="auto">
                <a:xfrm>
                  <a:off x="-2823" y="2256"/>
                  <a:ext cx="3" cy="3"/>
                </a:xfrm>
                <a:custGeom>
                  <a:avLst/>
                  <a:gdLst>
                    <a:gd name="T0" fmla="*/ 3 w 2"/>
                    <a:gd name="T1" fmla="*/ 0 h 1"/>
                    <a:gd name="T2" fmla="*/ 0 w 2"/>
                    <a:gd name="T3" fmla="*/ 0 h 1"/>
                    <a:gd name="T4" fmla="*/ 0 w 2"/>
                    <a:gd name="T5" fmla="*/ 3 h 1"/>
                    <a:gd name="T6" fmla="*/ 3 w 2"/>
                    <a:gd name="T7" fmla="*/ 3 h 1"/>
                    <a:gd name="T8" fmla="*/ 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grpSp>
          <p:sp>
            <p:nvSpPr>
              <p:cNvPr id="50" name="Freeform 206"/>
              <p:cNvSpPr>
                <a:spLocks/>
              </p:cNvSpPr>
              <p:nvPr/>
            </p:nvSpPr>
            <p:spPr bwMode="auto">
              <a:xfrm>
                <a:off x="-4870436" y="2416156"/>
                <a:ext cx="349533" cy="368969"/>
              </a:xfrm>
              <a:custGeom>
                <a:avLst/>
                <a:gdLst>
                  <a:gd name="T0" fmla="*/ 0 w 93"/>
                  <a:gd name="T1" fmla="*/ 0 h 98"/>
                  <a:gd name="T2" fmla="*/ 0 w 93"/>
                  <a:gd name="T3" fmla="*/ 3765 h 98"/>
                  <a:gd name="T4" fmla="*/ 3758 w 93"/>
                  <a:gd name="T5" fmla="*/ 7530 h 98"/>
                  <a:gd name="T6" fmla="*/ 342016 w 93"/>
                  <a:gd name="T7" fmla="*/ 368969 h 98"/>
                  <a:gd name="T8" fmla="*/ 349533 w 93"/>
                  <a:gd name="T9" fmla="*/ 368969 h 98"/>
                  <a:gd name="T10" fmla="*/ 266848 w 93"/>
                  <a:gd name="T11" fmla="*/ 256019 h 98"/>
                  <a:gd name="T12" fmla="*/ 263089 w 93"/>
                  <a:gd name="T13" fmla="*/ 256019 h 98"/>
                  <a:gd name="T14" fmla="*/ 263089 w 93"/>
                  <a:gd name="T15" fmla="*/ 256019 h 98"/>
                  <a:gd name="T16" fmla="*/ 0 w 93"/>
                  <a:gd name="T17" fmla="*/ 0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1" name="Freeform 207"/>
              <p:cNvSpPr>
                <a:spLocks/>
              </p:cNvSpPr>
              <p:nvPr/>
            </p:nvSpPr>
            <p:spPr bwMode="auto">
              <a:xfrm>
                <a:off x="-4609590" y="2671974"/>
                <a:ext cx="5217" cy="2459"/>
              </a:xfrm>
              <a:custGeom>
                <a:avLst/>
                <a:gdLst>
                  <a:gd name="T0" fmla="*/ 0 w 1"/>
                  <a:gd name="T1" fmla="*/ 0 h 2459"/>
                  <a:gd name="T2" fmla="*/ 0 w 1"/>
                  <a:gd name="T3" fmla="*/ 0 h 2459"/>
                  <a:gd name="T4" fmla="*/ 5217 w 1"/>
                  <a:gd name="T5" fmla="*/ 0 h 2459"/>
                  <a:gd name="T6" fmla="*/ 0 w 1"/>
                  <a:gd name="T7" fmla="*/ 0 h 24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459">
                    <a:moveTo>
                      <a:pt x="0" y="0"/>
                    </a:moveTo>
                    <a:cubicBezTo>
                      <a:pt x="0" y="0"/>
                      <a:pt x="0" y="0"/>
                      <a:pt x="0"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2" name="Freeform 208"/>
              <p:cNvSpPr>
                <a:spLocks/>
              </p:cNvSpPr>
              <p:nvPr/>
            </p:nvSpPr>
            <p:spPr bwMode="auto">
              <a:xfrm>
                <a:off x="-4818267" y="2418615"/>
                <a:ext cx="479956" cy="366510"/>
              </a:xfrm>
              <a:custGeom>
                <a:avLst/>
                <a:gdLst>
                  <a:gd name="T0" fmla="*/ 3750 w 128"/>
                  <a:gd name="T1" fmla="*/ 0 h 97"/>
                  <a:gd name="T2" fmla="*/ 0 w 128"/>
                  <a:gd name="T3" fmla="*/ 3778 h 97"/>
                  <a:gd name="T4" fmla="*/ 11249 w 128"/>
                  <a:gd name="T5" fmla="*/ 3778 h 97"/>
                  <a:gd name="T6" fmla="*/ 382465 w 128"/>
                  <a:gd name="T7" fmla="*/ 249378 h 97"/>
                  <a:gd name="T8" fmla="*/ 386215 w 128"/>
                  <a:gd name="T9" fmla="*/ 249378 h 97"/>
                  <a:gd name="T10" fmla="*/ 386215 w 128"/>
                  <a:gd name="T11" fmla="*/ 253156 h 97"/>
                  <a:gd name="T12" fmla="*/ 386215 w 128"/>
                  <a:gd name="T13" fmla="*/ 253156 h 97"/>
                  <a:gd name="T14" fmla="*/ 476206 w 128"/>
                  <a:gd name="T15" fmla="*/ 366510 h 97"/>
                  <a:gd name="T16" fmla="*/ 479956 w 128"/>
                  <a:gd name="T17" fmla="*/ 366510 h 97"/>
                  <a:gd name="T18" fmla="*/ 3750 w 128"/>
                  <a:gd name="T19" fmla="*/ 0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3" name="Freeform 209"/>
              <p:cNvSpPr>
                <a:spLocks/>
              </p:cNvSpPr>
              <p:nvPr/>
            </p:nvSpPr>
            <p:spPr bwMode="auto">
              <a:xfrm>
                <a:off x="-4434823" y="2669513"/>
                <a:ext cx="5217" cy="2461"/>
              </a:xfrm>
              <a:custGeom>
                <a:avLst/>
                <a:gdLst>
                  <a:gd name="T0" fmla="*/ 5217 w 1"/>
                  <a:gd name="T1" fmla="*/ 0 h 1"/>
                  <a:gd name="T2" fmla="*/ 0 w 1"/>
                  <a:gd name="T3" fmla="*/ 0 h 1"/>
                  <a:gd name="T4" fmla="*/ 5217 w 1"/>
                  <a:gd name="T5" fmla="*/ 2461 h 1"/>
                  <a:gd name="T6" fmla="*/ 5217 w 1"/>
                  <a:gd name="T7" fmla="*/ 2461 h 1"/>
                  <a:gd name="T8" fmla="*/ 521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4" name="Freeform 210"/>
              <p:cNvSpPr>
                <a:spLocks noEditPoints="1"/>
              </p:cNvSpPr>
              <p:nvPr/>
            </p:nvSpPr>
            <p:spPr bwMode="auto">
              <a:xfrm>
                <a:off x="-2679333" y="3151632"/>
                <a:ext cx="70429" cy="430464"/>
              </a:xfrm>
              <a:custGeom>
                <a:avLst/>
                <a:gdLst>
                  <a:gd name="T0" fmla="*/ 63015 w 19"/>
                  <a:gd name="T1" fmla="*/ 381376 h 114"/>
                  <a:gd name="T2" fmla="*/ 55602 w 19"/>
                  <a:gd name="T3" fmla="*/ 381376 h 114"/>
                  <a:gd name="T4" fmla="*/ 59309 w 19"/>
                  <a:gd name="T5" fmla="*/ 415360 h 114"/>
                  <a:gd name="T6" fmla="*/ 59309 w 19"/>
                  <a:gd name="T7" fmla="*/ 415360 h 114"/>
                  <a:gd name="T8" fmla="*/ 59309 w 19"/>
                  <a:gd name="T9" fmla="*/ 415360 h 114"/>
                  <a:gd name="T10" fmla="*/ 63015 w 19"/>
                  <a:gd name="T11" fmla="*/ 430464 h 114"/>
                  <a:gd name="T12" fmla="*/ 70429 w 19"/>
                  <a:gd name="T13" fmla="*/ 430464 h 114"/>
                  <a:gd name="T14" fmla="*/ 66722 w 19"/>
                  <a:gd name="T15" fmla="*/ 411584 h 114"/>
                  <a:gd name="T16" fmla="*/ 66722 w 19"/>
                  <a:gd name="T17" fmla="*/ 411584 h 114"/>
                  <a:gd name="T18" fmla="*/ 63015 w 19"/>
                  <a:gd name="T19" fmla="*/ 381376 h 114"/>
                  <a:gd name="T20" fmla="*/ 7414 w 19"/>
                  <a:gd name="T21" fmla="*/ 0 h 114"/>
                  <a:gd name="T22" fmla="*/ 0 w 19"/>
                  <a:gd name="T23" fmla="*/ 0 h 114"/>
                  <a:gd name="T24" fmla="*/ 55602 w 19"/>
                  <a:gd name="T25" fmla="*/ 377600 h 114"/>
                  <a:gd name="T26" fmla="*/ 63015 w 19"/>
                  <a:gd name="T27" fmla="*/ 377600 h 114"/>
                  <a:gd name="T28" fmla="*/ 7414 w 19"/>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5" name="Freeform 211"/>
              <p:cNvSpPr>
                <a:spLocks/>
              </p:cNvSpPr>
              <p:nvPr/>
            </p:nvSpPr>
            <p:spPr bwMode="auto">
              <a:xfrm>
                <a:off x="-2624555" y="3527981"/>
                <a:ext cx="7825" cy="4920"/>
              </a:xfrm>
              <a:custGeom>
                <a:avLst/>
                <a:gdLst>
                  <a:gd name="T0" fmla="*/ 7825 w 2"/>
                  <a:gd name="T1" fmla="*/ 0 h 1"/>
                  <a:gd name="T2" fmla="*/ 0 w 2"/>
                  <a:gd name="T3" fmla="*/ 0 h 1"/>
                  <a:gd name="T4" fmla="*/ 0 w 2"/>
                  <a:gd name="T5" fmla="*/ 4920 h 1"/>
                  <a:gd name="T6" fmla="*/ 7825 w 2"/>
                  <a:gd name="T7" fmla="*/ 4920 h 1"/>
                  <a:gd name="T8" fmla="*/ 782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6" name="Freeform 212"/>
              <p:cNvSpPr>
                <a:spLocks noEditPoints="1"/>
              </p:cNvSpPr>
              <p:nvPr/>
            </p:nvSpPr>
            <p:spPr bwMode="auto">
              <a:xfrm>
                <a:off x="-2812363" y="3587016"/>
                <a:ext cx="234761" cy="1613622"/>
              </a:xfrm>
              <a:custGeom>
                <a:avLst/>
                <a:gdLst>
                  <a:gd name="T0" fmla="*/ 117381 w 62"/>
                  <a:gd name="T1" fmla="*/ 1290145 h 429"/>
                  <a:gd name="T2" fmla="*/ 109808 w 62"/>
                  <a:gd name="T3" fmla="*/ 1290145 h 429"/>
                  <a:gd name="T4" fmla="*/ 0 w 62"/>
                  <a:gd name="T5" fmla="*/ 1613622 h 429"/>
                  <a:gd name="T6" fmla="*/ 7573 w 62"/>
                  <a:gd name="T7" fmla="*/ 1613622 h 429"/>
                  <a:gd name="T8" fmla="*/ 117381 w 62"/>
                  <a:gd name="T9" fmla="*/ 1290145 h 429"/>
                  <a:gd name="T10" fmla="*/ 208256 w 62"/>
                  <a:gd name="T11" fmla="*/ 876396 h 429"/>
                  <a:gd name="T12" fmla="*/ 200683 w 62"/>
                  <a:gd name="T13" fmla="*/ 876396 h 429"/>
                  <a:gd name="T14" fmla="*/ 196896 w 62"/>
                  <a:gd name="T15" fmla="*/ 898964 h 429"/>
                  <a:gd name="T16" fmla="*/ 109808 w 62"/>
                  <a:gd name="T17" fmla="*/ 1286384 h 429"/>
                  <a:gd name="T18" fmla="*/ 109808 w 62"/>
                  <a:gd name="T19" fmla="*/ 1286384 h 429"/>
                  <a:gd name="T20" fmla="*/ 117381 w 62"/>
                  <a:gd name="T21" fmla="*/ 1286384 h 429"/>
                  <a:gd name="T22" fmla="*/ 208256 w 62"/>
                  <a:gd name="T23" fmla="*/ 876396 h 429"/>
                  <a:gd name="T24" fmla="*/ 230975 w 62"/>
                  <a:gd name="T25" fmla="*/ 383658 h 429"/>
                  <a:gd name="T26" fmla="*/ 223402 w 62"/>
                  <a:gd name="T27" fmla="*/ 383658 h 429"/>
                  <a:gd name="T28" fmla="*/ 227188 w 62"/>
                  <a:gd name="T29" fmla="*/ 485215 h 429"/>
                  <a:gd name="T30" fmla="*/ 204469 w 62"/>
                  <a:gd name="T31" fmla="*/ 868873 h 429"/>
                  <a:gd name="T32" fmla="*/ 204469 w 62"/>
                  <a:gd name="T33" fmla="*/ 868873 h 429"/>
                  <a:gd name="T34" fmla="*/ 204469 w 62"/>
                  <a:gd name="T35" fmla="*/ 872635 h 429"/>
                  <a:gd name="T36" fmla="*/ 212042 w 62"/>
                  <a:gd name="T37" fmla="*/ 872635 h 429"/>
                  <a:gd name="T38" fmla="*/ 212042 w 62"/>
                  <a:gd name="T39" fmla="*/ 868873 h 429"/>
                  <a:gd name="T40" fmla="*/ 212042 w 62"/>
                  <a:gd name="T41" fmla="*/ 868873 h 429"/>
                  <a:gd name="T42" fmla="*/ 234761 w 62"/>
                  <a:gd name="T43" fmla="*/ 485215 h 429"/>
                  <a:gd name="T44" fmla="*/ 230975 w 62"/>
                  <a:gd name="T45" fmla="*/ 383658 h 429"/>
                  <a:gd name="T46" fmla="*/ 204469 w 62"/>
                  <a:gd name="T47" fmla="*/ 0 h 429"/>
                  <a:gd name="T48" fmla="*/ 196896 w 62"/>
                  <a:gd name="T49" fmla="*/ 0 h 429"/>
                  <a:gd name="T50" fmla="*/ 200683 w 62"/>
                  <a:gd name="T51" fmla="*/ 18807 h 429"/>
                  <a:gd name="T52" fmla="*/ 223402 w 62"/>
                  <a:gd name="T53" fmla="*/ 379897 h 429"/>
                  <a:gd name="T54" fmla="*/ 230975 w 62"/>
                  <a:gd name="T55" fmla="*/ 379897 h 429"/>
                  <a:gd name="T56" fmla="*/ 204469 w 62"/>
                  <a:gd name="T57" fmla="*/ 0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7" name="Freeform 213"/>
              <p:cNvSpPr>
                <a:spLocks/>
              </p:cNvSpPr>
              <p:nvPr/>
            </p:nvSpPr>
            <p:spPr bwMode="auto">
              <a:xfrm>
                <a:off x="-2702808" y="4871026"/>
                <a:ext cx="7825" cy="4920"/>
              </a:xfrm>
              <a:custGeom>
                <a:avLst/>
                <a:gdLst>
                  <a:gd name="T0" fmla="*/ 7825 w 2"/>
                  <a:gd name="T1" fmla="*/ 0 h 1"/>
                  <a:gd name="T2" fmla="*/ 0 w 2"/>
                  <a:gd name="T3" fmla="*/ 0 h 1"/>
                  <a:gd name="T4" fmla="*/ 0 w 2"/>
                  <a:gd name="T5" fmla="*/ 4920 h 1"/>
                  <a:gd name="T6" fmla="*/ 7825 w 2"/>
                  <a:gd name="T7" fmla="*/ 4920 h 1"/>
                  <a:gd name="T8" fmla="*/ 7825 w 2"/>
                  <a:gd name="T9" fmla="*/ 0 h 1"/>
                  <a:gd name="T10" fmla="*/ 7825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8" name="Freeform 214"/>
              <p:cNvSpPr>
                <a:spLocks noEditPoints="1"/>
              </p:cNvSpPr>
              <p:nvPr/>
            </p:nvSpPr>
            <p:spPr bwMode="auto">
              <a:xfrm>
                <a:off x="-2953220" y="2418615"/>
                <a:ext cx="279104" cy="2954209"/>
              </a:xfrm>
              <a:custGeom>
                <a:avLst/>
                <a:gdLst>
                  <a:gd name="T0" fmla="*/ 145134 w 75"/>
                  <a:gd name="T1" fmla="*/ 2784859 h 785"/>
                  <a:gd name="T2" fmla="*/ 137691 w 75"/>
                  <a:gd name="T3" fmla="*/ 2784859 h 785"/>
                  <a:gd name="T4" fmla="*/ 70706 w 75"/>
                  <a:gd name="T5" fmla="*/ 2912812 h 785"/>
                  <a:gd name="T6" fmla="*/ 70706 w 75"/>
                  <a:gd name="T7" fmla="*/ 2912812 h 785"/>
                  <a:gd name="T8" fmla="*/ 55821 w 75"/>
                  <a:gd name="T9" fmla="*/ 2950446 h 785"/>
                  <a:gd name="T10" fmla="*/ 59542 w 75"/>
                  <a:gd name="T11" fmla="*/ 2954209 h 785"/>
                  <a:gd name="T12" fmla="*/ 78149 w 75"/>
                  <a:gd name="T13" fmla="*/ 2916576 h 785"/>
                  <a:gd name="T14" fmla="*/ 78149 w 75"/>
                  <a:gd name="T15" fmla="*/ 2916576 h 785"/>
                  <a:gd name="T16" fmla="*/ 81871 w 75"/>
                  <a:gd name="T17" fmla="*/ 2909049 h 785"/>
                  <a:gd name="T18" fmla="*/ 78149 w 75"/>
                  <a:gd name="T19" fmla="*/ 2909049 h 785"/>
                  <a:gd name="T20" fmla="*/ 78149 w 75"/>
                  <a:gd name="T21" fmla="*/ 2905286 h 785"/>
                  <a:gd name="T22" fmla="*/ 81871 w 75"/>
                  <a:gd name="T23" fmla="*/ 2905286 h 785"/>
                  <a:gd name="T24" fmla="*/ 145134 w 75"/>
                  <a:gd name="T25" fmla="*/ 2784859 h 785"/>
                  <a:gd name="T26" fmla="*/ 182348 w 75"/>
                  <a:gd name="T27" fmla="*/ 368806 h 785"/>
                  <a:gd name="T28" fmla="*/ 174905 w 75"/>
                  <a:gd name="T29" fmla="*/ 368806 h 785"/>
                  <a:gd name="T30" fmla="*/ 271661 w 75"/>
                  <a:gd name="T31" fmla="*/ 730085 h 785"/>
                  <a:gd name="T32" fmla="*/ 279104 w 75"/>
                  <a:gd name="T33" fmla="*/ 730085 h 785"/>
                  <a:gd name="T34" fmla="*/ 182348 w 75"/>
                  <a:gd name="T35" fmla="*/ 368806 h 785"/>
                  <a:gd name="T36" fmla="*/ 3721 w 75"/>
                  <a:gd name="T37" fmla="*/ 0 h 785"/>
                  <a:gd name="T38" fmla="*/ 0 w 75"/>
                  <a:gd name="T39" fmla="*/ 3763 h 785"/>
                  <a:gd name="T40" fmla="*/ 3721 w 75"/>
                  <a:gd name="T41" fmla="*/ 7527 h 785"/>
                  <a:gd name="T42" fmla="*/ 174905 w 75"/>
                  <a:gd name="T43" fmla="*/ 365042 h 785"/>
                  <a:gd name="T44" fmla="*/ 182348 w 75"/>
                  <a:gd name="T45" fmla="*/ 365042 h 785"/>
                  <a:gd name="T46" fmla="*/ 3721 w 75"/>
                  <a:gd name="T47" fmla="*/ 0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9" name="Freeform 215"/>
              <p:cNvSpPr>
                <a:spLocks/>
              </p:cNvSpPr>
              <p:nvPr/>
            </p:nvSpPr>
            <p:spPr bwMode="auto">
              <a:xfrm>
                <a:off x="-2778454" y="2785124"/>
                <a:ext cx="7826" cy="2459"/>
              </a:xfrm>
              <a:custGeom>
                <a:avLst/>
                <a:gdLst>
                  <a:gd name="T0" fmla="*/ 7826 w 2"/>
                  <a:gd name="T1" fmla="*/ 0 h 1"/>
                  <a:gd name="T2" fmla="*/ 0 w 2"/>
                  <a:gd name="T3" fmla="*/ 0 h 1"/>
                  <a:gd name="T4" fmla="*/ 0 w 2"/>
                  <a:gd name="T5" fmla="*/ 2459 h 1"/>
                  <a:gd name="T6" fmla="*/ 7826 w 2"/>
                  <a:gd name="T7" fmla="*/ 2459 h 1"/>
                  <a:gd name="T8" fmla="*/ 7826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0" name="Freeform 216"/>
              <p:cNvSpPr>
                <a:spLocks/>
              </p:cNvSpPr>
              <p:nvPr/>
            </p:nvSpPr>
            <p:spPr bwMode="auto">
              <a:xfrm>
                <a:off x="-2614121" y="4460241"/>
                <a:ext cx="13041" cy="2461"/>
              </a:xfrm>
              <a:custGeom>
                <a:avLst/>
                <a:gdLst>
                  <a:gd name="T0" fmla="*/ 13041 w 3"/>
                  <a:gd name="T1" fmla="*/ 0 h 1"/>
                  <a:gd name="T2" fmla="*/ 4347 w 3"/>
                  <a:gd name="T3" fmla="*/ 0 h 1"/>
                  <a:gd name="T4" fmla="*/ 0 w 3"/>
                  <a:gd name="T5" fmla="*/ 2461 h 1"/>
                  <a:gd name="T6" fmla="*/ 8694 w 3"/>
                  <a:gd name="T7" fmla="*/ 2461 h 1"/>
                  <a:gd name="T8" fmla="*/ 13041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1" name="Freeform 217"/>
              <p:cNvSpPr>
                <a:spLocks/>
              </p:cNvSpPr>
              <p:nvPr/>
            </p:nvSpPr>
            <p:spPr bwMode="auto">
              <a:xfrm>
                <a:off x="-2814973" y="5200638"/>
                <a:ext cx="10434" cy="2459"/>
              </a:xfrm>
              <a:custGeom>
                <a:avLst/>
                <a:gdLst>
                  <a:gd name="T0" fmla="*/ 10434 w 3"/>
                  <a:gd name="T1" fmla="*/ 0 h 1"/>
                  <a:gd name="T2" fmla="*/ 3478 w 3"/>
                  <a:gd name="T3" fmla="*/ 0 h 1"/>
                  <a:gd name="T4" fmla="*/ 0 w 3"/>
                  <a:gd name="T5" fmla="*/ 2459 h 1"/>
                  <a:gd name="T6" fmla="*/ 6956 w 3"/>
                  <a:gd name="T7" fmla="*/ 2459 h 1"/>
                  <a:gd name="T8" fmla="*/ 10434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2" name="Freeform 218"/>
              <p:cNvSpPr>
                <a:spLocks/>
              </p:cNvSpPr>
              <p:nvPr/>
            </p:nvSpPr>
            <p:spPr bwMode="auto">
              <a:xfrm>
                <a:off x="-2874966" y="5323628"/>
                <a:ext cx="2608" cy="4920"/>
              </a:xfrm>
              <a:custGeom>
                <a:avLst/>
                <a:gdLst>
                  <a:gd name="T0" fmla="*/ 2608 w 1"/>
                  <a:gd name="T1" fmla="*/ 0 h 1"/>
                  <a:gd name="T2" fmla="*/ 0 w 1"/>
                  <a:gd name="T3" fmla="*/ 0 h 1"/>
                  <a:gd name="T4" fmla="*/ 0 w 1"/>
                  <a:gd name="T5" fmla="*/ 4920 h 1"/>
                  <a:gd name="T6" fmla="*/ 2608 w 1"/>
                  <a:gd name="T7" fmla="*/ 4920 h 1"/>
                  <a:gd name="T8" fmla="*/ 2608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3" name="Freeform 219"/>
              <p:cNvSpPr>
                <a:spLocks/>
              </p:cNvSpPr>
              <p:nvPr/>
            </p:nvSpPr>
            <p:spPr bwMode="auto">
              <a:xfrm>
                <a:off x="-2590646" y="3965824"/>
                <a:ext cx="7826" cy="4920"/>
              </a:xfrm>
              <a:custGeom>
                <a:avLst/>
                <a:gdLst>
                  <a:gd name="T0" fmla="*/ 7826 w 2"/>
                  <a:gd name="T1" fmla="*/ 0 h 1"/>
                  <a:gd name="T2" fmla="*/ 0 w 2"/>
                  <a:gd name="T3" fmla="*/ 0 h 1"/>
                  <a:gd name="T4" fmla="*/ 0 w 2"/>
                  <a:gd name="T5" fmla="*/ 4920 h 1"/>
                  <a:gd name="T6" fmla="*/ 7826 w 2"/>
                  <a:gd name="T7" fmla="*/ 4920 h 1"/>
                  <a:gd name="T8" fmla="*/ 7826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4" name="Freeform 220"/>
              <p:cNvSpPr>
                <a:spLocks/>
              </p:cNvSpPr>
              <p:nvPr/>
            </p:nvSpPr>
            <p:spPr bwMode="auto">
              <a:xfrm>
                <a:off x="-2616730" y="3582096"/>
                <a:ext cx="7826" cy="4920"/>
              </a:xfrm>
              <a:custGeom>
                <a:avLst/>
                <a:gdLst>
                  <a:gd name="T0" fmla="*/ 7826 w 2"/>
                  <a:gd name="T1" fmla="*/ 0 h 1"/>
                  <a:gd name="T2" fmla="*/ 0 w 2"/>
                  <a:gd name="T3" fmla="*/ 0 h 1"/>
                  <a:gd name="T4" fmla="*/ 0 w 2"/>
                  <a:gd name="T5" fmla="*/ 4920 h 1"/>
                  <a:gd name="T6" fmla="*/ 7826 w 2"/>
                  <a:gd name="T7" fmla="*/ 4920 h 1"/>
                  <a:gd name="T8" fmla="*/ 7826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5" name="Freeform 221"/>
              <p:cNvSpPr>
                <a:spLocks/>
              </p:cNvSpPr>
              <p:nvPr/>
            </p:nvSpPr>
            <p:spPr bwMode="auto">
              <a:xfrm>
                <a:off x="-5801654" y="3149173"/>
                <a:ext cx="10434" cy="2459"/>
              </a:xfrm>
              <a:custGeom>
                <a:avLst/>
                <a:gdLst>
                  <a:gd name="T0" fmla="*/ 10434 w 3"/>
                  <a:gd name="T1" fmla="*/ 0 h 1"/>
                  <a:gd name="T2" fmla="*/ 0 w 3"/>
                  <a:gd name="T3" fmla="*/ 0 h 1"/>
                  <a:gd name="T4" fmla="*/ 0 w 3"/>
                  <a:gd name="T5" fmla="*/ 2459 h 1"/>
                  <a:gd name="T6" fmla="*/ 6956 w 3"/>
                  <a:gd name="T7" fmla="*/ 2459 h 1"/>
                  <a:gd name="T8" fmla="*/ 6956 w 3"/>
                  <a:gd name="T9" fmla="*/ 2459 h 1"/>
                  <a:gd name="T10" fmla="*/ 6956 w 3"/>
                  <a:gd name="T11" fmla="*/ 0 h 1"/>
                  <a:gd name="T12" fmla="*/ 6956 w 3"/>
                  <a:gd name="T13" fmla="*/ 0 h 1"/>
                  <a:gd name="T14" fmla="*/ 10434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6" name="Freeform 222"/>
              <p:cNvSpPr>
                <a:spLocks/>
              </p:cNvSpPr>
              <p:nvPr/>
            </p:nvSpPr>
            <p:spPr bwMode="auto">
              <a:xfrm>
                <a:off x="-5566893" y="3149173"/>
                <a:ext cx="7825" cy="2459"/>
              </a:xfrm>
              <a:custGeom>
                <a:avLst/>
                <a:gdLst>
                  <a:gd name="T0" fmla="*/ 7825 w 2"/>
                  <a:gd name="T1" fmla="*/ 0 h 1"/>
                  <a:gd name="T2" fmla="*/ 0 w 2"/>
                  <a:gd name="T3" fmla="*/ 0 h 1"/>
                  <a:gd name="T4" fmla="*/ 0 w 2"/>
                  <a:gd name="T5" fmla="*/ 2459 h 1"/>
                  <a:gd name="T6" fmla="*/ 7825 w 2"/>
                  <a:gd name="T7" fmla="*/ 2459 h 1"/>
                  <a:gd name="T8" fmla="*/ 782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7" name="Freeform 223"/>
              <p:cNvSpPr>
                <a:spLocks/>
              </p:cNvSpPr>
              <p:nvPr/>
            </p:nvSpPr>
            <p:spPr bwMode="auto">
              <a:xfrm>
                <a:off x="-5326915" y="3149173"/>
                <a:ext cx="7825" cy="2459"/>
              </a:xfrm>
              <a:custGeom>
                <a:avLst/>
                <a:gdLst>
                  <a:gd name="T0" fmla="*/ 7825 w 2"/>
                  <a:gd name="T1" fmla="*/ 0 h 1"/>
                  <a:gd name="T2" fmla="*/ 0 w 2"/>
                  <a:gd name="T3" fmla="*/ 0 h 1"/>
                  <a:gd name="T4" fmla="*/ 0 w 2"/>
                  <a:gd name="T5" fmla="*/ 2459 h 1"/>
                  <a:gd name="T6" fmla="*/ 7825 w 2"/>
                  <a:gd name="T7" fmla="*/ 2459 h 1"/>
                  <a:gd name="T8" fmla="*/ 782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8" name="Freeform 224"/>
              <p:cNvSpPr>
                <a:spLocks/>
              </p:cNvSpPr>
              <p:nvPr/>
            </p:nvSpPr>
            <p:spPr bwMode="auto">
              <a:xfrm>
                <a:off x="-5081720" y="3149173"/>
                <a:ext cx="5217" cy="2459"/>
              </a:xfrm>
              <a:custGeom>
                <a:avLst/>
                <a:gdLst>
                  <a:gd name="T0" fmla="*/ 0 w 3"/>
                  <a:gd name="T1" fmla="*/ 0 h 2"/>
                  <a:gd name="T2" fmla="*/ 0 w 3"/>
                  <a:gd name="T3" fmla="*/ 0 h 2"/>
                  <a:gd name="T4" fmla="*/ 0 w 3"/>
                  <a:gd name="T5" fmla="*/ 2459 h 2"/>
                  <a:gd name="T6" fmla="*/ 5217 w 3"/>
                  <a:gd name="T7" fmla="*/ 2459 h 2"/>
                  <a:gd name="T8" fmla="*/ 0 w 3"/>
                  <a:gd name="T9" fmla="*/ 0 h 2"/>
                  <a:gd name="T10" fmla="*/ 0 w 3"/>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2">
                    <a:moveTo>
                      <a:pt x="0" y="0"/>
                    </a:moveTo>
                    <a:lnTo>
                      <a:pt x="0" y="0"/>
                    </a:lnTo>
                    <a:lnTo>
                      <a:pt x="0" y="2"/>
                    </a:lnTo>
                    <a:lnTo>
                      <a:pt x="3"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9" name="Freeform 225"/>
              <p:cNvSpPr>
                <a:spLocks/>
              </p:cNvSpPr>
              <p:nvPr/>
            </p:nvSpPr>
            <p:spPr bwMode="auto">
              <a:xfrm>
                <a:off x="-4836525" y="3149173"/>
                <a:ext cx="7825" cy="2459"/>
              </a:xfrm>
              <a:custGeom>
                <a:avLst/>
                <a:gdLst>
                  <a:gd name="T0" fmla="*/ 7825 w 2"/>
                  <a:gd name="T1" fmla="*/ 0 h 1"/>
                  <a:gd name="T2" fmla="*/ 0 w 2"/>
                  <a:gd name="T3" fmla="*/ 0 h 1"/>
                  <a:gd name="T4" fmla="*/ 0 w 2"/>
                  <a:gd name="T5" fmla="*/ 2459 h 1"/>
                  <a:gd name="T6" fmla="*/ 7825 w 2"/>
                  <a:gd name="T7" fmla="*/ 2459 h 1"/>
                  <a:gd name="T8" fmla="*/ 782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0" name="Freeform 226"/>
              <p:cNvSpPr>
                <a:spLocks/>
              </p:cNvSpPr>
              <p:nvPr/>
            </p:nvSpPr>
            <p:spPr bwMode="auto">
              <a:xfrm>
                <a:off x="-4609590" y="3149173"/>
                <a:ext cx="7826" cy="2459"/>
              </a:xfrm>
              <a:custGeom>
                <a:avLst/>
                <a:gdLst>
                  <a:gd name="T0" fmla="*/ 7826 w 2"/>
                  <a:gd name="T1" fmla="*/ 0 h 1"/>
                  <a:gd name="T2" fmla="*/ 0 w 2"/>
                  <a:gd name="T3" fmla="*/ 0 h 1"/>
                  <a:gd name="T4" fmla="*/ 0 w 2"/>
                  <a:gd name="T5" fmla="*/ 2459 h 1"/>
                  <a:gd name="T6" fmla="*/ 7826 w 2"/>
                  <a:gd name="T7" fmla="*/ 2459 h 1"/>
                  <a:gd name="T8" fmla="*/ 7826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1" name="Freeform 227"/>
              <p:cNvSpPr>
                <a:spLocks/>
              </p:cNvSpPr>
              <p:nvPr/>
            </p:nvSpPr>
            <p:spPr bwMode="auto">
              <a:xfrm>
                <a:off x="-1956790" y="3149173"/>
                <a:ext cx="7825" cy="2459"/>
              </a:xfrm>
              <a:custGeom>
                <a:avLst/>
                <a:gdLst>
                  <a:gd name="T0" fmla="*/ 7825 w 2"/>
                  <a:gd name="T1" fmla="*/ 0 h 1"/>
                  <a:gd name="T2" fmla="*/ 0 w 2"/>
                  <a:gd name="T3" fmla="*/ 0 h 1"/>
                  <a:gd name="T4" fmla="*/ 0 w 2"/>
                  <a:gd name="T5" fmla="*/ 2459 h 1"/>
                  <a:gd name="T6" fmla="*/ 7825 w 2"/>
                  <a:gd name="T7" fmla="*/ 2459 h 1"/>
                  <a:gd name="T8" fmla="*/ 782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2" name="Freeform 228"/>
              <p:cNvSpPr>
                <a:spLocks/>
              </p:cNvSpPr>
              <p:nvPr/>
            </p:nvSpPr>
            <p:spPr bwMode="auto">
              <a:xfrm>
                <a:off x="-3641852" y="3149173"/>
                <a:ext cx="5217" cy="2459"/>
              </a:xfrm>
              <a:custGeom>
                <a:avLst/>
                <a:gdLst>
                  <a:gd name="T0" fmla="*/ 5217 w 2"/>
                  <a:gd name="T1" fmla="*/ 0 h 1"/>
                  <a:gd name="T2" fmla="*/ 0 w 2"/>
                  <a:gd name="T3" fmla="*/ 0 h 1"/>
                  <a:gd name="T4" fmla="*/ 0 w 2"/>
                  <a:gd name="T5" fmla="*/ 2459 h 1"/>
                  <a:gd name="T6" fmla="*/ 5217 w 2"/>
                  <a:gd name="T7" fmla="*/ 2459 h 1"/>
                  <a:gd name="T8" fmla="*/ 521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3" name="Freeform 229"/>
              <p:cNvSpPr>
                <a:spLocks/>
              </p:cNvSpPr>
              <p:nvPr/>
            </p:nvSpPr>
            <p:spPr bwMode="auto">
              <a:xfrm>
                <a:off x="-3420135" y="3149173"/>
                <a:ext cx="10434" cy="2459"/>
              </a:xfrm>
              <a:custGeom>
                <a:avLst/>
                <a:gdLst>
                  <a:gd name="T0" fmla="*/ 10434 w 3"/>
                  <a:gd name="T1" fmla="*/ 0 h 1"/>
                  <a:gd name="T2" fmla="*/ 3478 w 3"/>
                  <a:gd name="T3" fmla="*/ 0 h 1"/>
                  <a:gd name="T4" fmla="*/ 0 w 3"/>
                  <a:gd name="T5" fmla="*/ 2459 h 1"/>
                  <a:gd name="T6" fmla="*/ 10434 w 3"/>
                  <a:gd name="T7" fmla="*/ 2459 h 1"/>
                  <a:gd name="T8" fmla="*/ 10434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4" name="Freeform 230"/>
              <p:cNvSpPr>
                <a:spLocks/>
              </p:cNvSpPr>
              <p:nvPr/>
            </p:nvSpPr>
            <p:spPr bwMode="auto">
              <a:xfrm>
                <a:off x="-3172330" y="3149173"/>
                <a:ext cx="7825" cy="2459"/>
              </a:xfrm>
              <a:custGeom>
                <a:avLst/>
                <a:gdLst>
                  <a:gd name="T0" fmla="*/ 7825 w 4"/>
                  <a:gd name="T1" fmla="*/ 0 h 2"/>
                  <a:gd name="T2" fmla="*/ 0 w 4"/>
                  <a:gd name="T3" fmla="*/ 0 h 2"/>
                  <a:gd name="T4" fmla="*/ 0 w 4"/>
                  <a:gd name="T5" fmla="*/ 2459 h 2"/>
                  <a:gd name="T6" fmla="*/ 7825 w 4"/>
                  <a:gd name="T7" fmla="*/ 2459 h 2"/>
                  <a:gd name="T8" fmla="*/ 7825 w 4"/>
                  <a:gd name="T9" fmla="*/ 0 h 2"/>
                  <a:gd name="T10" fmla="*/ 7825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5" name="Freeform 231"/>
              <p:cNvSpPr>
                <a:spLocks/>
              </p:cNvSpPr>
              <p:nvPr/>
            </p:nvSpPr>
            <p:spPr bwMode="auto">
              <a:xfrm>
                <a:off x="-2921919" y="3149173"/>
                <a:ext cx="7825" cy="2459"/>
              </a:xfrm>
              <a:custGeom>
                <a:avLst/>
                <a:gdLst>
                  <a:gd name="T0" fmla="*/ 7825 w 2"/>
                  <a:gd name="T1" fmla="*/ 0 h 1"/>
                  <a:gd name="T2" fmla="*/ 0 w 2"/>
                  <a:gd name="T3" fmla="*/ 0 h 1"/>
                  <a:gd name="T4" fmla="*/ 0 w 2"/>
                  <a:gd name="T5" fmla="*/ 2459 h 1"/>
                  <a:gd name="T6" fmla="*/ 7825 w 2"/>
                  <a:gd name="T7" fmla="*/ 2459 h 1"/>
                  <a:gd name="T8" fmla="*/ 782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6" name="Freeform 232"/>
              <p:cNvSpPr>
                <a:spLocks/>
              </p:cNvSpPr>
              <p:nvPr/>
            </p:nvSpPr>
            <p:spPr bwMode="auto">
              <a:xfrm>
                <a:off x="-2397620" y="3149173"/>
                <a:ext cx="2609" cy="2459"/>
              </a:xfrm>
              <a:custGeom>
                <a:avLst/>
                <a:gdLst>
                  <a:gd name="T0" fmla="*/ 2609 w 1"/>
                  <a:gd name="T1" fmla="*/ 0 h 1"/>
                  <a:gd name="T2" fmla="*/ 0 w 1"/>
                  <a:gd name="T3" fmla="*/ 0 h 1"/>
                  <a:gd name="T4" fmla="*/ 0 w 1"/>
                  <a:gd name="T5" fmla="*/ 2459 h 1"/>
                  <a:gd name="T6" fmla="*/ 2609 w 1"/>
                  <a:gd name="T7" fmla="*/ 2459 h 1"/>
                  <a:gd name="T8" fmla="*/ 2609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7" name="Freeform 233"/>
              <p:cNvSpPr>
                <a:spLocks/>
              </p:cNvSpPr>
              <p:nvPr/>
            </p:nvSpPr>
            <p:spPr bwMode="auto">
              <a:xfrm>
                <a:off x="-2186334" y="3149173"/>
                <a:ext cx="10434" cy="2459"/>
              </a:xfrm>
              <a:custGeom>
                <a:avLst/>
                <a:gdLst>
                  <a:gd name="T0" fmla="*/ 10434 w 3"/>
                  <a:gd name="T1" fmla="*/ 0 h 1"/>
                  <a:gd name="T2" fmla="*/ 0 w 3"/>
                  <a:gd name="T3" fmla="*/ 0 h 1"/>
                  <a:gd name="T4" fmla="*/ 3478 w 3"/>
                  <a:gd name="T5" fmla="*/ 2459 h 1"/>
                  <a:gd name="T6" fmla="*/ 10434 w 3"/>
                  <a:gd name="T7" fmla="*/ 2459 h 1"/>
                  <a:gd name="T8" fmla="*/ 10434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8" name="Freeform 234"/>
              <p:cNvSpPr>
                <a:spLocks/>
              </p:cNvSpPr>
              <p:nvPr/>
            </p:nvSpPr>
            <p:spPr bwMode="auto">
              <a:xfrm>
                <a:off x="-1515962" y="3149173"/>
                <a:ext cx="10434" cy="2459"/>
              </a:xfrm>
              <a:custGeom>
                <a:avLst/>
                <a:gdLst>
                  <a:gd name="T0" fmla="*/ 6956 w 3"/>
                  <a:gd name="T1" fmla="*/ 0 h 1"/>
                  <a:gd name="T2" fmla="*/ 0 w 3"/>
                  <a:gd name="T3" fmla="*/ 0 h 1"/>
                  <a:gd name="T4" fmla="*/ 0 w 3"/>
                  <a:gd name="T5" fmla="*/ 2459 h 1"/>
                  <a:gd name="T6" fmla="*/ 10434 w 3"/>
                  <a:gd name="T7" fmla="*/ 2459 h 1"/>
                  <a:gd name="T8" fmla="*/ 6956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9" name="Freeform 235"/>
              <p:cNvSpPr>
                <a:spLocks/>
              </p:cNvSpPr>
              <p:nvPr/>
            </p:nvSpPr>
            <p:spPr bwMode="auto">
              <a:xfrm>
                <a:off x="-1748114" y="3149173"/>
                <a:ext cx="10434" cy="2459"/>
              </a:xfrm>
              <a:custGeom>
                <a:avLst/>
                <a:gdLst>
                  <a:gd name="T0" fmla="*/ 10434 w 3"/>
                  <a:gd name="T1" fmla="*/ 0 h 1"/>
                  <a:gd name="T2" fmla="*/ 0 w 3"/>
                  <a:gd name="T3" fmla="*/ 0 h 1"/>
                  <a:gd name="T4" fmla="*/ 3478 w 3"/>
                  <a:gd name="T5" fmla="*/ 2459 h 1"/>
                  <a:gd name="T6" fmla="*/ 10434 w 3"/>
                  <a:gd name="T7" fmla="*/ 2459 h 1"/>
                  <a:gd name="T8" fmla="*/ 10434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0" name="Freeform 236"/>
              <p:cNvSpPr>
                <a:spLocks/>
              </p:cNvSpPr>
              <p:nvPr/>
            </p:nvSpPr>
            <p:spPr bwMode="auto">
              <a:xfrm>
                <a:off x="-2679333" y="3149173"/>
                <a:ext cx="5217" cy="2459"/>
              </a:xfrm>
              <a:custGeom>
                <a:avLst/>
                <a:gdLst>
                  <a:gd name="T0" fmla="*/ 5217 w 2"/>
                  <a:gd name="T1" fmla="*/ 0 h 1"/>
                  <a:gd name="T2" fmla="*/ 0 w 2"/>
                  <a:gd name="T3" fmla="*/ 0 h 1"/>
                  <a:gd name="T4" fmla="*/ 0 w 2"/>
                  <a:gd name="T5" fmla="*/ 2459 h 1"/>
                  <a:gd name="T6" fmla="*/ 5217 w 2"/>
                  <a:gd name="T7" fmla="*/ 2459 h 1"/>
                  <a:gd name="T8" fmla="*/ 521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1" name="Freeform 237"/>
              <p:cNvSpPr>
                <a:spLocks noEditPoints="1"/>
              </p:cNvSpPr>
              <p:nvPr/>
            </p:nvSpPr>
            <p:spPr bwMode="auto">
              <a:xfrm>
                <a:off x="-6346822" y="2366960"/>
                <a:ext cx="5613397" cy="3281360"/>
              </a:xfrm>
              <a:custGeom>
                <a:avLst/>
                <a:gdLst>
                  <a:gd name="T0" fmla="*/ 807818 w 1494"/>
                  <a:gd name="T1" fmla="*/ 142995 h 872"/>
                  <a:gd name="T2" fmla="*/ 2010152 w 1494"/>
                  <a:gd name="T3" fmla="*/ 417696 h 872"/>
                  <a:gd name="T4" fmla="*/ 1822288 w 1494"/>
                  <a:gd name="T5" fmla="*/ 421459 h 872"/>
                  <a:gd name="T6" fmla="*/ 1980094 w 1494"/>
                  <a:gd name="T7" fmla="*/ 793999 h 872"/>
                  <a:gd name="T8" fmla="*/ 2160444 w 1494"/>
                  <a:gd name="T9" fmla="*/ 1245562 h 872"/>
                  <a:gd name="T10" fmla="*/ 2273163 w 1494"/>
                  <a:gd name="T11" fmla="*/ 1219221 h 872"/>
                  <a:gd name="T12" fmla="*/ 2445998 w 1494"/>
                  <a:gd name="T13" fmla="*/ 831629 h 872"/>
                  <a:gd name="T14" fmla="*/ 2645135 w 1494"/>
                  <a:gd name="T15" fmla="*/ 444037 h 872"/>
                  <a:gd name="T16" fmla="*/ 2585018 w 1494"/>
                  <a:gd name="T17" fmla="*/ 410170 h 872"/>
                  <a:gd name="T18" fmla="*/ 3359021 w 1494"/>
                  <a:gd name="T19" fmla="*/ 22578 h 872"/>
                  <a:gd name="T20" fmla="*/ 4756734 w 1494"/>
                  <a:gd name="T21" fmla="*/ 391355 h 872"/>
                  <a:gd name="T22" fmla="*/ 5049803 w 1494"/>
                  <a:gd name="T23" fmla="*/ 782710 h 872"/>
                  <a:gd name="T24" fmla="*/ 5448076 w 1494"/>
                  <a:gd name="T25" fmla="*/ 1215458 h 872"/>
                  <a:gd name="T26" fmla="*/ 5605882 w 1494"/>
                  <a:gd name="T27" fmla="*/ 1787438 h 872"/>
                  <a:gd name="T28" fmla="*/ 5511950 w 1494"/>
                  <a:gd name="T29" fmla="*/ 2509939 h 872"/>
                  <a:gd name="T30" fmla="*/ 5365416 w 1494"/>
                  <a:gd name="T31" fmla="*/ 3036763 h 872"/>
                  <a:gd name="T32" fmla="*/ 4580141 w 1494"/>
                  <a:gd name="T33" fmla="*/ 2961503 h 872"/>
                  <a:gd name="T34" fmla="*/ 4275800 w 1494"/>
                  <a:gd name="T35" fmla="*/ 2506176 h 872"/>
                  <a:gd name="T36" fmla="*/ 4148052 w 1494"/>
                  <a:gd name="T37" fmla="*/ 2092243 h 872"/>
                  <a:gd name="T38" fmla="*/ 4076664 w 1494"/>
                  <a:gd name="T39" fmla="*/ 1678310 h 872"/>
                  <a:gd name="T40" fmla="*/ 3971460 w 1494"/>
                  <a:gd name="T41" fmla="*/ 2178793 h 872"/>
                  <a:gd name="T42" fmla="*/ 3843712 w 1494"/>
                  <a:gd name="T43" fmla="*/ 2509939 h 872"/>
                  <a:gd name="T44" fmla="*/ 3599488 w 1494"/>
                  <a:gd name="T45" fmla="*/ 2961503 h 872"/>
                  <a:gd name="T46" fmla="*/ 2814213 w 1494"/>
                  <a:gd name="T47" fmla="*/ 2961503 h 872"/>
                  <a:gd name="T48" fmla="*/ 2675193 w 1494"/>
                  <a:gd name="T49" fmla="*/ 2509939 h 872"/>
                  <a:gd name="T50" fmla="*/ 2551203 w 1494"/>
                  <a:gd name="T51" fmla="*/ 2096006 h 872"/>
                  <a:gd name="T52" fmla="*/ 2513630 w 1494"/>
                  <a:gd name="T53" fmla="*/ 1727230 h 872"/>
                  <a:gd name="T54" fmla="*/ 2348309 w 1494"/>
                  <a:gd name="T55" fmla="*/ 2513702 h 872"/>
                  <a:gd name="T56" fmla="*/ 2194260 w 1494"/>
                  <a:gd name="T57" fmla="*/ 2957740 h 872"/>
                  <a:gd name="T58" fmla="*/ 1886162 w 1494"/>
                  <a:gd name="T59" fmla="*/ 3247493 h 872"/>
                  <a:gd name="T60" fmla="*/ 1566792 w 1494"/>
                  <a:gd name="T61" fmla="*/ 2961503 h 872"/>
                  <a:gd name="T62" fmla="*/ 1514189 w 1494"/>
                  <a:gd name="T63" fmla="*/ 2833560 h 872"/>
                  <a:gd name="T64" fmla="*/ 1326325 w 1494"/>
                  <a:gd name="T65" fmla="*/ 2175030 h 872"/>
                  <a:gd name="T66" fmla="*/ 1273723 w 1494"/>
                  <a:gd name="T67" fmla="*/ 1636917 h 872"/>
                  <a:gd name="T68" fmla="*/ 1198577 w 1494"/>
                  <a:gd name="T69" fmla="*/ 2096006 h 872"/>
                  <a:gd name="T70" fmla="*/ 1014469 w 1494"/>
                  <a:gd name="T71" fmla="*/ 2513702 h 872"/>
                  <a:gd name="T72" fmla="*/ 804061 w 1494"/>
                  <a:gd name="T73" fmla="*/ 2953977 h 872"/>
                  <a:gd name="T74" fmla="*/ 172836 w 1494"/>
                  <a:gd name="T75" fmla="*/ 2953977 h 872"/>
                  <a:gd name="T76" fmla="*/ 105204 w 1494"/>
                  <a:gd name="T77" fmla="*/ 2509939 h 872"/>
                  <a:gd name="T78" fmla="*/ 37573 w 1494"/>
                  <a:gd name="T79" fmla="*/ 2159978 h 872"/>
                  <a:gd name="T80" fmla="*/ 3757 w 1494"/>
                  <a:gd name="T81" fmla="*/ 1700888 h 872"/>
                  <a:gd name="T82" fmla="*/ 86418 w 1494"/>
                  <a:gd name="T83" fmla="*/ 1219221 h 872"/>
                  <a:gd name="T84" fmla="*/ 108962 w 1494"/>
                  <a:gd name="T85" fmla="*/ 1162776 h 872"/>
                  <a:gd name="T86" fmla="*/ 315613 w 1494"/>
                  <a:gd name="T87" fmla="*/ 786473 h 872"/>
                  <a:gd name="T88" fmla="*/ 608682 w 1494"/>
                  <a:gd name="T89" fmla="*/ 304805 h 872"/>
                  <a:gd name="T90" fmla="*/ 804061 w 1494"/>
                  <a:gd name="T91" fmla="*/ 135469 h 872"/>
                  <a:gd name="T92" fmla="*/ 86418 w 1494"/>
                  <a:gd name="T93" fmla="*/ 1196643 h 872"/>
                  <a:gd name="T94" fmla="*/ 142777 w 1494"/>
                  <a:gd name="T95" fmla="*/ 2893768 h 872"/>
                  <a:gd name="T96" fmla="*/ 1025741 w 1494"/>
                  <a:gd name="T97" fmla="*/ 2509939 h 872"/>
                  <a:gd name="T98" fmla="*/ 1743384 w 1494"/>
                  <a:gd name="T99" fmla="*/ 3191047 h 872"/>
                  <a:gd name="T100" fmla="*/ 2216803 w 1494"/>
                  <a:gd name="T101" fmla="*/ 2920109 h 872"/>
                  <a:gd name="T102" fmla="*/ 3377807 w 1494"/>
                  <a:gd name="T103" fmla="*/ 3206099 h 872"/>
                  <a:gd name="T104" fmla="*/ 5053560 w 1494"/>
                  <a:gd name="T105" fmla="*/ 3281360 h 872"/>
                  <a:gd name="T106" fmla="*/ 5538251 w 1494"/>
                  <a:gd name="T107" fmla="*/ 1377268 h 872"/>
                  <a:gd name="T108" fmla="*/ 4644015 w 1494"/>
                  <a:gd name="T109" fmla="*/ 327383 h 872"/>
                  <a:gd name="T110" fmla="*/ 2787912 w 1494"/>
                  <a:gd name="T111" fmla="*/ 199440 h 872"/>
                  <a:gd name="T112" fmla="*/ 2167959 w 1494"/>
                  <a:gd name="T113" fmla="*/ 1245562 h 8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2" name="Freeform 238"/>
              <p:cNvSpPr>
                <a:spLocks noEditPoints="1"/>
              </p:cNvSpPr>
              <p:nvPr/>
            </p:nvSpPr>
            <p:spPr bwMode="auto">
              <a:xfrm>
                <a:off x="-4912171" y="4871026"/>
                <a:ext cx="915569" cy="4920"/>
              </a:xfrm>
              <a:custGeom>
                <a:avLst/>
                <a:gdLst>
                  <a:gd name="T0" fmla="*/ 0 w 244"/>
                  <a:gd name="T1" fmla="*/ 0 h 1"/>
                  <a:gd name="T2" fmla="*/ 0 w 244"/>
                  <a:gd name="T3" fmla="*/ 0 h 1"/>
                  <a:gd name="T4" fmla="*/ 0 w 244"/>
                  <a:gd name="T5" fmla="*/ 4920 h 1"/>
                  <a:gd name="T6" fmla="*/ 3752 w 244"/>
                  <a:gd name="T7" fmla="*/ 4920 h 1"/>
                  <a:gd name="T8" fmla="*/ 3752 w 244"/>
                  <a:gd name="T9" fmla="*/ 0 h 1"/>
                  <a:gd name="T10" fmla="*/ 3752 w 244"/>
                  <a:gd name="T11" fmla="*/ 0 h 1"/>
                  <a:gd name="T12" fmla="*/ 3752 w 244"/>
                  <a:gd name="T13" fmla="*/ 0 h 1"/>
                  <a:gd name="T14" fmla="*/ 0 w 244"/>
                  <a:gd name="T15" fmla="*/ 0 h 1"/>
                  <a:gd name="T16" fmla="*/ 915569 w 244"/>
                  <a:gd name="T17" fmla="*/ 0 h 1"/>
                  <a:gd name="T18" fmla="*/ 911817 w 244"/>
                  <a:gd name="T19" fmla="*/ 0 h 1"/>
                  <a:gd name="T20" fmla="*/ 911817 w 244"/>
                  <a:gd name="T21" fmla="*/ 0 h 1"/>
                  <a:gd name="T22" fmla="*/ 911817 w 244"/>
                  <a:gd name="T23" fmla="*/ 0 h 1"/>
                  <a:gd name="T24" fmla="*/ 911817 w 244"/>
                  <a:gd name="T25" fmla="*/ 0 h 1"/>
                  <a:gd name="T26" fmla="*/ 911817 w 244"/>
                  <a:gd name="T27" fmla="*/ 4920 h 1"/>
                  <a:gd name="T28" fmla="*/ 915569 w 244"/>
                  <a:gd name="T29" fmla="*/ 4920 h 1"/>
                  <a:gd name="T30" fmla="*/ 915569 w 244"/>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3" name="Freeform 239"/>
              <p:cNvSpPr>
                <a:spLocks noEditPoints="1"/>
              </p:cNvSpPr>
              <p:nvPr/>
            </p:nvSpPr>
            <p:spPr bwMode="auto">
              <a:xfrm>
                <a:off x="-3673154" y="4871026"/>
                <a:ext cx="1173805" cy="4920"/>
              </a:xfrm>
              <a:custGeom>
                <a:avLst/>
                <a:gdLst>
                  <a:gd name="T0" fmla="*/ 3762 w 312"/>
                  <a:gd name="T1" fmla="*/ 0 h 1"/>
                  <a:gd name="T2" fmla="*/ 0 w 312"/>
                  <a:gd name="T3" fmla="*/ 0 h 1"/>
                  <a:gd name="T4" fmla="*/ 0 w 312"/>
                  <a:gd name="T5" fmla="*/ 4920 h 1"/>
                  <a:gd name="T6" fmla="*/ 3762 w 312"/>
                  <a:gd name="T7" fmla="*/ 4920 h 1"/>
                  <a:gd name="T8" fmla="*/ 3762 w 312"/>
                  <a:gd name="T9" fmla="*/ 0 h 1"/>
                  <a:gd name="T10" fmla="*/ 3762 w 312"/>
                  <a:gd name="T11" fmla="*/ 0 h 1"/>
                  <a:gd name="T12" fmla="*/ 3762 w 312"/>
                  <a:gd name="T13" fmla="*/ 0 h 1"/>
                  <a:gd name="T14" fmla="*/ 3762 w 312"/>
                  <a:gd name="T15" fmla="*/ 0 h 1"/>
                  <a:gd name="T16" fmla="*/ 1173805 w 312"/>
                  <a:gd name="T17" fmla="*/ 0 h 1"/>
                  <a:gd name="T18" fmla="*/ 1170043 w 312"/>
                  <a:gd name="T19" fmla="*/ 0 h 1"/>
                  <a:gd name="T20" fmla="*/ 1170043 w 312"/>
                  <a:gd name="T21" fmla="*/ 4920 h 1"/>
                  <a:gd name="T22" fmla="*/ 1173805 w 312"/>
                  <a:gd name="T23" fmla="*/ 4920 h 1"/>
                  <a:gd name="T24" fmla="*/ 1173805 w 312"/>
                  <a:gd name="T25" fmla="*/ 0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4" name="Freeform 240"/>
              <p:cNvSpPr>
                <a:spLocks noEditPoints="1"/>
              </p:cNvSpPr>
              <p:nvPr/>
            </p:nvSpPr>
            <p:spPr bwMode="auto">
              <a:xfrm>
                <a:off x="-2071562" y="4871026"/>
                <a:ext cx="1239016" cy="4920"/>
              </a:xfrm>
              <a:custGeom>
                <a:avLst/>
                <a:gdLst>
                  <a:gd name="T0" fmla="*/ 3755 w 330"/>
                  <a:gd name="T1" fmla="*/ 0 h 1"/>
                  <a:gd name="T2" fmla="*/ 0 w 330"/>
                  <a:gd name="T3" fmla="*/ 0 h 1"/>
                  <a:gd name="T4" fmla="*/ 0 w 330"/>
                  <a:gd name="T5" fmla="*/ 4920 h 1"/>
                  <a:gd name="T6" fmla="*/ 3755 w 330"/>
                  <a:gd name="T7" fmla="*/ 4920 h 1"/>
                  <a:gd name="T8" fmla="*/ 3755 w 330"/>
                  <a:gd name="T9" fmla="*/ 0 h 1"/>
                  <a:gd name="T10" fmla="*/ 1239016 w 330"/>
                  <a:gd name="T11" fmla="*/ 0 h 1"/>
                  <a:gd name="T12" fmla="*/ 1235261 w 330"/>
                  <a:gd name="T13" fmla="*/ 0 h 1"/>
                  <a:gd name="T14" fmla="*/ 1235261 w 330"/>
                  <a:gd name="T15" fmla="*/ 4920 h 1"/>
                  <a:gd name="T16" fmla="*/ 1239016 w 330"/>
                  <a:gd name="T17" fmla="*/ 4920 h 1"/>
                  <a:gd name="T18" fmla="*/ 1239016 w 33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5" name="Freeform 241"/>
              <p:cNvSpPr>
                <a:spLocks noEditPoints="1"/>
              </p:cNvSpPr>
              <p:nvPr/>
            </p:nvSpPr>
            <p:spPr bwMode="auto">
              <a:xfrm>
                <a:off x="-6247701" y="4871026"/>
                <a:ext cx="920786" cy="4920"/>
              </a:xfrm>
              <a:custGeom>
                <a:avLst/>
                <a:gdLst>
                  <a:gd name="T0" fmla="*/ 3758 w 245"/>
                  <a:gd name="T1" fmla="*/ 0 h 1"/>
                  <a:gd name="T2" fmla="*/ 0 w 245"/>
                  <a:gd name="T3" fmla="*/ 0 h 1"/>
                  <a:gd name="T4" fmla="*/ 0 w 245"/>
                  <a:gd name="T5" fmla="*/ 4920 h 1"/>
                  <a:gd name="T6" fmla="*/ 3758 w 245"/>
                  <a:gd name="T7" fmla="*/ 4920 h 1"/>
                  <a:gd name="T8" fmla="*/ 3758 w 245"/>
                  <a:gd name="T9" fmla="*/ 0 h 1"/>
                  <a:gd name="T10" fmla="*/ 3758 w 245"/>
                  <a:gd name="T11" fmla="*/ 0 h 1"/>
                  <a:gd name="T12" fmla="*/ 3758 w 245"/>
                  <a:gd name="T13" fmla="*/ 0 h 1"/>
                  <a:gd name="T14" fmla="*/ 3758 w 245"/>
                  <a:gd name="T15" fmla="*/ 0 h 1"/>
                  <a:gd name="T16" fmla="*/ 920786 w 245"/>
                  <a:gd name="T17" fmla="*/ 0 h 1"/>
                  <a:gd name="T18" fmla="*/ 917028 w 245"/>
                  <a:gd name="T19" fmla="*/ 0 h 1"/>
                  <a:gd name="T20" fmla="*/ 917028 w 245"/>
                  <a:gd name="T21" fmla="*/ 0 h 1"/>
                  <a:gd name="T22" fmla="*/ 917028 w 245"/>
                  <a:gd name="T23" fmla="*/ 0 h 1"/>
                  <a:gd name="T24" fmla="*/ 917028 w 245"/>
                  <a:gd name="T25" fmla="*/ 0 h 1"/>
                  <a:gd name="T26" fmla="*/ 913269 w 245"/>
                  <a:gd name="T27" fmla="*/ 4920 h 1"/>
                  <a:gd name="T28" fmla="*/ 920786 w 245"/>
                  <a:gd name="T29" fmla="*/ 4920 h 1"/>
                  <a:gd name="T30" fmla="*/ 920786 w 245"/>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6" name="Freeform 242"/>
              <p:cNvSpPr>
                <a:spLocks/>
              </p:cNvSpPr>
              <p:nvPr/>
            </p:nvSpPr>
            <p:spPr bwMode="auto">
              <a:xfrm>
                <a:off x="-5021726" y="4541414"/>
                <a:ext cx="7826" cy="2459"/>
              </a:xfrm>
              <a:custGeom>
                <a:avLst/>
                <a:gdLst>
                  <a:gd name="T0" fmla="*/ 3913 w 2"/>
                  <a:gd name="T1" fmla="*/ 0 h 1"/>
                  <a:gd name="T2" fmla="*/ 0 w 2"/>
                  <a:gd name="T3" fmla="*/ 0 h 1"/>
                  <a:gd name="T4" fmla="*/ 0 w 2"/>
                  <a:gd name="T5" fmla="*/ 2459 h 1"/>
                  <a:gd name="T6" fmla="*/ 7826 w 2"/>
                  <a:gd name="T7" fmla="*/ 2459 h 1"/>
                  <a:gd name="T8" fmla="*/ 39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7" name="Freeform 243"/>
              <p:cNvSpPr>
                <a:spLocks noEditPoints="1"/>
              </p:cNvSpPr>
              <p:nvPr/>
            </p:nvSpPr>
            <p:spPr bwMode="auto">
              <a:xfrm>
                <a:off x="-3782709" y="4541414"/>
                <a:ext cx="1411174" cy="2459"/>
              </a:xfrm>
              <a:custGeom>
                <a:avLst/>
                <a:gdLst>
                  <a:gd name="T0" fmla="*/ 3763 w 375"/>
                  <a:gd name="T1" fmla="*/ 0 h 1"/>
                  <a:gd name="T2" fmla="*/ 0 w 375"/>
                  <a:gd name="T3" fmla="*/ 0 h 1"/>
                  <a:gd name="T4" fmla="*/ 0 w 375"/>
                  <a:gd name="T5" fmla="*/ 2459 h 1"/>
                  <a:gd name="T6" fmla="*/ 3763 w 375"/>
                  <a:gd name="T7" fmla="*/ 2459 h 1"/>
                  <a:gd name="T8" fmla="*/ 3763 w 375"/>
                  <a:gd name="T9" fmla="*/ 0 h 1"/>
                  <a:gd name="T10" fmla="*/ 1411174 w 375"/>
                  <a:gd name="T11" fmla="*/ 0 h 1"/>
                  <a:gd name="T12" fmla="*/ 1411174 w 375"/>
                  <a:gd name="T13" fmla="*/ 0 h 1"/>
                  <a:gd name="T14" fmla="*/ 1407411 w 375"/>
                  <a:gd name="T15" fmla="*/ 2459 h 1"/>
                  <a:gd name="T16" fmla="*/ 1407411 w 375"/>
                  <a:gd name="T17" fmla="*/ 2459 h 1"/>
                  <a:gd name="T18" fmla="*/ 1411174 w 375"/>
                  <a:gd name="T19" fmla="*/ 2459 h 1"/>
                  <a:gd name="T20" fmla="*/ 1411174 w 375"/>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8" name="Freeform 244"/>
              <p:cNvSpPr>
                <a:spLocks/>
              </p:cNvSpPr>
              <p:nvPr/>
            </p:nvSpPr>
            <p:spPr bwMode="auto">
              <a:xfrm>
                <a:off x="-2175900" y="4541414"/>
                <a:ext cx="0" cy="2459"/>
              </a:xfrm>
              <a:custGeom>
                <a:avLst/>
                <a:gdLst>
                  <a:gd name="T0" fmla="*/ 0 h 1"/>
                  <a:gd name="T1" fmla="*/ 0 h 1"/>
                  <a:gd name="T2" fmla="*/ 2459 h 1"/>
                  <a:gd name="T3" fmla="*/ 2459 h 1"/>
                  <a:gd name="T4" fmla="*/ 0 h 1"/>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9" name="Freeform 245"/>
              <p:cNvSpPr>
                <a:spLocks/>
              </p:cNvSpPr>
              <p:nvPr/>
            </p:nvSpPr>
            <p:spPr bwMode="auto">
              <a:xfrm>
                <a:off x="-6310304" y="4541414"/>
                <a:ext cx="5217" cy="2459"/>
              </a:xfrm>
              <a:custGeom>
                <a:avLst/>
                <a:gdLst>
                  <a:gd name="T0" fmla="*/ 0 w 1"/>
                  <a:gd name="T1" fmla="*/ 0 h 1"/>
                  <a:gd name="T2" fmla="*/ 0 w 1"/>
                  <a:gd name="T3" fmla="*/ 0 h 1"/>
                  <a:gd name="T4" fmla="*/ 0 w 1"/>
                  <a:gd name="T5" fmla="*/ 2459 h 1"/>
                  <a:gd name="T6" fmla="*/ 5217 w 1"/>
                  <a:gd name="T7" fmla="*/ 2459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0" name="Freeform 246"/>
              <p:cNvSpPr>
                <a:spLocks noEditPoints="1"/>
              </p:cNvSpPr>
              <p:nvPr/>
            </p:nvSpPr>
            <p:spPr bwMode="auto">
              <a:xfrm>
                <a:off x="-4061815" y="3527981"/>
                <a:ext cx="3132756" cy="4920"/>
              </a:xfrm>
              <a:custGeom>
                <a:avLst/>
                <a:gdLst>
                  <a:gd name="T0" fmla="*/ 3756 w 834"/>
                  <a:gd name="T1" fmla="*/ 0 h 1"/>
                  <a:gd name="T2" fmla="*/ 0 w 834"/>
                  <a:gd name="T3" fmla="*/ 0 h 1"/>
                  <a:gd name="T4" fmla="*/ 0 w 834"/>
                  <a:gd name="T5" fmla="*/ 4920 h 1"/>
                  <a:gd name="T6" fmla="*/ 3756 w 834"/>
                  <a:gd name="T7" fmla="*/ 4920 h 1"/>
                  <a:gd name="T8" fmla="*/ 3756 w 834"/>
                  <a:gd name="T9" fmla="*/ 0 h 1"/>
                  <a:gd name="T10" fmla="*/ 3132756 w 834"/>
                  <a:gd name="T11" fmla="*/ 0 h 1"/>
                  <a:gd name="T12" fmla="*/ 3125243 w 834"/>
                  <a:gd name="T13" fmla="*/ 0 h 1"/>
                  <a:gd name="T14" fmla="*/ 3129000 w 834"/>
                  <a:gd name="T15" fmla="*/ 4920 h 1"/>
                  <a:gd name="T16" fmla="*/ 3132756 w 834"/>
                  <a:gd name="T17" fmla="*/ 4920 h 1"/>
                  <a:gd name="T18" fmla="*/ 3132756 w 83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1" name="Freeform 247"/>
              <p:cNvSpPr>
                <a:spLocks noEditPoints="1"/>
              </p:cNvSpPr>
              <p:nvPr/>
            </p:nvSpPr>
            <p:spPr bwMode="auto">
              <a:xfrm>
                <a:off x="-6247701" y="3527981"/>
                <a:ext cx="2045029" cy="4920"/>
              </a:xfrm>
              <a:custGeom>
                <a:avLst/>
                <a:gdLst>
                  <a:gd name="T0" fmla="*/ 7518 w 544"/>
                  <a:gd name="T1" fmla="*/ 0 h 1"/>
                  <a:gd name="T2" fmla="*/ 0 w 544"/>
                  <a:gd name="T3" fmla="*/ 0 h 1"/>
                  <a:gd name="T4" fmla="*/ 0 w 544"/>
                  <a:gd name="T5" fmla="*/ 4920 h 1"/>
                  <a:gd name="T6" fmla="*/ 3759 w 544"/>
                  <a:gd name="T7" fmla="*/ 4920 h 1"/>
                  <a:gd name="T8" fmla="*/ 7518 w 544"/>
                  <a:gd name="T9" fmla="*/ 0 h 1"/>
                  <a:gd name="T10" fmla="*/ 2045029 w 544"/>
                  <a:gd name="T11" fmla="*/ 0 h 1"/>
                  <a:gd name="T12" fmla="*/ 2041270 w 544"/>
                  <a:gd name="T13" fmla="*/ 0 h 1"/>
                  <a:gd name="T14" fmla="*/ 2041270 w 544"/>
                  <a:gd name="T15" fmla="*/ 4920 h 1"/>
                  <a:gd name="T16" fmla="*/ 2045029 w 544"/>
                  <a:gd name="T17" fmla="*/ 4920 h 1"/>
                  <a:gd name="T18" fmla="*/ 2045029 w 54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2" name="Freeform 248"/>
              <p:cNvSpPr>
                <a:spLocks/>
              </p:cNvSpPr>
              <p:nvPr/>
            </p:nvSpPr>
            <p:spPr bwMode="auto">
              <a:xfrm>
                <a:off x="-3691414" y="2785124"/>
                <a:ext cx="7826" cy="2459"/>
              </a:xfrm>
              <a:custGeom>
                <a:avLst/>
                <a:gdLst>
                  <a:gd name="T0" fmla="*/ 7826 w 5"/>
                  <a:gd name="T1" fmla="*/ 0 h 2"/>
                  <a:gd name="T2" fmla="*/ 0 w 5"/>
                  <a:gd name="T3" fmla="*/ 0 h 2"/>
                  <a:gd name="T4" fmla="*/ 0 w 5"/>
                  <a:gd name="T5" fmla="*/ 2459 h 2"/>
                  <a:gd name="T6" fmla="*/ 3130 w 5"/>
                  <a:gd name="T7" fmla="*/ 2459 h 2"/>
                  <a:gd name="T8" fmla="*/ 7826 w 5"/>
                  <a:gd name="T9" fmla="*/ 0 h 2"/>
                  <a:gd name="T10" fmla="*/ 7826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2"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3" name="Freeform 249"/>
              <p:cNvSpPr>
                <a:spLocks noEditPoints="1"/>
              </p:cNvSpPr>
              <p:nvPr/>
            </p:nvSpPr>
            <p:spPr bwMode="auto">
              <a:xfrm>
                <a:off x="-5838172" y="2785124"/>
                <a:ext cx="1317269" cy="2459"/>
              </a:xfrm>
              <a:custGeom>
                <a:avLst/>
                <a:gdLst>
                  <a:gd name="T0" fmla="*/ 3764 w 350"/>
                  <a:gd name="T1" fmla="*/ 0 h 1"/>
                  <a:gd name="T2" fmla="*/ 0 w 350"/>
                  <a:gd name="T3" fmla="*/ 0 h 1"/>
                  <a:gd name="T4" fmla="*/ 0 w 350"/>
                  <a:gd name="T5" fmla="*/ 2459 h 1"/>
                  <a:gd name="T6" fmla="*/ 3764 w 350"/>
                  <a:gd name="T7" fmla="*/ 2459 h 1"/>
                  <a:gd name="T8" fmla="*/ 3764 w 350"/>
                  <a:gd name="T9" fmla="*/ 0 h 1"/>
                  <a:gd name="T10" fmla="*/ 1313505 w 350"/>
                  <a:gd name="T11" fmla="*/ 0 h 1"/>
                  <a:gd name="T12" fmla="*/ 1309742 w 350"/>
                  <a:gd name="T13" fmla="*/ 0 h 1"/>
                  <a:gd name="T14" fmla="*/ 1313505 w 350"/>
                  <a:gd name="T15" fmla="*/ 2459 h 1"/>
                  <a:gd name="T16" fmla="*/ 1317269 w 350"/>
                  <a:gd name="T17" fmla="*/ 2459 h 1"/>
                  <a:gd name="T18" fmla="*/ 1317269 w 350"/>
                  <a:gd name="T19" fmla="*/ 2459 h 1"/>
                  <a:gd name="T20" fmla="*/ 1313505 w 350"/>
                  <a:gd name="T21" fmla="*/ 2459 h 1"/>
                  <a:gd name="T22" fmla="*/ 1313505 w 350"/>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4" name="Freeform 250"/>
              <p:cNvSpPr>
                <a:spLocks/>
              </p:cNvSpPr>
              <p:nvPr/>
            </p:nvSpPr>
            <p:spPr bwMode="auto">
              <a:xfrm>
                <a:off x="-3673154" y="2669513"/>
                <a:ext cx="5217" cy="2461"/>
              </a:xfrm>
              <a:custGeom>
                <a:avLst/>
                <a:gdLst>
                  <a:gd name="T0" fmla="*/ 5217 w 1"/>
                  <a:gd name="T1" fmla="*/ 0 h 1"/>
                  <a:gd name="T2" fmla="*/ 0 w 1"/>
                  <a:gd name="T3" fmla="*/ 0 h 1"/>
                  <a:gd name="T4" fmla="*/ 0 w 1"/>
                  <a:gd name="T5" fmla="*/ 2461 h 1"/>
                  <a:gd name="T6" fmla="*/ 0 w 1"/>
                  <a:gd name="T7" fmla="*/ 2461 h 1"/>
                  <a:gd name="T8" fmla="*/ 521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5" name="Freeform 251"/>
              <p:cNvSpPr>
                <a:spLocks/>
              </p:cNvSpPr>
              <p:nvPr/>
            </p:nvSpPr>
            <p:spPr bwMode="auto">
              <a:xfrm>
                <a:off x="-1307285" y="3146713"/>
                <a:ext cx="5217" cy="2461"/>
              </a:xfrm>
              <a:custGeom>
                <a:avLst/>
                <a:gdLst>
                  <a:gd name="T0" fmla="*/ 5217 w 2"/>
                  <a:gd name="T1" fmla="*/ 0 h 1"/>
                  <a:gd name="T2" fmla="*/ 0 w 2"/>
                  <a:gd name="T3" fmla="*/ 0 h 1"/>
                  <a:gd name="T4" fmla="*/ 2609 w 2"/>
                  <a:gd name="T5" fmla="*/ 2461 h 1"/>
                  <a:gd name="T6" fmla="*/ 5217 w 2"/>
                  <a:gd name="T7" fmla="*/ 2461 h 1"/>
                  <a:gd name="T8" fmla="*/ 521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6" name="Freeform 252"/>
              <p:cNvSpPr>
                <a:spLocks/>
              </p:cNvSpPr>
              <p:nvPr/>
            </p:nvSpPr>
            <p:spPr bwMode="auto">
              <a:xfrm>
                <a:off x="-5739051" y="2669513"/>
                <a:ext cx="2608" cy="2461"/>
              </a:xfrm>
              <a:custGeom>
                <a:avLst/>
                <a:gdLst>
                  <a:gd name="T0" fmla="*/ 2608 w 1"/>
                  <a:gd name="T1" fmla="*/ 0 h 1"/>
                  <a:gd name="T2" fmla="*/ 0 w 1"/>
                  <a:gd name="T3" fmla="*/ 0 h 1"/>
                  <a:gd name="T4" fmla="*/ 0 w 1"/>
                  <a:gd name="T5" fmla="*/ 2461 h 1"/>
                  <a:gd name="T6" fmla="*/ 0 w 1"/>
                  <a:gd name="T7" fmla="*/ 2461 h 1"/>
                  <a:gd name="T8" fmla="*/ 2608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7" name="Freeform 253"/>
              <p:cNvSpPr>
                <a:spLocks noEditPoints="1"/>
              </p:cNvSpPr>
              <p:nvPr/>
            </p:nvSpPr>
            <p:spPr bwMode="auto">
              <a:xfrm>
                <a:off x="-5034768" y="4460241"/>
                <a:ext cx="1163371" cy="2461"/>
              </a:xfrm>
              <a:custGeom>
                <a:avLst/>
                <a:gdLst>
                  <a:gd name="T0" fmla="*/ 3753 w 310"/>
                  <a:gd name="T1" fmla="*/ 0 h 1"/>
                  <a:gd name="T2" fmla="*/ 0 w 310"/>
                  <a:gd name="T3" fmla="*/ 0 h 1"/>
                  <a:gd name="T4" fmla="*/ 0 w 310"/>
                  <a:gd name="T5" fmla="*/ 2461 h 1"/>
                  <a:gd name="T6" fmla="*/ 3753 w 310"/>
                  <a:gd name="T7" fmla="*/ 2461 h 1"/>
                  <a:gd name="T8" fmla="*/ 3753 w 310"/>
                  <a:gd name="T9" fmla="*/ 0 h 1"/>
                  <a:gd name="T10" fmla="*/ 1163371 w 310"/>
                  <a:gd name="T11" fmla="*/ 0 h 1"/>
                  <a:gd name="T12" fmla="*/ 1159618 w 310"/>
                  <a:gd name="T13" fmla="*/ 0 h 1"/>
                  <a:gd name="T14" fmla="*/ 1159618 w 310"/>
                  <a:gd name="T15" fmla="*/ 2461 h 1"/>
                  <a:gd name="T16" fmla="*/ 1163371 w 310"/>
                  <a:gd name="T17" fmla="*/ 2461 h 1"/>
                  <a:gd name="T18" fmla="*/ 1163371 w 31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8" name="Freeform 254"/>
              <p:cNvSpPr>
                <a:spLocks noEditPoints="1"/>
              </p:cNvSpPr>
              <p:nvPr/>
            </p:nvSpPr>
            <p:spPr bwMode="auto">
              <a:xfrm>
                <a:off x="-3795752" y="4460241"/>
                <a:ext cx="1450301" cy="2461"/>
              </a:xfrm>
              <a:custGeom>
                <a:avLst/>
                <a:gdLst>
                  <a:gd name="T0" fmla="*/ 1450301 w 386"/>
                  <a:gd name="T1" fmla="*/ 0 h 1"/>
                  <a:gd name="T2" fmla="*/ 1446544 w 386"/>
                  <a:gd name="T3" fmla="*/ 2461 h 1"/>
                  <a:gd name="T4" fmla="*/ 1450301 w 386"/>
                  <a:gd name="T5" fmla="*/ 2461 h 1"/>
                  <a:gd name="T6" fmla="*/ 1450301 w 386"/>
                  <a:gd name="T7" fmla="*/ 0 h 1"/>
                  <a:gd name="T8" fmla="*/ 3757 w 386"/>
                  <a:gd name="T9" fmla="*/ 0 h 1"/>
                  <a:gd name="T10" fmla="*/ 0 w 386"/>
                  <a:gd name="T11" fmla="*/ 0 h 1"/>
                  <a:gd name="T12" fmla="*/ 0 w 386"/>
                  <a:gd name="T13" fmla="*/ 2461 h 1"/>
                  <a:gd name="T14" fmla="*/ 3757 w 386"/>
                  <a:gd name="T15" fmla="*/ 2461 h 1"/>
                  <a:gd name="T16" fmla="*/ 3757 w 38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9" name="Freeform 255"/>
              <p:cNvSpPr>
                <a:spLocks noEditPoints="1"/>
              </p:cNvSpPr>
              <p:nvPr/>
            </p:nvSpPr>
            <p:spPr bwMode="auto">
              <a:xfrm>
                <a:off x="-2199377" y="4460241"/>
                <a:ext cx="1434651" cy="2461"/>
              </a:xfrm>
              <a:custGeom>
                <a:avLst/>
                <a:gdLst>
                  <a:gd name="T0" fmla="*/ 3756 w 382"/>
                  <a:gd name="T1" fmla="*/ 0 h 1"/>
                  <a:gd name="T2" fmla="*/ 0 w 382"/>
                  <a:gd name="T3" fmla="*/ 0 h 1"/>
                  <a:gd name="T4" fmla="*/ 0 w 382"/>
                  <a:gd name="T5" fmla="*/ 2461 h 1"/>
                  <a:gd name="T6" fmla="*/ 3756 w 382"/>
                  <a:gd name="T7" fmla="*/ 2461 h 1"/>
                  <a:gd name="T8" fmla="*/ 3756 w 382"/>
                  <a:gd name="T9" fmla="*/ 0 h 1"/>
                  <a:gd name="T10" fmla="*/ 1434651 w 382"/>
                  <a:gd name="T11" fmla="*/ 0 h 1"/>
                  <a:gd name="T12" fmla="*/ 1430895 w 382"/>
                  <a:gd name="T13" fmla="*/ 0 h 1"/>
                  <a:gd name="T14" fmla="*/ 1430895 w 382"/>
                  <a:gd name="T15" fmla="*/ 2461 h 1"/>
                  <a:gd name="T16" fmla="*/ 1434651 w 382"/>
                  <a:gd name="T17" fmla="*/ 2461 h 1"/>
                  <a:gd name="T18" fmla="*/ 1434651 w 38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0" name="Freeform 256"/>
              <p:cNvSpPr>
                <a:spLocks noEditPoints="1"/>
              </p:cNvSpPr>
              <p:nvPr/>
            </p:nvSpPr>
            <p:spPr bwMode="auto">
              <a:xfrm>
                <a:off x="-6315521" y="4460241"/>
                <a:ext cx="1165981" cy="2461"/>
              </a:xfrm>
              <a:custGeom>
                <a:avLst/>
                <a:gdLst>
                  <a:gd name="T0" fmla="*/ 3749 w 311"/>
                  <a:gd name="T1" fmla="*/ 0 h 1"/>
                  <a:gd name="T2" fmla="*/ 0 w 311"/>
                  <a:gd name="T3" fmla="*/ 0 h 1"/>
                  <a:gd name="T4" fmla="*/ 0 w 311"/>
                  <a:gd name="T5" fmla="*/ 2461 h 1"/>
                  <a:gd name="T6" fmla="*/ 3749 w 311"/>
                  <a:gd name="T7" fmla="*/ 2461 h 1"/>
                  <a:gd name="T8" fmla="*/ 3749 w 311"/>
                  <a:gd name="T9" fmla="*/ 0 h 1"/>
                  <a:gd name="T10" fmla="*/ 1165981 w 311"/>
                  <a:gd name="T11" fmla="*/ 0 h 1"/>
                  <a:gd name="T12" fmla="*/ 1165981 w 311"/>
                  <a:gd name="T13" fmla="*/ 0 h 1"/>
                  <a:gd name="T14" fmla="*/ 1162232 w 311"/>
                  <a:gd name="T15" fmla="*/ 2461 h 1"/>
                  <a:gd name="T16" fmla="*/ 1165981 w 311"/>
                  <a:gd name="T17" fmla="*/ 2461 h 1"/>
                  <a:gd name="T18" fmla="*/ 1165981 w 3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1" name="Freeform 257"/>
              <p:cNvSpPr>
                <a:spLocks noEditPoints="1"/>
              </p:cNvSpPr>
              <p:nvPr/>
            </p:nvSpPr>
            <p:spPr bwMode="auto">
              <a:xfrm>
                <a:off x="-6211182" y="5200638"/>
                <a:ext cx="746018" cy="2459"/>
              </a:xfrm>
              <a:custGeom>
                <a:avLst/>
                <a:gdLst>
                  <a:gd name="T0" fmla="*/ 0 w 199"/>
                  <a:gd name="T1" fmla="*/ 0 h 1"/>
                  <a:gd name="T2" fmla="*/ 0 w 199"/>
                  <a:gd name="T3" fmla="*/ 0 h 1"/>
                  <a:gd name="T4" fmla="*/ 0 w 199"/>
                  <a:gd name="T5" fmla="*/ 2459 h 1"/>
                  <a:gd name="T6" fmla="*/ 0 w 199"/>
                  <a:gd name="T7" fmla="*/ 2459 h 1"/>
                  <a:gd name="T8" fmla="*/ 0 w 199"/>
                  <a:gd name="T9" fmla="*/ 0 h 1"/>
                  <a:gd name="T10" fmla="*/ 746018 w 199"/>
                  <a:gd name="T11" fmla="*/ 0 h 1"/>
                  <a:gd name="T12" fmla="*/ 742269 w 199"/>
                  <a:gd name="T13" fmla="*/ 0 h 1"/>
                  <a:gd name="T14" fmla="*/ 742269 w 199"/>
                  <a:gd name="T15" fmla="*/ 2459 h 1"/>
                  <a:gd name="T16" fmla="*/ 746018 w 199"/>
                  <a:gd name="T17" fmla="*/ 2459 h 1"/>
                  <a:gd name="T18" fmla="*/ 746018 w 199"/>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2" name="Freeform 258"/>
              <p:cNvSpPr>
                <a:spLocks noEditPoints="1"/>
              </p:cNvSpPr>
              <p:nvPr/>
            </p:nvSpPr>
            <p:spPr bwMode="auto">
              <a:xfrm>
                <a:off x="-4836525" y="5200638"/>
                <a:ext cx="738192" cy="2459"/>
              </a:xfrm>
              <a:custGeom>
                <a:avLst/>
                <a:gdLst>
                  <a:gd name="T0" fmla="*/ 3747 w 197"/>
                  <a:gd name="T1" fmla="*/ 0 h 1"/>
                  <a:gd name="T2" fmla="*/ 0 w 197"/>
                  <a:gd name="T3" fmla="*/ 0 h 1"/>
                  <a:gd name="T4" fmla="*/ 0 w 197"/>
                  <a:gd name="T5" fmla="*/ 2459 h 1"/>
                  <a:gd name="T6" fmla="*/ 3747 w 197"/>
                  <a:gd name="T7" fmla="*/ 2459 h 1"/>
                  <a:gd name="T8" fmla="*/ 3747 w 197"/>
                  <a:gd name="T9" fmla="*/ 0 h 1"/>
                  <a:gd name="T10" fmla="*/ 738192 w 197"/>
                  <a:gd name="T11" fmla="*/ 0 h 1"/>
                  <a:gd name="T12" fmla="*/ 734445 w 197"/>
                  <a:gd name="T13" fmla="*/ 0 h 1"/>
                  <a:gd name="T14" fmla="*/ 734445 w 197"/>
                  <a:gd name="T15" fmla="*/ 2459 h 1"/>
                  <a:gd name="T16" fmla="*/ 738192 w 197"/>
                  <a:gd name="T17" fmla="*/ 2459 h 1"/>
                  <a:gd name="T18" fmla="*/ 738192 w 19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3" name="Freeform 259"/>
              <p:cNvSpPr>
                <a:spLocks noEditPoints="1"/>
              </p:cNvSpPr>
              <p:nvPr/>
            </p:nvSpPr>
            <p:spPr bwMode="auto">
              <a:xfrm>
                <a:off x="-3594900" y="5200638"/>
                <a:ext cx="928610" cy="2459"/>
              </a:xfrm>
              <a:custGeom>
                <a:avLst/>
                <a:gdLst>
                  <a:gd name="T0" fmla="*/ 3760 w 247"/>
                  <a:gd name="T1" fmla="*/ 0 h 1"/>
                  <a:gd name="T2" fmla="*/ 0 w 247"/>
                  <a:gd name="T3" fmla="*/ 0 h 1"/>
                  <a:gd name="T4" fmla="*/ 0 w 247"/>
                  <a:gd name="T5" fmla="*/ 2459 h 1"/>
                  <a:gd name="T6" fmla="*/ 3760 w 247"/>
                  <a:gd name="T7" fmla="*/ 2459 h 1"/>
                  <a:gd name="T8" fmla="*/ 3760 w 247"/>
                  <a:gd name="T9" fmla="*/ 0 h 1"/>
                  <a:gd name="T10" fmla="*/ 928610 w 247"/>
                  <a:gd name="T11" fmla="*/ 0 h 1"/>
                  <a:gd name="T12" fmla="*/ 924850 w 247"/>
                  <a:gd name="T13" fmla="*/ 0 h 1"/>
                  <a:gd name="T14" fmla="*/ 924850 w 247"/>
                  <a:gd name="T15" fmla="*/ 2459 h 1"/>
                  <a:gd name="T16" fmla="*/ 928610 w 247"/>
                  <a:gd name="T17" fmla="*/ 2459 h 1"/>
                  <a:gd name="T18" fmla="*/ 928610 w 2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4" name="Freeform 260"/>
              <p:cNvSpPr>
                <a:spLocks noEditPoints="1"/>
              </p:cNvSpPr>
              <p:nvPr/>
            </p:nvSpPr>
            <p:spPr bwMode="auto">
              <a:xfrm>
                <a:off x="-1878536" y="5200638"/>
                <a:ext cx="967736" cy="2459"/>
              </a:xfrm>
              <a:custGeom>
                <a:avLst/>
                <a:gdLst>
                  <a:gd name="T0" fmla="*/ 3751 w 258"/>
                  <a:gd name="T1" fmla="*/ 0 h 1"/>
                  <a:gd name="T2" fmla="*/ 0 w 258"/>
                  <a:gd name="T3" fmla="*/ 0 h 1"/>
                  <a:gd name="T4" fmla="*/ 0 w 258"/>
                  <a:gd name="T5" fmla="*/ 2459 h 1"/>
                  <a:gd name="T6" fmla="*/ 7502 w 258"/>
                  <a:gd name="T7" fmla="*/ 2459 h 1"/>
                  <a:gd name="T8" fmla="*/ 3751 w 258"/>
                  <a:gd name="T9" fmla="*/ 0 h 1"/>
                  <a:gd name="T10" fmla="*/ 967736 w 258"/>
                  <a:gd name="T11" fmla="*/ 0 h 1"/>
                  <a:gd name="T12" fmla="*/ 967736 w 258"/>
                  <a:gd name="T13" fmla="*/ 0 h 1"/>
                  <a:gd name="T14" fmla="*/ 963985 w 258"/>
                  <a:gd name="T15" fmla="*/ 2459 h 1"/>
                  <a:gd name="T16" fmla="*/ 967736 w 258"/>
                  <a:gd name="T17" fmla="*/ 2459 h 1"/>
                  <a:gd name="T18" fmla="*/ 967736 w 25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5" name="Freeform 261"/>
              <p:cNvSpPr>
                <a:spLocks noEditPoints="1"/>
              </p:cNvSpPr>
              <p:nvPr/>
            </p:nvSpPr>
            <p:spPr bwMode="auto">
              <a:xfrm>
                <a:off x="-6174664" y="5318708"/>
                <a:ext cx="631246" cy="2459"/>
              </a:xfrm>
              <a:custGeom>
                <a:avLst/>
                <a:gdLst>
                  <a:gd name="T0" fmla="*/ 3757 w 168"/>
                  <a:gd name="T1" fmla="*/ 0 h 2459"/>
                  <a:gd name="T2" fmla="*/ 0 w 168"/>
                  <a:gd name="T3" fmla="*/ 0 h 2459"/>
                  <a:gd name="T4" fmla="*/ 0 w 168"/>
                  <a:gd name="T5" fmla="*/ 0 h 2459"/>
                  <a:gd name="T6" fmla="*/ 3757 w 168"/>
                  <a:gd name="T7" fmla="*/ 0 h 2459"/>
                  <a:gd name="T8" fmla="*/ 3757 w 168"/>
                  <a:gd name="T9" fmla="*/ 0 h 2459"/>
                  <a:gd name="T10" fmla="*/ 3757 w 168"/>
                  <a:gd name="T11" fmla="*/ 0 h 2459"/>
                  <a:gd name="T12" fmla="*/ 3757 w 168"/>
                  <a:gd name="T13" fmla="*/ 0 h 2459"/>
                  <a:gd name="T14" fmla="*/ 631246 w 168"/>
                  <a:gd name="T15" fmla="*/ 0 h 2459"/>
                  <a:gd name="T16" fmla="*/ 631246 w 168"/>
                  <a:gd name="T17" fmla="*/ 0 h 2459"/>
                  <a:gd name="T18" fmla="*/ 631246 w 168"/>
                  <a:gd name="T19" fmla="*/ 0 h 2459"/>
                  <a:gd name="T20" fmla="*/ 631246 w 168"/>
                  <a:gd name="T21" fmla="*/ 0 h 2459"/>
                  <a:gd name="T22" fmla="*/ 631246 w 168"/>
                  <a:gd name="T23" fmla="*/ 0 h 24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8" h="2459">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6" name="Freeform 262"/>
              <p:cNvSpPr>
                <a:spLocks noEditPoints="1"/>
              </p:cNvSpPr>
              <p:nvPr/>
            </p:nvSpPr>
            <p:spPr bwMode="auto">
              <a:xfrm>
                <a:off x="-4779139" y="5323628"/>
                <a:ext cx="626029" cy="4920"/>
              </a:xfrm>
              <a:custGeom>
                <a:avLst/>
                <a:gdLst>
                  <a:gd name="T0" fmla="*/ 0 w 167"/>
                  <a:gd name="T1" fmla="*/ 0 h 1"/>
                  <a:gd name="T2" fmla="*/ 0 w 167"/>
                  <a:gd name="T3" fmla="*/ 0 h 1"/>
                  <a:gd name="T4" fmla="*/ 0 w 167"/>
                  <a:gd name="T5" fmla="*/ 4920 h 1"/>
                  <a:gd name="T6" fmla="*/ 3749 w 167"/>
                  <a:gd name="T7" fmla="*/ 4920 h 1"/>
                  <a:gd name="T8" fmla="*/ 0 w 167"/>
                  <a:gd name="T9" fmla="*/ 0 h 1"/>
                  <a:gd name="T10" fmla="*/ 626029 w 167"/>
                  <a:gd name="T11" fmla="*/ 0 h 1"/>
                  <a:gd name="T12" fmla="*/ 626029 w 167"/>
                  <a:gd name="T13" fmla="*/ 0 h 1"/>
                  <a:gd name="T14" fmla="*/ 622280 w 167"/>
                  <a:gd name="T15" fmla="*/ 4920 h 1"/>
                  <a:gd name="T16" fmla="*/ 626029 w 167"/>
                  <a:gd name="T17" fmla="*/ 4920 h 1"/>
                  <a:gd name="T18" fmla="*/ 626029 w 16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7" name="Freeform 263"/>
              <p:cNvSpPr>
                <a:spLocks noEditPoints="1"/>
              </p:cNvSpPr>
              <p:nvPr/>
            </p:nvSpPr>
            <p:spPr bwMode="auto">
              <a:xfrm>
                <a:off x="-3537514" y="5323628"/>
                <a:ext cx="792971" cy="4920"/>
              </a:xfrm>
              <a:custGeom>
                <a:avLst/>
                <a:gdLst>
                  <a:gd name="T0" fmla="*/ 0 w 211"/>
                  <a:gd name="T1" fmla="*/ 0 h 1"/>
                  <a:gd name="T2" fmla="*/ 0 w 211"/>
                  <a:gd name="T3" fmla="*/ 0 h 1"/>
                  <a:gd name="T4" fmla="*/ 0 w 211"/>
                  <a:gd name="T5" fmla="*/ 4920 h 1"/>
                  <a:gd name="T6" fmla="*/ 3758 w 211"/>
                  <a:gd name="T7" fmla="*/ 4920 h 1"/>
                  <a:gd name="T8" fmla="*/ 0 w 211"/>
                  <a:gd name="T9" fmla="*/ 0 h 1"/>
                  <a:gd name="T10" fmla="*/ 792971 w 211"/>
                  <a:gd name="T11" fmla="*/ 0 h 1"/>
                  <a:gd name="T12" fmla="*/ 789213 w 211"/>
                  <a:gd name="T13" fmla="*/ 0 h 1"/>
                  <a:gd name="T14" fmla="*/ 789213 w 211"/>
                  <a:gd name="T15" fmla="*/ 4920 h 1"/>
                  <a:gd name="T16" fmla="*/ 792971 w 211"/>
                  <a:gd name="T17" fmla="*/ 4920 h 1"/>
                  <a:gd name="T18" fmla="*/ 792971 w 2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8" name="Freeform 264"/>
              <p:cNvSpPr>
                <a:spLocks/>
              </p:cNvSpPr>
              <p:nvPr/>
            </p:nvSpPr>
            <p:spPr bwMode="auto">
              <a:xfrm>
                <a:off x="-1766374" y="5323628"/>
                <a:ext cx="7826" cy="4920"/>
              </a:xfrm>
              <a:custGeom>
                <a:avLst/>
                <a:gdLst>
                  <a:gd name="T0" fmla="*/ 3913 w 2"/>
                  <a:gd name="T1" fmla="*/ 0 h 1"/>
                  <a:gd name="T2" fmla="*/ 0 w 2"/>
                  <a:gd name="T3" fmla="*/ 0 h 1"/>
                  <a:gd name="T4" fmla="*/ 0 w 2"/>
                  <a:gd name="T5" fmla="*/ 4920 h 1"/>
                  <a:gd name="T6" fmla="*/ 7826 w 2"/>
                  <a:gd name="T7" fmla="*/ 4920 h 1"/>
                  <a:gd name="T8" fmla="*/ 3913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9" name="Freeform 265"/>
              <p:cNvSpPr>
                <a:spLocks noEditPoints="1"/>
              </p:cNvSpPr>
              <p:nvPr/>
            </p:nvSpPr>
            <p:spPr bwMode="auto">
              <a:xfrm>
                <a:off x="-6344213" y="3965824"/>
                <a:ext cx="5592529" cy="4920"/>
              </a:xfrm>
              <a:custGeom>
                <a:avLst/>
                <a:gdLst>
                  <a:gd name="T0" fmla="*/ 3758 w 1488"/>
                  <a:gd name="T1" fmla="*/ 0 h 1"/>
                  <a:gd name="T2" fmla="*/ 0 w 1488"/>
                  <a:gd name="T3" fmla="*/ 0 h 1"/>
                  <a:gd name="T4" fmla="*/ 0 w 1488"/>
                  <a:gd name="T5" fmla="*/ 4920 h 1"/>
                  <a:gd name="T6" fmla="*/ 3758 w 1488"/>
                  <a:gd name="T7" fmla="*/ 4920 h 1"/>
                  <a:gd name="T8" fmla="*/ 3758 w 1488"/>
                  <a:gd name="T9" fmla="*/ 0 h 1"/>
                  <a:gd name="T10" fmla="*/ 5592529 w 1488"/>
                  <a:gd name="T11" fmla="*/ 0 h 1"/>
                  <a:gd name="T12" fmla="*/ 5588771 w 1488"/>
                  <a:gd name="T13" fmla="*/ 0 h 1"/>
                  <a:gd name="T14" fmla="*/ 5588771 w 1488"/>
                  <a:gd name="T15" fmla="*/ 4920 h 1"/>
                  <a:gd name="T16" fmla="*/ 5592529 w 1488"/>
                  <a:gd name="T17" fmla="*/ 4920 h 1"/>
                  <a:gd name="T18" fmla="*/ 5592529 w 148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0" name="Freeform 266"/>
              <p:cNvSpPr>
                <a:spLocks noEditPoints="1"/>
              </p:cNvSpPr>
              <p:nvPr/>
            </p:nvSpPr>
            <p:spPr bwMode="auto">
              <a:xfrm>
                <a:off x="-6263351" y="3582096"/>
                <a:ext cx="2071114" cy="4920"/>
              </a:xfrm>
              <a:custGeom>
                <a:avLst/>
                <a:gdLst>
                  <a:gd name="T0" fmla="*/ 3752 w 552"/>
                  <a:gd name="T1" fmla="*/ 0 h 1"/>
                  <a:gd name="T2" fmla="*/ 0 w 552"/>
                  <a:gd name="T3" fmla="*/ 0 h 1"/>
                  <a:gd name="T4" fmla="*/ 0 w 552"/>
                  <a:gd name="T5" fmla="*/ 4920 h 1"/>
                  <a:gd name="T6" fmla="*/ 3752 w 552"/>
                  <a:gd name="T7" fmla="*/ 4920 h 1"/>
                  <a:gd name="T8" fmla="*/ 3752 w 552"/>
                  <a:gd name="T9" fmla="*/ 0 h 1"/>
                  <a:gd name="T10" fmla="*/ 2071114 w 552"/>
                  <a:gd name="T11" fmla="*/ 0 h 1"/>
                  <a:gd name="T12" fmla="*/ 2067362 w 552"/>
                  <a:gd name="T13" fmla="*/ 0 h 1"/>
                  <a:gd name="T14" fmla="*/ 2067362 w 552"/>
                  <a:gd name="T15" fmla="*/ 4920 h 1"/>
                  <a:gd name="T16" fmla="*/ 2071114 w 552"/>
                  <a:gd name="T17" fmla="*/ 4920 h 1"/>
                  <a:gd name="T18" fmla="*/ 2071114 w 55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1" name="Freeform 267"/>
              <p:cNvSpPr>
                <a:spLocks noEditPoints="1"/>
              </p:cNvSpPr>
              <p:nvPr/>
            </p:nvSpPr>
            <p:spPr bwMode="auto">
              <a:xfrm>
                <a:off x="-4077465" y="3582096"/>
                <a:ext cx="3182316" cy="4920"/>
              </a:xfrm>
              <a:custGeom>
                <a:avLst/>
                <a:gdLst>
                  <a:gd name="T0" fmla="*/ 3757 w 847"/>
                  <a:gd name="T1" fmla="*/ 0 h 1"/>
                  <a:gd name="T2" fmla="*/ 0 w 847"/>
                  <a:gd name="T3" fmla="*/ 0 h 1"/>
                  <a:gd name="T4" fmla="*/ 0 w 847"/>
                  <a:gd name="T5" fmla="*/ 4920 h 1"/>
                  <a:gd name="T6" fmla="*/ 3757 w 847"/>
                  <a:gd name="T7" fmla="*/ 4920 h 1"/>
                  <a:gd name="T8" fmla="*/ 3757 w 847"/>
                  <a:gd name="T9" fmla="*/ 0 h 1"/>
                  <a:gd name="T10" fmla="*/ 3182316 w 847"/>
                  <a:gd name="T11" fmla="*/ 0 h 1"/>
                  <a:gd name="T12" fmla="*/ 3178559 w 847"/>
                  <a:gd name="T13" fmla="*/ 0 h 1"/>
                  <a:gd name="T14" fmla="*/ 3178559 w 847"/>
                  <a:gd name="T15" fmla="*/ 4920 h 1"/>
                  <a:gd name="T16" fmla="*/ 3182316 w 847"/>
                  <a:gd name="T17" fmla="*/ 4920 h 1"/>
                  <a:gd name="T18" fmla="*/ 3182316 w 8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2" name="Freeform 268"/>
              <p:cNvSpPr>
                <a:spLocks/>
              </p:cNvSpPr>
              <p:nvPr/>
            </p:nvSpPr>
            <p:spPr bwMode="auto">
              <a:xfrm>
                <a:off x="-3834878" y="4088813"/>
                <a:ext cx="5217" cy="2459"/>
              </a:xfrm>
              <a:custGeom>
                <a:avLst/>
                <a:gdLst>
                  <a:gd name="T0" fmla="*/ 5217 w 1"/>
                  <a:gd name="T1" fmla="*/ 0 h 2459"/>
                  <a:gd name="T2" fmla="*/ 0 w 1"/>
                  <a:gd name="T3" fmla="*/ 0 h 2459"/>
                  <a:gd name="T4" fmla="*/ 0 w 1"/>
                  <a:gd name="T5" fmla="*/ 0 h 2459"/>
                  <a:gd name="T6" fmla="*/ 5217 w 1"/>
                  <a:gd name="T7" fmla="*/ 0 h 24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459">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3" name="Freeform 269"/>
              <p:cNvSpPr>
                <a:spLocks/>
              </p:cNvSpPr>
              <p:nvPr/>
            </p:nvSpPr>
            <p:spPr bwMode="auto">
              <a:xfrm>
                <a:off x="-2269805" y="4044537"/>
                <a:ext cx="2608" cy="2459"/>
              </a:xfrm>
              <a:custGeom>
                <a:avLst/>
                <a:gdLst>
                  <a:gd name="T0" fmla="*/ 2608 w 2"/>
                  <a:gd name="T1" fmla="*/ 0 h 2459"/>
                  <a:gd name="T2" fmla="*/ 0 w 2"/>
                  <a:gd name="T3" fmla="*/ 0 h 2459"/>
                  <a:gd name="T4" fmla="*/ 0 w 2"/>
                  <a:gd name="T5" fmla="*/ 0 h 2459"/>
                  <a:gd name="T6" fmla="*/ 2608 w 2"/>
                  <a:gd name="T7" fmla="*/ 0 h 2459"/>
                  <a:gd name="T8" fmla="*/ 2608 w 2"/>
                  <a:gd name="T9" fmla="*/ 0 h 2459"/>
                  <a:gd name="T10" fmla="*/ 2608 w 2"/>
                  <a:gd name="T11" fmla="*/ 0 h 24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459">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4" name="Freeform 270"/>
              <p:cNvSpPr>
                <a:spLocks/>
              </p:cNvSpPr>
              <p:nvPr/>
            </p:nvSpPr>
            <p:spPr bwMode="auto">
              <a:xfrm>
                <a:off x="-1302068" y="3146713"/>
                <a:ext cx="7826" cy="2461"/>
              </a:xfrm>
              <a:custGeom>
                <a:avLst/>
                <a:gdLst>
                  <a:gd name="T0" fmla="*/ 3913 w 2"/>
                  <a:gd name="T1" fmla="*/ 0 h 1"/>
                  <a:gd name="T2" fmla="*/ 0 w 2"/>
                  <a:gd name="T3" fmla="*/ 0 h 1"/>
                  <a:gd name="T4" fmla="*/ 0 w 2"/>
                  <a:gd name="T5" fmla="*/ 2461 h 1"/>
                  <a:gd name="T6" fmla="*/ 3913 w 2"/>
                  <a:gd name="T7" fmla="*/ 2461 h 1"/>
                  <a:gd name="T8" fmla="*/ 3913 w 2"/>
                  <a:gd name="T9" fmla="*/ 2461 h 1"/>
                  <a:gd name="T10" fmla="*/ 7826 w 2"/>
                  <a:gd name="T11" fmla="*/ 2461 h 1"/>
                  <a:gd name="T12" fmla="*/ 3913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5" name="Freeform 271"/>
              <p:cNvSpPr>
                <a:spLocks/>
              </p:cNvSpPr>
              <p:nvPr/>
            </p:nvSpPr>
            <p:spPr bwMode="auto">
              <a:xfrm>
                <a:off x="-4137459" y="3892030"/>
                <a:ext cx="7825" cy="2459"/>
              </a:xfrm>
              <a:custGeom>
                <a:avLst/>
                <a:gdLst>
                  <a:gd name="T0" fmla="*/ 7825 w 2"/>
                  <a:gd name="T1" fmla="*/ 0 h 1"/>
                  <a:gd name="T2" fmla="*/ 0 w 2"/>
                  <a:gd name="T3" fmla="*/ 2459 h 1"/>
                  <a:gd name="T4" fmla="*/ 7825 w 2"/>
                  <a:gd name="T5" fmla="*/ 2459 h 1"/>
                  <a:gd name="T6" fmla="*/ 7825 w 2"/>
                  <a:gd name="T7" fmla="*/ 0 h 1"/>
                  <a:gd name="T8" fmla="*/ 782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6" name="Freeform 272"/>
              <p:cNvSpPr>
                <a:spLocks/>
              </p:cNvSpPr>
              <p:nvPr/>
            </p:nvSpPr>
            <p:spPr bwMode="auto">
              <a:xfrm>
                <a:off x="-5076503" y="4002720"/>
                <a:ext cx="2608" cy="2461"/>
              </a:xfrm>
              <a:custGeom>
                <a:avLst/>
                <a:gdLst>
                  <a:gd name="T0" fmla="*/ 2608 w 2"/>
                  <a:gd name="T1" fmla="*/ 0 h 2461"/>
                  <a:gd name="T2" fmla="*/ 0 w 2"/>
                  <a:gd name="T3" fmla="*/ 0 h 2461"/>
                  <a:gd name="T4" fmla="*/ 0 w 2"/>
                  <a:gd name="T5" fmla="*/ 0 h 2461"/>
                  <a:gd name="T6" fmla="*/ 2608 w 2"/>
                  <a:gd name="T7" fmla="*/ 0 h 2461"/>
                  <a:gd name="T8" fmla="*/ 2608 w 2"/>
                  <a:gd name="T9" fmla="*/ 0 h 2461"/>
                  <a:gd name="T10" fmla="*/ 2608 w 2"/>
                  <a:gd name="T11" fmla="*/ 0 h 24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461">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7" name="Freeform 273"/>
              <p:cNvSpPr>
                <a:spLocks/>
              </p:cNvSpPr>
              <p:nvPr/>
            </p:nvSpPr>
            <p:spPr bwMode="auto">
              <a:xfrm>
                <a:off x="-4528727" y="2785124"/>
                <a:ext cx="7825" cy="2459"/>
              </a:xfrm>
              <a:custGeom>
                <a:avLst/>
                <a:gdLst>
                  <a:gd name="T0" fmla="*/ 0 w 2"/>
                  <a:gd name="T1" fmla="*/ 0 h 1"/>
                  <a:gd name="T2" fmla="*/ 3913 w 2"/>
                  <a:gd name="T3" fmla="*/ 0 h 1"/>
                  <a:gd name="T4" fmla="*/ 7825 w 2"/>
                  <a:gd name="T5" fmla="*/ 0 h 1"/>
                  <a:gd name="T6" fmla="*/ 7825 w 2"/>
                  <a:gd name="T7" fmla="*/ 2459 h 1"/>
                  <a:gd name="T8" fmla="*/ 7825 w 2"/>
                  <a:gd name="T9" fmla="*/ 0 h 1"/>
                  <a:gd name="T10" fmla="*/ 7825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8" name="Freeform 274"/>
              <p:cNvSpPr>
                <a:spLocks/>
              </p:cNvSpPr>
              <p:nvPr/>
            </p:nvSpPr>
            <p:spPr bwMode="auto">
              <a:xfrm>
                <a:off x="-4523511" y="2785124"/>
                <a:ext cx="2608" cy="2459"/>
              </a:xfrm>
              <a:custGeom>
                <a:avLst/>
                <a:gdLst>
                  <a:gd name="T0" fmla="*/ 2608 w 1"/>
                  <a:gd name="T1" fmla="*/ 0 h 1"/>
                  <a:gd name="T2" fmla="*/ 0 w 1"/>
                  <a:gd name="T3" fmla="*/ 0 h 1"/>
                  <a:gd name="T4" fmla="*/ 0 w 1"/>
                  <a:gd name="T5" fmla="*/ 2459 h 1"/>
                  <a:gd name="T6" fmla="*/ 2608 w 1"/>
                  <a:gd name="T7" fmla="*/ 2459 h 1"/>
                  <a:gd name="T8" fmla="*/ 2608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9" name="Freeform 275"/>
              <p:cNvSpPr>
                <a:spLocks/>
              </p:cNvSpPr>
              <p:nvPr/>
            </p:nvSpPr>
            <p:spPr bwMode="auto">
              <a:xfrm>
                <a:off x="-4340919" y="2785124"/>
                <a:ext cx="2608" cy="2459"/>
              </a:xfrm>
              <a:custGeom>
                <a:avLst/>
                <a:gdLst>
                  <a:gd name="T0" fmla="*/ 0 w 1"/>
                  <a:gd name="T1" fmla="*/ 0 h 1"/>
                  <a:gd name="T2" fmla="*/ 0 w 1"/>
                  <a:gd name="T3" fmla="*/ 2459 h 1"/>
                  <a:gd name="T4" fmla="*/ 2608 w 1"/>
                  <a:gd name="T5" fmla="*/ 0 h 1"/>
                  <a:gd name="T6" fmla="*/ 2608 w 1"/>
                  <a:gd name="T7" fmla="*/ 0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0" name="Freeform 276"/>
              <p:cNvSpPr>
                <a:spLocks noEditPoints="1"/>
              </p:cNvSpPr>
              <p:nvPr/>
            </p:nvSpPr>
            <p:spPr bwMode="auto">
              <a:xfrm>
                <a:off x="-6036415" y="3149173"/>
                <a:ext cx="1661586" cy="2459"/>
              </a:xfrm>
              <a:custGeom>
                <a:avLst/>
                <a:gdLst>
                  <a:gd name="T0" fmla="*/ 7518 w 442"/>
                  <a:gd name="T1" fmla="*/ 0 h 1"/>
                  <a:gd name="T2" fmla="*/ 0 w 442"/>
                  <a:gd name="T3" fmla="*/ 0 h 1"/>
                  <a:gd name="T4" fmla="*/ 0 w 442"/>
                  <a:gd name="T5" fmla="*/ 2459 h 1"/>
                  <a:gd name="T6" fmla="*/ 3759 w 442"/>
                  <a:gd name="T7" fmla="*/ 2459 h 1"/>
                  <a:gd name="T8" fmla="*/ 3759 w 442"/>
                  <a:gd name="T9" fmla="*/ 0 h 1"/>
                  <a:gd name="T10" fmla="*/ 7518 w 442"/>
                  <a:gd name="T11" fmla="*/ 0 h 1"/>
                  <a:gd name="T12" fmla="*/ 1661586 w 442"/>
                  <a:gd name="T13" fmla="*/ 0 h 1"/>
                  <a:gd name="T14" fmla="*/ 1661586 w 442"/>
                  <a:gd name="T15" fmla="*/ 0 h 1"/>
                  <a:gd name="T16" fmla="*/ 1661586 w 442"/>
                  <a:gd name="T17" fmla="*/ 2459 h 1"/>
                  <a:gd name="T18" fmla="*/ 1661586 w 442"/>
                  <a:gd name="T19" fmla="*/ 2459 h 1"/>
                  <a:gd name="T20" fmla="*/ 1661586 w 442"/>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1" name="Freeform 277"/>
              <p:cNvSpPr>
                <a:spLocks/>
              </p:cNvSpPr>
              <p:nvPr/>
            </p:nvSpPr>
            <p:spPr bwMode="auto">
              <a:xfrm>
                <a:off x="-1304676" y="3149173"/>
                <a:ext cx="7825" cy="2459"/>
              </a:xfrm>
              <a:custGeom>
                <a:avLst/>
                <a:gdLst>
                  <a:gd name="T0" fmla="*/ 3913 w 2"/>
                  <a:gd name="T1" fmla="*/ 0 h 1"/>
                  <a:gd name="T2" fmla="*/ 0 w 2"/>
                  <a:gd name="T3" fmla="*/ 0 h 1"/>
                  <a:gd name="T4" fmla="*/ 3913 w 2"/>
                  <a:gd name="T5" fmla="*/ 2459 h 1"/>
                  <a:gd name="T6" fmla="*/ 7825 w 2"/>
                  <a:gd name="T7" fmla="*/ 2459 h 1"/>
                  <a:gd name="T8" fmla="*/ 7825 w 2"/>
                  <a:gd name="T9" fmla="*/ 0 h 1"/>
                  <a:gd name="T10" fmla="*/ 7825 w 2"/>
                  <a:gd name="T11" fmla="*/ 0 h 1"/>
                  <a:gd name="T12" fmla="*/ 3913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2" name="Freeform 278"/>
              <p:cNvSpPr>
                <a:spLocks/>
              </p:cNvSpPr>
              <p:nvPr/>
            </p:nvSpPr>
            <p:spPr bwMode="auto">
              <a:xfrm>
                <a:off x="-1302068" y="3149173"/>
                <a:ext cx="5217" cy="2459"/>
              </a:xfrm>
              <a:custGeom>
                <a:avLst/>
                <a:gdLst>
                  <a:gd name="T0" fmla="*/ 5217 w 1"/>
                  <a:gd name="T1" fmla="*/ 0 h 2459"/>
                  <a:gd name="T2" fmla="*/ 0 w 1"/>
                  <a:gd name="T3" fmla="*/ 0 h 2459"/>
                  <a:gd name="T4" fmla="*/ 5217 w 1"/>
                  <a:gd name="T5" fmla="*/ 0 h 2459"/>
                  <a:gd name="T6" fmla="*/ 5217 w 1"/>
                  <a:gd name="T7" fmla="*/ 0 h 2459"/>
                  <a:gd name="T8" fmla="*/ 5217 w 1"/>
                  <a:gd name="T9" fmla="*/ 0 h 24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2459">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3" name="Freeform 279"/>
              <p:cNvSpPr>
                <a:spLocks/>
              </p:cNvSpPr>
              <p:nvPr/>
            </p:nvSpPr>
            <p:spPr bwMode="auto">
              <a:xfrm>
                <a:off x="-3871397" y="3149173"/>
                <a:ext cx="5217" cy="2459"/>
              </a:xfrm>
              <a:custGeom>
                <a:avLst/>
                <a:gdLst>
                  <a:gd name="T0" fmla="*/ 5217 w 1"/>
                  <a:gd name="T1" fmla="*/ 0 h 1"/>
                  <a:gd name="T2" fmla="*/ 0 w 1"/>
                  <a:gd name="T3" fmla="*/ 0 h 1"/>
                  <a:gd name="T4" fmla="*/ 0 w 1"/>
                  <a:gd name="T5" fmla="*/ 2459 h 1"/>
                  <a:gd name="T6" fmla="*/ 5217 w 1"/>
                  <a:gd name="T7" fmla="*/ 2459 h 1"/>
                  <a:gd name="T8" fmla="*/ 5217 w 1"/>
                  <a:gd name="T9" fmla="*/ 0 h 1"/>
                  <a:gd name="T10" fmla="*/ 5217 w 1"/>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4" name="Freeform 280"/>
              <p:cNvSpPr>
                <a:spLocks/>
              </p:cNvSpPr>
              <p:nvPr/>
            </p:nvSpPr>
            <p:spPr bwMode="auto">
              <a:xfrm>
                <a:off x="-5676448" y="2593261"/>
                <a:ext cx="1614633" cy="2508986"/>
              </a:xfrm>
              <a:custGeom>
                <a:avLst/>
                <a:gdLst>
                  <a:gd name="T0" fmla="*/ 391426 w 429"/>
                  <a:gd name="T1" fmla="*/ 22570 h 667"/>
                  <a:gd name="T2" fmla="*/ 666177 w 429"/>
                  <a:gd name="T3" fmla="*/ 127894 h 667"/>
                  <a:gd name="T4" fmla="*/ 812962 w 429"/>
                  <a:gd name="T5" fmla="*/ 327259 h 667"/>
                  <a:gd name="T6" fmla="*/ 794144 w 429"/>
                  <a:gd name="T7" fmla="*/ 154226 h 667"/>
                  <a:gd name="T8" fmla="*/ 895764 w 429"/>
                  <a:gd name="T9" fmla="*/ 214411 h 667"/>
                  <a:gd name="T10" fmla="*/ 910819 w 429"/>
                  <a:gd name="T11" fmla="*/ 176795 h 667"/>
                  <a:gd name="T12" fmla="*/ 1038785 w 429"/>
                  <a:gd name="T13" fmla="*/ 323497 h 667"/>
                  <a:gd name="T14" fmla="*/ 967274 w 429"/>
                  <a:gd name="T15" fmla="*/ 406253 h 667"/>
                  <a:gd name="T16" fmla="*/ 1012439 w 429"/>
                  <a:gd name="T17" fmla="*/ 447630 h 667"/>
                  <a:gd name="T18" fmla="*/ 888236 w 429"/>
                  <a:gd name="T19" fmla="*/ 583048 h 667"/>
                  <a:gd name="T20" fmla="*/ 861890 w 429"/>
                  <a:gd name="T21" fmla="*/ 865168 h 667"/>
                  <a:gd name="T22" fmla="*/ 865654 w 429"/>
                  <a:gd name="T23" fmla="*/ 865168 h 667"/>
                  <a:gd name="T24" fmla="*/ 846835 w 429"/>
                  <a:gd name="T25" fmla="*/ 831313 h 667"/>
                  <a:gd name="T26" fmla="*/ 666177 w 429"/>
                  <a:gd name="T27" fmla="*/ 1011870 h 667"/>
                  <a:gd name="T28" fmla="*/ 756506 w 429"/>
                  <a:gd name="T29" fmla="*/ 1041963 h 667"/>
                  <a:gd name="T30" fmla="*/ 809198 w 429"/>
                  <a:gd name="T31" fmla="*/ 1060771 h 667"/>
                  <a:gd name="T32" fmla="*/ 846835 w 429"/>
                  <a:gd name="T33" fmla="*/ 1177380 h 667"/>
                  <a:gd name="T34" fmla="*/ 1200625 w 429"/>
                  <a:gd name="T35" fmla="*/ 1214996 h 667"/>
                  <a:gd name="T36" fmla="*/ 1422684 w 429"/>
                  <a:gd name="T37" fmla="*/ 1433169 h 667"/>
                  <a:gd name="T38" fmla="*/ 1132878 w 429"/>
                  <a:gd name="T39" fmla="*/ 2490178 h 667"/>
                  <a:gd name="T40" fmla="*/ 1140405 w 429"/>
                  <a:gd name="T41" fmla="*/ 2493940 h 667"/>
                  <a:gd name="T42" fmla="*/ 1140405 w 429"/>
                  <a:gd name="T43" fmla="*/ 2493940 h 667"/>
                  <a:gd name="T44" fmla="*/ 940928 w 429"/>
                  <a:gd name="T45" fmla="*/ 1301513 h 667"/>
                  <a:gd name="T46" fmla="*/ 764034 w 429"/>
                  <a:gd name="T47" fmla="*/ 1102148 h 667"/>
                  <a:gd name="T48" fmla="*/ 421536 w 429"/>
                  <a:gd name="T49" fmla="*/ 752320 h 667"/>
                  <a:gd name="T50" fmla="*/ 444118 w 429"/>
                  <a:gd name="T51" fmla="*/ 906545 h 667"/>
                  <a:gd name="T52" fmla="*/ 440354 w 429"/>
                  <a:gd name="T53" fmla="*/ 899022 h 667"/>
                  <a:gd name="T54" fmla="*/ 451646 w 429"/>
                  <a:gd name="T55" fmla="*/ 899022 h 667"/>
                  <a:gd name="T56" fmla="*/ 237114 w 429"/>
                  <a:gd name="T57" fmla="*/ 180557 h 667"/>
                  <a:gd name="T58" fmla="*/ 11291 w 429"/>
                  <a:gd name="T59" fmla="*/ 240742 h 667"/>
                  <a:gd name="T60" fmla="*/ 18819 w 429"/>
                  <a:gd name="T61" fmla="*/ 244504 h 667"/>
                  <a:gd name="T62" fmla="*/ 33873 w 429"/>
                  <a:gd name="T63" fmla="*/ 161749 h 667"/>
                  <a:gd name="T64" fmla="*/ 22582 w 429"/>
                  <a:gd name="T65" fmla="*/ 131656 h 667"/>
                  <a:gd name="T66" fmla="*/ 0 w 429"/>
                  <a:gd name="T67" fmla="*/ 244504 h 667"/>
                  <a:gd name="T68" fmla="*/ 248405 w 429"/>
                  <a:gd name="T69" fmla="*/ 195603 h 667"/>
                  <a:gd name="T70" fmla="*/ 440354 w 429"/>
                  <a:gd name="T71" fmla="*/ 914068 h 667"/>
                  <a:gd name="T72" fmla="*/ 414008 w 429"/>
                  <a:gd name="T73" fmla="*/ 756081 h 667"/>
                  <a:gd name="T74" fmla="*/ 410245 w 429"/>
                  <a:gd name="T75" fmla="*/ 756081 h 667"/>
                  <a:gd name="T76" fmla="*/ 485519 w 429"/>
                  <a:gd name="T77" fmla="*/ 895260 h 667"/>
                  <a:gd name="T78" fmla="*/ 820489 w 429"/>
                  <a:gd name="T79" fmla="*/ 1214996 h 667"/>
                  <a:gd name="T80" fmla="*/ 892000 w 429"/>
                  <a:gd name="T81" fmla="*/ 1493354 h 667"/>
                  <a:gd name="T82" fmla="*/ 1151696 w 429"/>
                  <a:gd name="T83" fmla="*/ 2490178 h 667"/>
                  <a:gd name="T84" fmla="*/ 1422684 w 429"/>
                  <a:gd name="T85" fmla="*/ 1418123 h 667"/>
                  <a:gd name="T86" fmla="*/ 1204388 w 429"/>
                  <a:gd name="T87" fmla="*/ 1199950 h 667"/>
                  <a:gd name="T88" fmla="*/ 861890 w 429"/>
                  <a:gd name="T89" fmla="*/ 1169857 h 667"/>
                  <a:gd name="T90" fmla="*/ 794144 w 429"/>
                  <a:gd name="T91" fmla="*/ 1053247 h 667"/>
                  <a:gd name="T92" fmla="*/ 722633 w 429"/>
                  <a:gd name="T93" fmla="*/ 978016 h 667"/>
                  <a:gd name="T94" fmla="*/ 812962 w 429"/>
                  <a:gd name="T95" fmla="*/ 797459 h 667"/>
                  <a:gd name="T96" fmla="*/ 876945 w 429"/>
                  <a:gd name="T97" fmla="*/ 823790 h 667"/>
                  <a:gd name="T98" fmla="*/ 982329 w 429"/>
                  <a:gd name="T99" fmla="*/ 462677 h 667"/>
                  <a:gd name="T100" fmla="*/ 955983 w 429"/>
                  <a:gd name="T101" fmla="*/ 394968 h 667"/>
                  <a:gd name="T102" fmla="*/ 959747 w 429"/>
                  <a:gd name="T103" fmla="*/ 398729 h 667"/>
                  <a:gd name="T104" fmla="*/ 910819 w 429"/>
                  <a:gd name="T105" fmla="*/ 161749 h 667"/>
                  <a:gd name="T106" fmla="*/ 779089 w 429"/>
                  <a:gd name="T107" fmla="*/ 165510 h 667"/>
                  <a:gd name="T108" fmla="*/ 801671 w 429"/>
                  <a:gd name="T109" fmla="*/ 331021 h 667"/>
                  <a:gd name="T110" fmla="*/ 805435 w 429"/>
                  <a:gd name="T111" fmla="*/ 334782 h 667"/>
                  <a:gd name="T112" fmla="*/ 666177 w 429"/>
                  <a:gd name="T113" fmla="*/ 176795 h 667"/>
                  <a:gd name="T114" fmla="*/ 406481 w 429"/>
                  <a:gd name="T115" fmla="*/ 3762 h 667"/>
                  <a:gd name="T116" fmla="*/ 143021 w 429"/>
                  <a:gd name="T117" fmla="*/ 22570 h 6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5" name="Freeform 281"/>
              <p:cNvSpPr>
                <a:spLocks/>
              </p:cNvSpPr>
              <p:nvPr/>
            </p:nvSpPr>
            <p:spPr bwMode="auto">
              <a:xfrm>
                <a:off x="-5011293" y="2548984"/>
                <a:ext cx="232153" cy="186944"/>
              </a:xfrm>
              <a:custGeom>
                <a:avLst/>
                <a:gdLst>
                  <a:gd name="T0" fmla="*/ 30446 w 61"/>
                  <a:gd name="T1" fmla="*/ 14956 h 50"/>
                  <a:gd name="T2" fmla="*/ 137008 w 61"/>
                  <a:gd name="T3" fmla="*/ 56083 h 50"/>
                  <a:gd name="T4" fmla="*/ 182678 w 61"/>
                  <a:gd name="T5" fmla="*/ 104689 h 50"/>
                  <a:gd name="T6" fmla="*/ 201707 w 61"/>
                  <a:gd name="T7" fmla="*/ 112166 h 50"/>
                  <a:gd name="T8" fmla="*/ 205512 w 61"/>
                  <a:gd name="T9" fmla="*/ 115905 h 50"/>
                  <a:gd name="T10" fmla="*/ 216930 w 61"/>
                  <a:gd name="T11" fmla="*/ 123383 h 50"/>
                  <a:gd name="T12" fmla="*/ 216930 w 61"/>
                  <a:gd name="T13" fmla="*/ 123383 h 50"/>
                  <a:gd name="T14" fmla="*/ 216930 w 61"/>
                  <a:gd name="T15" fmla="*/ 123383 h 50"/>
                  <a:gd name="T16" fmla="*/ 216930 w 61"/>
                  <a:gd name="T17" fmla="*/ 123383 h 50"/>
                  <a:gd name="T18" fmla="*/ 213124 w 61"/>
                  <a:gd name="T19" fmla="*/ 123383 h 50"/>
                  <a:gd name="T20" fmla="*/ 209318 w 61"/>
                  <a:gd name="T21" fmla="*/ 123383 h 50"/>
                  <a:gd name="T22" fmla="*/ 201707 w 61"/>
                  <a:gd name="T23" fmla="*/ 142077 h 50"/>
                  <a:gd name="T24" fmla="*/ 209318 w 61"/>
                  <a:gd name="T25" fmla="*/ 157033 h 50"/>
                  <a:gd name="T26" fmla="*/ 213124 w 61"/>
                  <a:gd name="T27" fmla="*/ 171988 h 50"/>
                  <a:gd name="T28" fmla="*/ 213124 w 61"/>
                  <a:gd name="T29" fmla="*/ 171988 h 50"/>
                  <a:gd name="T30" fmla="*/ 213124 w 61"/>
                  <a:gd name="T31" fmla="*/ 171988 h 50"/>
                  <a:gd name="T32" fmla="*/ 213124 w 61"/>
                  <a:gd name="T33" fmla="*/ 171988 h 50"/>
                  <a:gd name="T34" fmla="*/ 216930 w 61"/>
                  <a:gd name="T35" fmla="*/ 168250 h 50"/>
                  <a:gd name="T36" fmla="*/ 216930 w 61"/>
                  <a:gd name="T37" fmla="*/ 168250 h 50"/>
                  <a:gd name="T38" fmla="*/ 216930 w 61"/>
                  <a:gd name="T39" fmla="*/ 168250 h 50"/>
                  <a:gd name="T40" fmla="*/ 201707 w 61"/>
                  <a:gd name="T41" fmla="*/ 168250 h 50"/>
                  <a:gd name="T42" fmla="*/ 125591 w 61"/>
                  <a:gd name="T43" fmla="*/ 134600 h 50"/>
                  <a:gd name="T44" fmla="*/ 129397 w 61"/>
                  <a:gd name="T45" fmla="*/ 127122 h 50"/>
                  <a:gd name="T46" fmla="*/ 140814 w 61"/>
                  <a:gd name="T47" fmla="*/ 112166 h 50"/>
                  <a:gd name="T48" fmla="*/ 125591 w 61"/>
                  <a:gd name="T49" fmla="*/ 71039 h 50"/>
                  <a:gd name="T50" fmla="*/ 72310 w 61"/>
                  <a:gd name="T51" fmla="*/ 44867 h 50"/>
                  <a:gd name="T52" fmla="*/ 45669 w 61"/>
                  <a:gd name="T53" fmla="*/ 44867 h 50"/>
                  <a:gd name="T54" fmla="*/ 15223 w 61"/>
                  <a:gd name="T55" fmla="*/ 26172 h 50"/>
                  <a:gd name="T56" fmla="*/ 11417 w 61"/>
                  <a:gd name="T57" fmla="*/ 14956 h 50"/>
                  <a:gd name="T58" fmla="*/ 3806 w 61"/>
                  <a:gd name="T59" fmla="*/ 33650 h 50"/>
                  <a:gd name="T60" fmla="*/ 34252 w 61"/>
                  <a:gd name="T61" fmla="*/ 56083 h 50"/>
                  <a:gd name="T62" fmla="*/ 72310 w 61"/>
                  <a:gd name="T63" fmla="*/ 59822 h 50"/>
                  <a:gd name="T64" fmla="*/ 110368 w 61"/>
                  <a:gd name="T65" fmla="*/ 82255 h 50"/>
                  <a:gd name="T66" fmla="*/ 125591 w 61"/>
                  <a:gd name="T67" fmla="*/ 112166 h 50"/>
                  <a:gd name="T68" fmla="*/ 125591 w 61"/>
                  <a:gd name="T69" fmla="*/ 115905 h 50"/>
                  <a:gd name="T70" fmla="*/ 125591 w 61"/>
                  <a:gd name="T71" fmla="*/ 115905 h 50"/>
                  <a:gd name="T72" fmla="*/ 129397 w 61"/>
                  <a:gd name="T73" fmla="*/ 112166 h 50"/>
                  <a:gd name="T74" fmla="*/ 129397 w 61"/>
                  <a:gd name="T75" fmla="*/ 112166 h 50"/>
                  <a:gd name="T76" fmla="*/ 117979 w 61"/>
                  <a:gd name="T77" fmla="*/ 149555 h 50"/>
                  <a:gd name="T78" fmla="*/ 213124 w 61"/>
                  <a:gd name="T79" fmla="*/ 186944 h 50"/>
                  <a:gd name="T80" fmla="*/ 228347 w 61"/>
                  <a:gd name="T81" fmla="*/ 179466 h 50"/>
                  <a:gd name="T82" fmla="*/ 228347 w 61"/>
                  <a:gd name="T83" fmla="*/ 157033 h 50"/>
                  <a:gd name="T84" fmla="*/ 213124 w 61"/>
                  <a:gd name="T85" fmla="*/ 138339 h 50"/>
                  <a:gd name="T86" fmla="*/ 213124 w 61"/>
                  <a:gd name="T87" fmla="*/ 134600 h 50"/>
                  <a:gd name="T88" fmla="*/ 213124 w 61"/>
                  <a:gd name="T89" fmla="*/ 134600 h 50"/>
                  <a:gd name="T90" fmla="*/ 213124 w 61"/>
                  <a:gd name="T91" fmla="*/ 138339 h 50"/>
                  <a:gd name="T92" fmla="*/ 213124 w 61"/>
                  <a:gd name="T93" fmla="*/ 138339 h 50"/>
                  <a:gd name="T94" fmla="*/ 213124 w 61"/>
                  <a:gd name="T95" fmla="*/ 138339 h 50"/>
                  <a:gd name="T96" fmla="*/ 209318 w 61"/>
                  <a:gd name="T97" fmla="*/ 138339 h 50"/>
                  <a:gd name="T98" fmla="*/ 209318 w 61"/>
                  <a:gd name="T99" fmla="*/ 138339 h 50"/>
                  <a:gd name="T100" fmla="*/ 209318 w 61"/>
                  <a:gd name="T101" fmla="*/ 138339 h 50"/>
                  <a:gd name="T102" fmla="*/ 232153 w 61"/>
                  <a:gd name="T103" fmla="*/ 127122 h 50"/>
                  <a:gd name="T104" fmla="*/ 213124 w 61"/>
                  <a:gd name="T105" fmla="*/ 100950 h 50"/>
                  <a:gd name="T106" fmla="*/ 209318 w 61"/>
                  <a:gd name="T107" fmla="*/ 97211 h 50"/>
                  <a:gd name="T108" fmla="*/ 194095 w 61"/>
                  <a:gd name="T109" fmla="*/ 89733 h 50"/>
                  <a:gd name="T110" fmla="*/ 148426 w 61"/>
                  <a:gd name="T111" fmla="*/ 41128 h 50"/>
                  <a:gd name="T112" fmla="*/ 30446 w 61"/>
                  <a:gd name="T113" fmla="*/ 0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6" name="Freeform 282"/>
              <p:cNvSpPr>
                <a:spLocks/>
              </p:cNvSpPr>
              <p:nvPr/>
            </p:nvSpPr>
            <p:spPr bwMode="auto">
              <a:xfrm>
                <a:off x="-4938256" y="2428454"/>
                <a:ext cx="383444" cy="341912"/>
              </a:xfrm>
              <a:custGeom>
                <a:avLst/>
                <a:gdLst>
                  <a:gd name="T0" fmla="*/ 18796 w 102"/>
                  <a:gd name="T1" fmla="*/ 33815 h 91"/>
                  <a:gd name="T2" fmla="*/ 18796 w 102"/>
                  <a:gd name="T3" fmla="*/ 33815 h 91"/>
                  <a:gd name="T4" fmla="*/ 18796 w 102"/>
                  <a:gd name="T5" fmla="*/ 33815 h 91"/>
                  <a:gd name="T6" fmla="*/ 22556 w 102"/>
                  <a:gd name="T7" fmla="*/ 30058 h 91"/>
                  <a:gd name="T8" fmla="*/ 71426 w 102"/>
                  <a:gd name="T9" fmla="*/ 41330 h 91"/>
                  <a:gd name="T10" fmla="*/ 93981 w 102"/>
                  <a:gd name="T11" fmla="*/ 18786 h 91"/>
                  <a:gd name="T12" fmla="*/ 93981 w 102"/>
                  <a:gd name="T13" fmla="*/ 18786 h 91"/>
                  <a:gd name="T14" fmla="*/ 135333 w 102"/>
                  <a:gd name="T15" fmla="*/ 26301 h 91"/>
                  <a:gd name="T16" fmla="*/ 199241 w 102"/>
                  <a:gd name="T17" fmla="*/ 52602 h 91"/>
                  <a:gd name="T18" fmla="*/ 225555 w 102"/>
                  <a:gd name="T19" fmla="*/ 48845 h 91"/>
                  <a:gd name="T20" fmla="*/ 349611 w 102"/>
                  <a:gd name="T21" fmla="*/ 123990 h 91"/>
                  <a:gd name="T22" fmla="*/ 368407 w 102"/>
                  <a:gd name="T23" fmla="*/ 221679 h 91"/>
                  <a:gd name="T24" fmla="*/ 349611 w 102"/>
                  <a:gd name="T25" fmla="*/ 270524 h 91"/>
                  <a:gd name="T26" fmla="*/ 360888 w 102"/>
                  <a:gd name="T27" fmla="*/ 326883 h 91"/>
                  <a:gd name="T28" fmla="*/ 360888 w 102"/>
                  <a:gd name="T29" fmla="*/ 326883 h 91"/>
                  <a:gd name="T30" fmla="*/ 364648 w 102"/>
                  <a:gd name="T31" fmla="*/ 326883 h 91"/>
                  <a:gd name="T32" fmla="*/ 364648 w 102"/>
                  <a:gd name="T33" fmla="*/ 326883 h 91"/>
                  <a:gd name="T34" fmla="*/ 364648 w 102"/>
                  <a:gd name="T35" fmla="*/ 326883 h 91"/>
                  <a:gd name="T36" fmla="*/ 244352 w 102"/>
                  <a:gd name="T37" fmla="*/ 225436 h 91"/>
                  <a:gd name="T38" fmla="*/ 214278 w 102"/>
                  <a:gd name="T39" fmla="*/ 157806 h 91"/>
                  <a:gd name="T40" fmla="*/ 112778 w 102"/>
                  <a:gd name="T41" fmla="*/ 86417 h 91"/>
                  <a:gd name="T42" fmla="*/ 45111 w 102"/>
                  <a:gd name="T43" fmla="*/ 86417 h 91"/>
                  <a:gd name="T44" fmla="*/ 41352 w 102"/>
                  <a:gd name="T45" fmla="*/ 82660 h 91"/>
                  <a:gd name="T46" fmla="*/ 37593 w 102"/>
                  <a:gd name="T47" fmla="*/ 82660 h 91"/>
                  <a:gd name="T48" fmla="*/ 41352 w 102"/>
                  <a:gd name="T49" fmla="*/ 82660 h 91"/>
                  <a:gd name="T50" fmla="*/ 41352 w 102"/>
                  <a:gd name="T51" fmla="*/ 78903 h 91"/>
                  <a:gd name="T52" fmla="*/ 18796 w 102"/>
                  <a:gd name="T53" fmla="*/ 56359 h 91"/>
                  <a:gd name="T54" fmla="*/ 15037 w 102"/>
                  <a:gd name="T55" fmla="*/ 60116 h 91"/>
                  <a:gd name="T56" fmla="*/ 18796 w 102"/>
                  <a:gd name="T57" fmla="*/ 60116 h 91"/>
                  <a:gd name="T58" fmla="*/ 18796 w 102"/>
                  <a:gd name="T59" fmla="*/ 33815 h 91"/>
                  <a:gd name="T60" fmla="*/ 7519 w 102"/>
                  <a:gd name="T61" fmla="*/ 48845 h 91"/>
                  <a:gd name="T62" fmla="*/ 22556 w 102"/>
                  <a:gd name="T63" fmla="*/ 75145 h 91"/>
                  <a:gd name="T64" fmla="*/ 30074 w 102"/>
                  <a:gd name="T65" fmla="*/ 97689 h 91"/>
                  <a:gd name="T66" fmla="*/ 90222 w 102"/>
                  <a:gd name="T67" fmla="*/ 101446 h 91"/>
                  <a:gd name="T68" fmla="*/ 161648 w 102"/>
                  <a:gd name="T69" fmla="*/ 139019 h 91"/>
                  <a:gd name="T70" fmla="*/ 221796 w 102"/>
                  <a:gd name="T71" fmla="*/ 202893 h 91"/>
                  <a:gd name="T72" fmla="*/ 349611 w 102"/>
                  <a:gd name="T73" fmla="*/ 338155 h 91"/>
                  <a:gd name="T74" fmla="*/ 375925 w 102"/>
                  <a:gd name="T75" fmla="*/ 315611 h 91"/>
                  <a:gd name="T76" fmla="*/ 368407 w 102"/>
                  <a:gd name="T77" fmla="*/ 259252 h 91"/>
                  <a:gd name="T78" fmla="*/ 383444 w 102"/>
                  <a:gd name="T79" fmla="*/ 217922 h 91"/>
                  <a:gd name="T80" fmla="*/ 263148 w 102"/>
                  <a:gd name="T81" fmla="*/ 60116 h 91"/>
                  <a:gd name="T82" fmla="*/ 218037 w 102"/>
                  <a:gd name="T83" fmla="*/ 30058 h 91"/>
                  <a:gd name="T84" fmla="*/ 187963 w 102"/>
                  <a:gd name="T85" fmla="*/ 37573 h 91"/>
                  <a:gd name="T86" fmla="*/ 187963 w 102"/>
                  <a:gd name="T87" fmla="*/ 41330 h 91"/>
                  <a:gd name="T88" fmla="*/ 172926 w 102"/>
                  <a:gd name="T89" fmla="*/ 33815 h 91"/>
                  <a:gd name="T90" fmla="*/ 90222 w 102"/>
                  <a:gd name="T91" fmla="*/ 3757 h 91"/>
                  <a:gd name="T92" fmla="*/ 71426 w 102"/>
                  <a:gd name="T93" fmla="*/ 26301 h 91"/>
                  <a:gd name="T94" fmla="*/ 71426 w 102"/>
                  <a:gd name="T95" fmla="*/ 26301 h 91"/>
                  <a:gd name="T96" fmla="*/ 71426 w 102"/>
                  <a:gd name="T97" fmla="*/ 26301 h 91"/>
                  <a:gd name="T98" fmla="*/ 15037 w 102"/>
                  <a:gd name="T99" fmla="*/ 15029 h 91"/>
                  <a:gd name="T100" fmla="*/ 7519 w 102"/>
                  <a:gd name="T101" fmla="*/ 45087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7" name="Freeform 283"/>
              <p:cNvSpPr>
                <a:spLocks/>
              </p:cNvSpPr>
              <p:nvPr/>
            </p:nvSpPr>
            <p:spPr bwMode="auto">
              <a:xfrm>
                <a:off x="-3748800" y="2502248"/>
                <a:ext cx="2045029" cy="2208892"/>
              </a:xfrm>
              <a:custGeom>
                <a:avLst/>
                <a:gdLst>
                  <a:gd name="T0" fmla="*/ 560127 w 544"/>
                  <a:gd name="T1" fmla="*/ 876783 h 587"/>
                  <a:gd name="T2" fmla="*/ 751849 w 544"/>
                  <a:gd name="T3" fmla="*/ 752604 h 587"/>
                  <a:gd name="T4" fmla="*/ 511257 w 544"/>
                  <a:gd name="T5" fmla="*/ 575742 h 587"/>
                  <a:gd name="T6" fmla="*/ 443591 w 544"/>
                  <a:gd name="T7" fmla="*/ 598320 h 587"/>
                  <a:gd name="T8" fmla="*/ 342091 w 544"/>
                  <a:gd name="T9" fmla="*/ 575742 h 587"/>
                  <a:gd name="T10" fmla="*/ 469906 w 544"/>
                  <a:gd name="T11" fmla="*/ 413932 h 587"/>
                  <a:gd name="T12" fmla="*/ 507498 w 544"/>
                  <a:gd name="T13" fmla="*/ 357487 h 587"/>
                  <a:gd name="T14" fmla="*/ 541331 w 544"/>
                  <a:gd name="T15" fmla="*/ 406406 h 587"/>
                  <a:gd name="T16" fmla="*/ 661627 w 544"/>
                  <a:gd name="T17" fmla="*/ 267174 h 587"/>
                  <a:gd name="T18" fmla="*/ 548850 w 544"/>
                  <a:gd name="T19" fmla="*/ 342435 h 587"/>
                  <a:gd name="T20" fmla="*/ 699219 w 544"/>
                  <a:gd name="T21" fmla="*/ 131706 h 587"/>
                  <a:gd name="T22" fmla="*/ 774404 w 544"/>
                  <a:gd name="T23" fmla="*/ 214492 h 587"/>
                  <a:gd name="T24" fmla="*/ 1413476 w 544"/>
                  <a:gd name="T25" fmla="*/ 112891 h 587"/>
                  <a:gd name="T26" fmla="*/ 2029992 w 544"/>
                  <a:gd name="T27" fmla="*/ 470377 h 587"/>
                  <a:gd name="T28" fmla="*/ 1875863 w 544"/>
                  <a:gd name="T29" fmla="*/ 489192 h 587"/>
                  <a:gd name="T30" fmla="*/ 1770604 w 544"/>
                  <a:gd name="T31" fmla="*/ 666054 h 587"/>
                  <a:gd name="T32" fmla="*/ 1928492 w 544"/>
                  <a:gd name="T33" fmla="*/ 1012252 h 587"/>
                  <a:gd name="T34" fmla="*/ 1785641 w 544"/>
                  <a:gd name="T35" fmla="*/ 1249322 h 587"/>
                  <a:gd name="T36" fmla="*/ 1834511 w 544"/>
                  <a:gd name="T37" fmla="*/ 1448762 h 587"/>
                  <a:gd name="T38" fmla="*/ 1736771 w 544"/>
                  <a:gd name="T39" fmla="*/ 1238033 h 587"/>
                  <a:gd name="T40" fmla="*/ 1428513 w 544"/>
                  <a:gd name="T41" fmla="*/ 1313294 h 587"/>
                  <a:gd name="T42" fmla="*/ 1428513 w 544"/>
                  <a:gd name="T43" fmla="*/ 1317057 h 587"/>
                  <a:gd name="T44" fmla="*/ 977404 w 544"/>
                  <a:gd name="T45" fmla="*/ 873020 h 587"/>
                  <a:gd name="T46" fmla="*/ 1108977 w 544"/>
                  <a:gd name="T47" fmla="*/ 1057408 h 587"/>
                  <a:gd name="T48" fmla="*/ 887182 w 544"/>
                  <a:gd name="T49" fmla="*/ 1264374 h 587"/>
                  <a:gd name="T50" fmla="*/ 838312 w 544"/>
                  <a:gd name="T51" fmla="*/ 1697121 h 587"/>
                  <a:gd name="T52" fmla="*/ 533813 w 544"/>
                  <a:gd name="T53" fmla="*/ 2190077 h 587"/>
                  <a:gd name="T54" fmla="*/ 266906 w 544"/>
                  <a:gd name="T55" fmla="*/ 1358450 h 587"/>
                  <a:gd name="T56" fmla="*/ 274425 w 544"/>
                  <a:gd name="T57" fmla="*/ 1369739 h 587"/>
                  <a:gd name="T58" fmla="*/ 533813 w 544"/>
                  <a:gd name="T59" fmla="*/ 2208892 h 587"/>
                  <a:gd name="T60" fmla="*/ 849589 w 544"/>
                  <a:gd name="T61" fmla="*/ 1689595 h 587"/>
                  <a:gd name="T62" fmla="*/ 898459 w 544"/>
                  <a:gd name="T63" fmla="*/ 1249322 h 587"/>
                  <a:gd name="T64" fmla="*/ 774404 w 544"/>
                  <a:gd name="T65" fmla="*/ 944518 h 587"/>
                  <a:gd name="T66" fmla="*/ 1131533 w 544"/>
                  <a:gd name="T67" fmla="*/ 1046119 h 587"/>
                  <a:gd name="T68" fmla="*/ 1120255 w 544"/>
                  <a:gd name="T69" fmla="*/ 1000963 h 587"/>
                  <a:gd name="T70" fmla="*/ 1413476 w 544"/>
                  <a:gd name="T71" fmla="*/ 1317057 h 587"/>
                  <a:gd name="T72" fmla="*/ 1725493 w 544"/>
                  <a:gd name="T73" fmla="*/ 1264374 h 587"/>
                  <a:gd name="T74" fmla="*/ 1778123 w 544"/>
                  <a:gd name="T75" fmla="*/ 1260611 h 587"/>
                  <a:gd name="T76" fmla="*/ 1778123 w 544"/>
                  <a:gd name="T77" fmla="*/ 1264374 h 587"/>
                  <a:gd name="T78" fmla="*/ 1939770 w 544"/>
                  <a:gd name="T79" fmla="*/ 910651 h 587"/>
                  <a:gd name="T80" fmla="*/ 1785641 w 544"/>
                  <a:gd name="T81" fmla="*/ 673580 h 587"/>
                  <a:gd name="T82" fmla="*/ 1883381 w 544"/>
                  <a:gd name="T83" fmla="*/ 462851 h 587"/>
                  <a:gd name="T84" fmla="*/ 2037511 w 544"/>
                  <a:gd name="T85" fmla="*/ 444036 h 587"/>
                  <a:gd name="T86" fmla="*/ 1124014 w 544"/>
                  <a:gd name="T87" fmla="*/ 0 h 587"/>
                  <a:gd name="T88" fmla="*/ 748090 w 544"/>
                  <a:gd name="T89" fmla="*/ 180625 h 587"/>
                  <a:gd name="T90" fmla="*/ 740571 w 544"/>
                  <a:gd name="T91" fmla="*/ 180625 h 587"/>
                  <a:gd name="T92" fmla="*/ 774404 w 544"/>
                  <a:gd name="T93" fmla="*/ 142995 h 587"/>
                  <a:gd name="T94" fmla="*/ 518776 w 544"/>
                  <a:gd name="T95" fmla="*/ 319857 h 587"/>
                  <a:gd name="T96" fmla="*/ 642831 w 544"/>
                  <a:gd name="T97" fmla="*/ 214492 h 587"/>
                  <a:gd name="T98" fmla="*/ 657868 w 544"/>
                  <a:gd name="T99" fmla="*/ 282226 h 587"/>
                  <a:gd name="T100" fmla="*/ 684182 w 544"/>
                  <a:gd name="T101" fmla="*/ 278463 h 587"/>
                  <a:gd name="T102" fmla="*/ 545090 w 544"/>
                  <a:gd name="T103" fmla="*/ 398880 h 587"/>
                  <a:gd name="T104" fmla="*/ 469906 w 544"/>
                  <a:gd name="T105" fmla="*/ 398880 h 587"/>
                  <a:gd name="T106" fmla="*/ 255629 w 544"/>
                  <a:gd name="T107" fmla="*/ 602083 h 587"/>
                  <a:gd name="T108" fmla="*/ 503739 w 544"/>
                  <a:gd name="T109" fmla="*/ 696158 h 587"/>
                  <a:gd name="T110" fmla="*/ 522535 w 544"/>
                  <a:gd name="T111" fmla="*/ 590794 h 587"/>
                  <a:gd name="T112" fmla="*/ 642831 w 544"/>
                  <a:gd name="T113" fmla="*/ 681106 h 587"/>
                  <a:gd name="T114" fmla="*/ 650349 w 544"/>
                  <a:gd name="T115" fmla="*/ 703685 h 587"/>
                  <a:gd name="T116" fmla="*/ 733053 w 544"/>
                  <a:gd name="T117" fmla="*/ 861731 h 587"/>
                  <a:gd name="T118" fmla="*/ 458628 w 544"/>
                  <a:gd name="T119" fmla="*/ 737552 h 5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8" name="Freeform 284"/>
              <p:cNvSpPr>
                <a:spLocks/>
              </p:cNvSpPr>
              <p:nvPr/>
            </p:nvSpPr>
            <p:spPr bwMode="auto">
              <a:xfrm>
                <a:off x="-3751408" y="2445673"/>
                <a:ext cx="508648" cy="324692"/>
              </a:xfrm>
              <a:custGeom>
                <a:avLst/>
                <a:gdLst>
                  <a:gd name="T0" fmla="*/ 22607 w 135"/>
                  <a:gd name="T1" fmla="*/ 324692 h 86"/>
                  <a:gd name="T2" fmla="*/ 41445 w 135"/>
                  <a:gd name="T3" fmla="*/ 320917 h 86"/>
                  <a:gd name="T4" fmla="*/ 37678 w 135"/>
                  <a:gd name="T5" fmla="*/ 317141 h 86"/>
                  <a:gd name="T6" fmla="*/ 37678 w 135"/>
                  <a:gd name="T7" fmla="*/ 317141 h 86"/>
                  <a:gd name="T8" fmla="*/ 37678 w 135"/>
                  <a:gd name="T9" fmla="*/ 317141 h 86"/>
                  <a:gd name="T10" fmla="*/ 41445 w 135"/>
                  <a:gd name="T11" fmla="*/ 324692 h 86"/>
                  <a:gd name="T12" fmla="*/ 71587 w 135"/>
                  <a:gd name="T13" fmla="*/ 313366 h 86"/>
                  <a:gd name="T14" fmla="*/ 128104 w 135"/>
                  <a:gd name="T15" fmla="*/ 264284 h 86"/>
                  <a:gd name="T16" fmla="*/ 259976 w 135"/>
                  <a:gd name="T17" fmla="*/ 200101 h 86"/>
                  <a:gd name="T18" fmla="*/ 316492 w 135"/>
                  <a:gd name="T19" fmla="*/ 207652 h 86"/>
                  <a:gd name="T20" fmla="*/ 327795 w 135"/>
                  <a:gd name="T21" fmla="*/ 177448 h 86"/>
                  <a:gd name="T22" fmla="*/ 316492 w 135"/>
                  <a:gd name="T23" fmla="*/ 158571 h 86"/>
                  <a:gd name="T24" fmla="*/ 316492 w 135"/>
                  <a:gd name="T25" fmla="*/ 158571 h 86"/>
                  <a:gd name="T26" fmla="*/ 316492 w 135"/>
                  <a:gd name="T27" fmla="*/ 154795 h 86"/>
                  <a:gd name="T28" fmla="*/ 316492 w 135"/>
                  <a:gd name="T29" fmla="*/ 154795 h 86"/>
                  <a:gd name="T30" fmla="*/ 331563 w 135"/>
                  <a:gd name="T31" fmla="*/ 154795 h 86"/>
                  <a:gd name="T32" fmla="*/ 350402 w 135"/>
                  <a:gd name="T33" fmla="*/ 151020 h 86"/>
                  <a:gd name="T34" fmla="*/ 504880 w 135"/>
                  <a:gd name="T35" fmla="*/ 45306 h 86"/>
                  <a:gd name="T36" fmla="*/ 493577 w 135"/>
                  <a:gd name="T37" fmla="*/ 18877 h 86"/>
                  <a:gd name="T38" fmla="*/ 489809 w 135"/>
                  <a:gd name="T39" fmla="*/ 33979 h 86"/>
                  <a:gd name="T40" fmla="*/ 493577 w 135"/>
                  <a:gd name="T41" fmla="*/ 37755 h 86"/>
                  <a:gd name="T42" fmla="*/ 493577 w 135"/>
                  <a:gd name="T43" fmla="*/ 37755 h 86"/>
                  <a:gd name="T44" fmla="*/ 493577 w 135"/>
                  <a:gd name="T45" fmla="*/ 37755 h 86"/>
                  <a:gd name="T46" fmla="*/ 493577 w 135"/>
                  <a:gd name="T47" fmla="*/ 33979 h 86"/>
                  <a:gd name="T48" fmla="*/ 493577 w 135"/>
                  <a:gd name="T49" fmla="*/ 33979 h 86"/>
                  <a:gd name="T50" fmla="*/ 489809 w 135"/>
                  <a:gd name="T51" fmla="*/ 37755 h 86"/>
                  <a:gd name="T52" fmla="*/ 335331 w 135"/>
                  <a:gd name="T53" fmla="*/ 139693 h 86"/>
                  <a:gd name="T54" fmla="*/ 316492 w 135"/>
                  <a:gd name="T55" fmla="*/ 139693 h 86"/>
                  <a:gd name="T56" fmla="*/ 308957 w 135"/>
                  <a:gd name="T57" fmla="*/ 181223 h 86"/>
                  <a:gd name="T58" fmla="*/ 316492 w 135"/>
                  <a:gd name="T59" fmla="*/ 192550 h 86"/>
                  <a:gd name="T60" fmla="*/ 316492 w 135"/>
                  <a:gd name="T61" fmla="*/ 192550 h 86"/>
                  <a:gd name="T62" fmla="*/ 316492 w 135"/>
                  <a:gd name="T63" fmla="*/ 192550 h 86"/>
                  <a:gd name="T64" fmla="*/ 316492 w 135"/>
                  <a:gd name="T65" fmla="*/ 192550 h 86"/>
                  <a:gd name="T66" fmla="*/ 316492 w 135"/>
                  <a:gd name="T67" fmla="*/ 192550 h 86"/>
                  <a:gd name="T68" fmla="*/ 316492 w 135"/>
                  <a:gd name="T69" fmla="*/ 192550 h 86"/>
                  <a:gd name="T70" fmla="*/ 259976 w 135"/>
                  <a:gd name="T71" fmla="*/ 184999 h 86"/>
                  <a:gd name="T72" fmla="*/ 116801 w 135"/>
                  <a:gd name="T73" fmla="*/ 249182 h 86"/>
                  <a:gd name="T74" fmla="*/ 60284 w 135"/>
                  <a:gd name="T75" fmla="*/ 302039 h 86"/>
                  <a:gd name="T76" fmla="*/ 48981 w 135"/>
                  <a:gd name="T77" fmla="*/ 309590 h 86"/>
                  <a:gd name="T78" fmla="*/ 48981 w 135"/>
                  <a:gd name="T79" fmla="*/ 309590 h 86"/>
                  <a:gd name="T80" fmla="*/ 48981 w 135"/>
                  <a:gd name="T81" fmla="*/ 309590 h 86"/>
                  <a:gd name="T82" fmla="*/ 48981 w 135"/>
                  <a:gd name="T83" fmla="*/ 309590 h 86"/>
                  <a:gd name="T84" fmla="*/ 48981 w 135"/>
                  <a:gd name="T85" fmla="*/ 313366 h 86"/>
                  <a:gd name="T86" fmla="*/ 48981 w 135"/>
                  <a:gd name="T87" fmla="*/ 313366 h 86"/>
                  <a:gd name="T88" fmla="*/ 41445 w 135"/>
                  <a:gd name="T89" fmla="*/ 302039 h 86"/>
                  <a:gd name="T90" fmla="*/ 18839 w 135"/>
                  <a:gd name="T91" fmla="*/ 309590 h 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9" name="Freeform 285"/>
              <p:cNvSpPr>
                <a:spLocks/>
              </p:cNvSpPr>
              <p:nvPr/>
            </p:nvSpPr>
            <p:spPr bwMode="auto">
              <a:xfrm>
                <a:off x="-1826367" y="3864971"/>
                <a:ext cx="148681" cy="223842"/>
              </a:xfrm>
              <a:custGeom>
                <a:avLst/>
                <a:gdLst>
                  <a:gd name="T0" fmla="*/ 14868 w 40"/>
                  <a:gd name="T1" fmla="*/ 138036 h 60"/>
                  <a:gd name="T2" fmla="*/ 22302 w 40"/>
                  <a:gd name="T3" fmla="*/ 134305 h 60"/>
                  <a:gd name="T4" fmla="*/ 14868 w 40"/>
                  <a:gd name="T5" fmla="*/ 123113 h 60"/>
                  <a:gd name="T6" fmla="*/ 18585 w 40"/>
                  <a:gd name="T7" fmla="*/ 111921 h 60"/>
                  <a:gd name="T8" fmla="*/ 92926 w 40"/>
                  <a:gd name="T9" fmla="*/ 22384 h 60"/>
                  <a:gd name="T10" fmla="*/ 104077 w 40"/>
                  <a:gd name="T11" fmla="*/ 18654 h 60"/>
                  <a:gd name="T12" fmla="*/ 111511 w 40"/>
                  <a:gd name="T13" fmla="*/ 18654 h 60"/>
                  <a:gd name="T14" fmla="*/ 122662 w 40"/>
                  <a:gd name="T15" fmla="*/ 29846 h 60"/>
                  <a:gd name="T16" fmla="*/ 130096 w 40"/>
                  <a:gd name="T17" fmla="*/ 37307 h 60"/>
                  <a:gd name="T18" fmla="*/ 130096 w 40"/>
                  <a:gd name="T19" fmla="*/ 52230 h 60"/>
                  <a:gd name="T20" fmla="*/ 130096 w 40"/>
                  <a:gd name="T21" fmla="*/ 55961 h 60"/>
                  <a:gd name="T22" fmla="*/ 96643 w 40"/>
                  <a:gd name="T23" fmla="*/ 201458 h 60"/>
                  <a:gd name="T24" fmla="*/ 96643 w 40"/>
                  <a:gd name="T25" fmla="*/ 205189 h 60"/>
                  <a:gd name="T26" fmla="*/ 92926 w 40"/>
                  <a:gd name="T27" fmla="*/ 205189 h 60"/>
                  <a:gd name="T28" fmla="*/ 89209 w 40"/>
                  <a:gd name="T29" fmla="*/ 205189 h 60"/>
                  <a:gd name="T30" fmla="*/ 22302 w 40"/>
                  <a:gd name="T31" fmla="*/ 134305 h 60"/>
                  <a:gd name="T32" fmla="*/ 14868 w 40"/>
                  <a:gd name="T33" fmla="*/ 138036 h 60"/>
                  <a:gd name="T34" fmla="*/ 7434 w 40"/>
                  <a:gd name="T35" fmla="*/ 145497 h 60"/>
                  <a:gd name="T36" fmla="*/ 78058 w 40"/>
                  <a:gd name="T37" fmla="*/ 216381 h 60"/>
                  <a:gd name="T38" fmla="*/ 92926 w 40"/>
                  <a:gd name="T39" fmla="*/ 223842 h 60"/>
                  <a:gd name="T40" fmla="*/ 107794 w 40"/>
                  <a:gd name="T41" fmla="*/ 216381 h 60"/>
                  <a:gd name="T42" fmla="*/ 115228 w 40"/>
                  <a:gd name="T43" fmla="*/ 205189 h 60"/>
                  <a:gd name="T44" fmla="*/ 144964 w 40"/>
                  <a:gd name="T45" fmla="*/ 59691 h 60"/>
                  <a:gd name="T46" fmla="*/ 148681 w 40"/>
                  <a:gd name="T47" fmla="*/ 52230 h 60"/>
                  <a:gd name="T48" fmla="*/ 144964 w 40"/>
                  <a:gd name="T49" fmla="*/ 33576 h 60"/>
                  <a:gd name="T50" fmla="*/ 133813 w 40"/>
                  <a:gd name="T51" fmla="*/ 14923 h 60"/>
                  <a:gd name="T52" fmla="*/ 122662 w 40"/>
                  <a:gd name="T53" fmla="*/ 7461 h 60"/>
                  <a:gd name="T54" fmla="*/ 104077 w 40"/>
                  <a:gd name="T55" fmla="*/ 0 h 60"/>
                  <a:gd name="T56" fmla="*/ 81775 w 40"/>
                  <a:gd name="T57" fmla="*/ 11192 h 60"/>
                  <a:gd name="T58" fmla="*/ 7434 w 40"/>
                  <a:gd name="T59" fmla="*/ 100729 h 60"/>
                  <a:gd name="T60" fmla="*/ 0 w 40"/>
                  <a:gd name="T61" fmla="*/ 123113 h 60"/>
                  <a:gd name="T62" fmla="*/ 7434 w 40"/>
                  <a:gd name="T63" fmla="*/ 145497 h 60"/>
                  <a:gd name="T64" fmla="*/ 14868 w 40"/>
                  <a:gd name="T65" fmla="*/ 138036 h 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0" name="Freeform 286"/>
              <p:cNvSpPr>
                <a:spLocks/>
              </p:cNvSpPr>
              <p:nvPr/>
            </p:nvSpPr>
            <p:spPr bwMode="auto">
              <a:xfrm>
                <a:off x="-2037653" y="3899408"/>
                <a:ext cx="179984" cy="250899"/>
              </a:xfrm>
              <a:custGeom>
                <a:avLst/>
                <a:gdLst>
                  <a:gd name="T0" fmla="*/ 18748 w 48"/>
                  <a:gd name="T1" fmla="*/ 14979 h 67"/>
                  <a:gd name="T2" fmla="*/ 18748 w 48"/>
                  <a:gd name="T3" fmla="*/ 11234 h 67"/>
                  <a:gd name="T4" fmla="*/ 14999 w 48"/>
                  <a:gd name="T5" fmla="*/ 11234 h 67"/>
                  <a:gd name="T6" fmla="*/ 14999 w 48"/>
                  <a:gd name="T7" fmla="*/ 11234 h 67"/>
                  <a:gd name="T8" fmla="*/ 14999 w 48"/>
                  <a:gd name="T9" fmla="*/ 11234 h 67"/>
                  <a:gd name="T10" fmla="*/ 14999 w 48"/>
                  <a:gd name="T11" fmla="*/ 14979 h 67"/>
                  <a:gd name="T12" fmla="*/ 11249 w 48"/>
                  <a:gd name="T13" fmla="*/ 11234 h 67"/>
                  <a:gd name="T14" fmla="*/ 11249 w 48"/>
                  <a:gd name="T15" fmla="*/ 11234 h 67"/>
                  <a:gd name="T16" fmla="*/ 14999 w 48"/>
                  <a:gd name="T17" fmla="*/ 14979 h 67"/>
                  <a:gd name="T18" fmla="*/ 14999 w 48"/>
                  <a:gd name="T19" fmla="*/ 14979 h 67"/>
                  <a:gd name="T20" fmla="*/ 14999 w 48"/>
                  <a:gd name="T21" fmla="*/ 14979 h 67"/>
                  <a:gd name="T22" fmla="*/ 14999 w 48"/>
                  <a:gd name="T23" fmla="*/ 11234 h 67"/>
                  <a:gd name="T24" fmla="*/ 14999 w 48"/>
                  <a:gd name="T25" fmla="*/ 14979 h 67"/>
                  <a:gd name="T26" fmla="*/ 14999 w 48"/>
                  <a:gd name="T27" fmla="*/ 14979 h 67"/>
                  <a:gd name="T28" fmla="*/ 14999 w 48"/>
                  <a:gd name="T29" fmla="*/ 14979 h 67"/>
                  <a:gd name="T30" fmla="*/ 18748 w 48"/>
                  <a:gd name="T31" fmla="*/ 18724 h 67"/>
                  <a:gd name="T32" fmla="*/ 48746 w 48"/>
                  <a:gd name="T33" fmla="*/ 37448 h 67"/>
                  <a:gd name="T34" fmla="*/ 164985 w 48"/>
                  <a:gd name="T35" fmla="*/ 228430 h 67"/>
                  <a:gd name="T36" fmla="*/ 164985 w 48"/>
                  <a:gd name="T37" fmla="*/ 235920 h 67"/>
                  <a:gd name="T38" fmla="*/ 168735 w 48"/>
                  <a:gd name="T39" fmla="*/ 239665 h 67"/>
                  <a:gd name="T40" fmla="*/ 164985 w 48"/>
                  <a:gd name="T41" fmla="*/ 235920 h 67"/>
                  <a:gd name="T42" fmla="*/ 168735 w 48"/>
                  <a:gd name="T43" fmla="*/ 235920 h 67"/>
                  <a:gd name="T44" fmla="*/ 168735 w 48"/>
                  <a:gd name="T45" fmla="*/ 235920 h 67"/>
                  <a:gd name="T46" fmla="*/ 168735 w 48"/>
                  <a:gd name="T47" fmla="*/ 239665 h 67"/>
                  <a:gd name="T48" fmla="*/ 168735 w 48"/>
                  <a:gd name="T49" fmla="*/ 235920 h 67"/>
                  <a:gd name="T50" fmla="*/ 168735 w 48"/>
                  <a:gd name="T51" fmla="*/ 235920 h 67"/>
                  <a:gd name="T52" fmla="*/ 168735 w 48"/>
                  <a:gd name="T53" fmla="*/ 235920 h 67"/>
                  <a:gd name="T54" fmla="*/ 164985 w 48"/>
                  <a:gd name="T55" fmla="*/ 232175 h 67"/>
                  <a:gd name="T56" fmla="*/ 11249 w 48"/>
                  <a:gd name="T57" fmla="*/ 22469 h 67"/>
                  <a:gd name="T58" fmla="*/ 153736 w 48"/>
                  <a:gd name="T59" fmla="*/ 239665 h 67"/>
                  <a:gd name="T60" fmla="*/ 168735 w 48"/>
                  <a:gd name="T61" fmla="*/ 250899 h 67"/>
                  <a:gd name="T62" fmla="*/ 179984 w 48"/>
                  <a:gd name="T63" fmla="*/ 239665 h 67"/>
                  <a:gd name="T64" fmla="*/ 179984 w 48"/>
                  <a:gd name="T65" fmla="*/ 228430 h 67"/>
                  <a:gd name="T66" fmla="*/ 59995 w 48"/>
                  <a:gd name="T67" fmla="*/ 29958 h 67"/>
                  <a:gd name="T68" fmla="*/ 26248 w 48"/>
                  <a:gd name="T69" fmla="*/ 0 h 67"/>
                  <a:gd name="T70" fmla="*/ 14999 w 48"/>
                  <a:gd name="T71" fmla="*/ 0 h 67"/>
                  <a:gd name="T72" fmla="*/ 0 w 48"/>
                  <a:gd name="T73" fmla="*/ 11234 h 67"/>
                  <a:gd name="T74" fmla="*/ 11249 w 48"/>
                  <a:gd name="T75" fmla="*/ 22469 h 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1" name="Freeform 287"/>
              <p:cNvSpPr>
                <a:spLocks/>
              </p:cNvSpPr>
              <p:nvPr/>
            </p:nvSpPr>
            <p:spPr bwMode="auto">
              <a:xfrm>
                <a:off x="-1484660" y="4024859"/>
                <a:ext cx="302581" cy="201703"/>
              </a:xfrm>
              <a:custGeom>
                <a:avLst/>
                <a:gdLst>
                  <a:gd name="T0" fmla="*/ 14942 w 81"/>
                  <a:gd name="T1" fmla="*/ 30446 h 53"/>
                  <a:gd name="T2" fmla="*/ 18678 w 81"/>
                  <a:gd name="T3" fmla="*/ 19029 h 53"/>
                  <a:gd name="T4" fmla="*/ 33620 w 81"/>
                  <a:gd name="T5" fmla="*/ 15223 h 53"/>
                  <a:gd name="T6" fmla="*/ 59769 w 81"/>
                  <a:gd name="T7" fmla="*/ 30446 h 53"/>
                  <a:gd name="T8" fmla="*/ 100860 w 81"/>
                  <a:gd name="T9" fmla="*/ 34251 h 53"/>
                  <a:gd name="T10" fmla="*/ 119538 w 81"/>
                  <a:gd name="T11" fmla="*/ 26640 h 53"/>
                  <a:gd name="T12" fmla="*/ 246547 w 81"/>
                  <a:gd name="T13" fmla="*/ 102754 h 53"/>
                  <a:gd name="T14" fmla="*/ 257754 w 81"/>
                  <a:gd name="T15" fmla="*/ 125589 h 53"/>
                  <a:gd name="T16" fmla="*/ 257754 w 81"/>
                  <a:gd name="T17" fmla="*/ 125589 h 53"/>
                  <a:gd name="T18" fmla="*/ 257754 w 81"/>
                  <a:gd name="T19" fmla="*/ 129394 h 53"/>
                  <a:gd name="T20" fmla="*/ 283903 w 81"/>
                  <a:gd name="T21" fmla="*/ 190286 h 53"/>
                  <a:gd name="T22" fmla="*/ 287639 w 81"/>
                  <a:gd name="T23" fmla="*/ 194092 h 53"/>
                  <a:gd name="T24" fmla="*/ 287639 w 81"/>
                  <a:gd name="T25" fmla="*/ 194092 h 53"/>
                  <a:gd name="T26" fmla="*/ 291374 w 81"/>
                  <a:gd name="T27" fmla="*/ 194092 h 53"/>
                  <a:gd name="T28" fmla="*/ 295110 w 81"/>
                  <a:gd name="T29" fmla="*/ 194092 h 53"/>
                  <a:gd name="T30" fmla="*/ 287639 w 81"/>
                  <a:gd name="T31" fmla="*/ 194092 h 53"/>
                  <a:gd name="T32" fmla="*/ 287639 w 81"/>
                  <a:gd name="T33" fmla="*/ 186480 h 53"/>
                  <a:gd name="T34" fmla="*/ 291374 w 81"/>
                  <a:gd name="T35" fmla="*/ 186480 h 53"/>
                  <a:gd name="T36" fmla="*/ 291374 w 81"/>
                  <a:gd name="T37" fmla="*/ 194092 h 53"/>
                  <a:gd name="T38" fmla="*/ 291374 w 81"/>
                  <a:gd name="T39" fmla="*/ 186480 h 53"/>
                  <a:gd name="T40" fmla="*/ 291374 w 81"/>
                  <a:gd name="T41" fmla="*/ 186480 h 53"/>
                  <a:gd name="T42" fmla="*/ 295110 w 81"/>
                  <a:gd name="T43" fmla="*/ 186480 h 53"/>
                  <a:gd name="T44" fmla="*/ 227870 w 81"/>
                  <a:gd name="T45" fmla="*/ 148423 h 53"/>
                  <a:gd name="T46" fmla="*/ 183043 w 81"/>
                  <a:gd name="T47" fmla="*/ 148423 h 53"/>
                  <a:gd name="T48" fmla="*/ 156894 w 81"/>
                  <a:gd name="T49" fmla="*/ 163646 h 53"/>
                  <a:gd name="T50" fmla="*/ 97125 w 81"/>
                  <a:gd name="T51" fmla="*/ 87531 h 53"/>
                  <a:gd name="T52" fmla="*/ 59769 w 81"/>
                  <a:gd name="T53" fmla="*/ 60891 h 53"/>
                  <a:gd name="T54" fmla="*/ 22413 w 81"/>
                  <a:gd name="T55" fmla="*/ 57086 h 53"/>
                  <a:gd name="T56" fmla="*/ 14942 w 81"/>
                  <a:gd name="T57" fmla="*/ 30446 h 53"/>
                  <a:gd name="T58" fmla="*/ 0 w 81"/>
                  <a:gd name="T59" fmla="*/ 34251 h 53"/>
                  <a:gd name="T60" fmla="*/ 11207 w 81"/>
                  <a:gd name="T61" fmla="*/ 68503 h 53"/>
                  <a:gd name="T62" fmla="*/ 59769 w 81"/>
                  <a:gd name="T63" fmla="*/ 79920 h 53"/>
                  <a:gd name="T64" fmla="*/ 82182 w 81"/>
                  <a:gd name="T65" fmla="*/ 95143 h 53"/>
                  <a:gd name="T66" fmla="*/ 156894 w 81"/>
                  <a:gd name="T67" fmla="*/ 178869 h 53"/>
                  <a:gd name="T68" fmla="*/ 190514 w 81"/>
                  <a:gd name="T69" fmla="*/ 163646 h 53"/>
                  <a:gd name="T70" fmla="*/ 220399 w 81"/>
                  <a:gd name="T71" fmla="*/ 163646 h 53"/>
                  <a:gd name="T72" fmla="*/ 291374 w 81"/>
                  <a:gd name="T73" fmla="*/ 201703 h 53"/>
                  <a:gd name="T74" fmla="*/ 302581 w 81"/>
                  <a:gd name="T75" fmla="*/ 194092 h 53"/>
                  <a:gd name="T76" fmla="*/ 295110 w 81"/>
                  <a:gd name="T77" fmla="*/ 178869 h 53"/>
                  <a:gd name="T78" fmla="*/ 272696 w 81"/>
                  <a:gd name="T79" fmla="*/ 129394 h 53"/>
                  <a:gd name="T80" fmla="*/ 272696 w 81"/>
                  <a:gd name="T81" fmla="*/ 129394 h 53"/>
                  <a:gd name="T82" fmla="*/ 272696 w 81"/>
                  <a:gd name="T83" fmla="*/ 125589 h 53"/>
                  <a:gd name="T84" fmla="*/ 254019 w 81"/>
                  <a:gd name="T85" fmla="*/ 87531 h 53"/>
                  <a:gd name="T86" fmla="*/ 119538 w 81"/>
                  <a:gd name="T87" fmla="*/ 11417 h 53"/>
                  <a:gd name="T88" fmla="*/ 89654 w 81"/>
                  <a:gd name="T89" fmla="*/ 22834 h 53"/>
                  <a:gd name="T90" fmla="*/ 70976 w 81"/>
                  <a:gd name="T91" fmla="*/ 19029 h 53"/>
                  <a:gd name="T92" fmla="*/ 33620 w 81"/>
                  <a:gd name="T93" fmla="*/ 0 h 53"/>
                  <a:gd name="T94" fmla="*/ 3736 w 81"/>
                  <a:gd name="T95" fmla="*/ 7611 h 53"/>
                  <a:gd name="T96" fmla="*/ 0 w 81"/>
                  <a:gd name="T97" fmla="*/ 34251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2" name="Freeform 288"/>
              <p:cNvSpPr>
                <a:spLocks/>
              </p:cNvSpPr>
              <p:nvPr/>
            </p:nvSpPr>
            <p:spPr bwMode="auto">
              <a:xfrm>
                <a:off x="-1711595" y="4251159"/>
                <a:ext cx="573860" cy="568211"/>
              </a:xfrm>
              <a:custGeom>
                <a:avLst/>
                <a:gdLst>
                  <a:gd name="T0" fmla="*/ 18754 w 153"/>
                  <a:gd name="T1" fmla="*/ 225779 h 151"/>
                  <a:gd name="T2" fmla="*/ 22504 w 153"/>
                  <a:gd name="T3" fmla="*/ 199438 h 151"/>
                  <a:gd name="T4" fmla="*/ 168782 w 153"/>
                  <a:gd name="T5" fmla="*/ 79023 h 151"/>
                  <a:gd name="T6" fmla="*/ 187536 w 153"/>
                  <a:gd name="T7" fmla="*/ 75260 h 151"/>
                  <a:gd name="T8" fmla="*/ 221292 w 153"/>
                  <a:gd name="T9" fmla="*/ 45156 h 151"/>
                  <a:gd name="T10" fmla="*/ 232545 w 153"/>
                  <a:gd name="T11" fmla="*/ 18815 h 151"/>
                  <a:gd name="T12" fmla="*/ 243797 w 153"/>
                  <a:gd name="T13" fmla="*/ 15052 h 151"/>
                  <a:gd name="T14" fmla="*/ 307559 w 153"/>
                  <a:gd name="T15" fmla="*/ 30104 h 151"/>
                  <a:gd name="T16" fmla="*/ 311310 w 153"/>
                  <a:gd name="T17" fmla="*/ 52682 h 151"/>
                  <a:gd name="T18" fmla="*/ 333814 w 153"/>
                  <a:gd name="T19" fmla="*/ 94075 h 151"/>
                  <a:gd name="T20" fmla="*/ 371321 w 153"/>
                  <a:gd name="T21" fmla="*/ 120416 h 151"/>
                  <a:gd name="T22" fmla="*/ 390075 w 153"/>
                  <a:gd name="T23" fmla="*/ 94075 h 151"/>
                  <a:gd name="T24" fmla="*/ 390075 w 153"/>
                  <a:gd name="T25" fmla="*/ 15052 h 151"/>
                  <a:gd name="T26" fmla="*/ 390075 w 153"/>
                  <a:gd name="T27" fmla="*/ 15052 h 151"/>
                  <a:gd name="T28" fmla="*/ 390075 w 153"/>
                  <a:gd name="T29" fmla="*/ 15052 h 151"/>
                  <a:gd name="T30" fmla="*/ 390075 w 153"/>
                  <a:gd name="T31" fmla="*/ 15052 h 151"/>
                  <a:gd name="T32" fmla="*/ 386324 w 153"/>
                  <a:gd name="T33" fmla="*/ 15052 h 151"/>
                  <a:gd name="T34" fmla="*/ 386324 w 153"/>
                  <a:gd name="T35" fmla="*/ 11289 h 151"/>
                  <a:gd name="T36" fmla="*/ 386324 w 153"/>
                  <a:gd name="T37" fmla="*/ 11289 h 151"/>
                  <a:gd name="T38" fmla="*/ 386324 w 153"/>
                  <a:gd name="T39" fmla="*/ 15052 h 151"/>
                  <a:gd name="T40" fmla="*/ 386324 w 153"/>
                  <a:gd name="T41" fmla="*/ 15052 h 151"/>
                  <a:gd name="T42" fmla="*/ 390075 w 153"/>
                  <a:gd name="T43" fmla="*/ 18815 h 151"/>
                  <a:gd name="T44" fmla="*/ 446336 w 153"/>
                  <a:gd name="T45" fmla="*/ 97838 h 151"/>
                  <a:gd name="T46" fmla="*/ 450086 w 153"/>
                  <a:gd name="T47" fmla="*/ 139231 h 151"/>
                  <a:gd name="T48" fmla="*/ 465089 w 153"/>
                  <a:gd name="T49" fmla="*/ 188149 h 151"/>
                  <a:gd name="T50" fmla="*/ 551356 w 153"/>
                  <a:gd name="T51" fmla="*/ 312328 h 151"/>
                  <a:gd name="T52" fmla="*/ 555106 w 153"/>
                  <a:gd name="T53" fmla="*/ 406403 h 151"/>
                  <a:gd name="T54" fmla="*/ 476341 w 153"/>
                  <a:gd name="T55" fmla="*/ 545633 h 151"/>
                  <a:gd name="T56" fmla="*/ 457588 w 153"/>
                  <a:gd name="T57" fmla="*/ 553159 h 151"/>
                  <a:gd name="T58" fmla="*/ 270052 w 153"/>
                  <a:gd name="T59" fmla="*/ 417692 h 151"/>
                  <a:gd name="T60" fmla="*/ 116272 w 153"/>
                  <a:gd name="T61" fmla="*/ 470373 h 151"/>
                  <a:gd name="T62" fmla="*/ 101269 w 153"/>
                  <a:gd name="T63" fmla="*/ 459084 h 151"/>
                  <a:gd name="T64" fmla="*/ 11252 w 153"/>
                  <a:gd name="T65" fmla="*/ 229542 h 151"/>
                  <a:gd name="T66" fmla="*/ 86267 w 153"/>
                  <a:gd name="T67" fmla="*/ 466610 h 151"/>
                  <a:gd name="T68" fmla="*/ 120023 w 153"/>
                  <a:gd name="T69" fmla="*/ 485425 h 151"/>
                  <a:gd name="T70" fmla="*/ 270052 w 153"/>
                  <a:gd name="T71" fmla="*/ 432743 h 151"/>
                  <a:gd name="T72" fmla="*/ 446336 w 153"/>
                  <a:gd name="T73" fmla="*/ 564448 h 151"/>
                  <a:gd name="T74" fmla="*/ 487593 w 153"/>
                  <a:gd name="T75" fmla="*/ 556922 h 151"/>
                  <a:gd name="T76" fmla="*/ 573860 w 153"/>
                  <a:gd name="T77" fmla="*/ 406403 h 151"/>
                  <a:gd name="T78" fmla="*/ 566359 w 153"/>
                  <a:gd name="T79" fmla="*/ 308565 h 151"/>
                  <a:gd name="T80" fmla="*/ 480092 w 153"/>
                  <a:gd name="T81" fmla="*/ 176860 h 151"/>
                  <a:gd name="T82" fmla="*/ 468840 w 153"/>
                  <a:gd name="T83" fmla="*/ 139231 h 151"/>
                  <a:gd name="T84" fmla="*/ 461338 w 153"/>
                  <a:gd name="T85" fmla="*/ 94075 h 151"/>
                  <a:gd name="T86" fmla="*/ 401327 w 153"/>
                  <a:gd name="T87" fmla="*/ 7526 h 151"/>
                  <a:gd name="T88" fmla="*/ 386324 w 153"/>
                  <a:gd name="T89" fmla="*/ 0 h 151"/>
                  <a:gd name="T90" fmla="*/ 375072 w 153"/>
                  <a:gd name="T91" fmla="*/ 11289 h 151"/>
                  <a:gd name="T92" fmla="*/ 375072 w 153"/>
                  <a:gd name="T93" fmla="*/ 94075 h 151"/>
                  <a:gd name="T94" fmla="*/ 371321 w 153"/>
                  <a:gd name="T95" fmla="*/ 101601 h 151"/>
                  <a:gd name="T96" fmla="*/ 371321 w 153"/>
                  <a:gd name="T97" fmla="*/ 105364 h 151"/>
                  <a:gd name="T98" fmla="*/ 371321 w 153"/>
                  <a:gd name="T99" fmla="*/ 101601 h 151"/>
                  <a:gd name="T100" fmla="*/ 371321 w 153"/>
                  <a:gd name="T101" fmla="*/ 101601 h 151"/>
                  <a:gd name="T102" fmla="*/ 341315 w 153"/>
                  <a:gd name="T103" fmla="*/ 82786 h 151"/>
                  <a:gd name="T104" fmla="*/ 330063 w 153"/>
                  <a:gd name="T105" fmla="*/ 52682 h 151"/>
                  <a:gd name="T106" fmla="*/ 322562 w 153"/>
                  <a:gd name="T107" fmla="*/ 18815 h 151"/>
                  <a:gd name="T108" fmla="*/ 247547 w 153"/>
                  <a:gd name="T109" fmla="*/ 0 h 151"/>
                  <a:gd name="T110" fmla="*/ 221292 w 153"/>
                  <a:gd name="T111" fmla="*/ 7526 h 151"/>
                  <a:gd name="T112" fmla="*/ 206290 w 153"/>
                  <a:gd name="T113" fmla="*/ 41393 h 151"/>
                  <a:gd name="T114" fmla="*/ 187536 w 153"/>
                  <a:gd name="T115" fmla="*/ 60208 h 151"/>
                  <a:gd name="T116" fmla="*/ 161281 w 153"/>
                  <a:gd name="T117" fmla="*/ 63971 h 151"/>
                  <a:gd name="T118" fmla="*/ 11252 w 153"/>
                  <a:gd name="T119" fmla="*/ 184386 h 151"/>
                  <a:gd name="T120" fmla="*/ 3751 w 153"/>
                  <a:gd name="T121" fmla="*/ 229542 h 1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3" name="Freeform 289"/>
              <p:cNvSpPr>
                <a:spLocks/>
              </p:cNvSpPr>
              <p:nvPr/>
            </p:nvSpPr>
            <p:spPr bwMode="auto">
              <a:xfrm>
                <a:off x="-5230403" y="2526846"/>
                <a:ext cx="52169" cy="46737"/>
              </a:xfrm>
              <a:custGeom>
                <a:avLst/>
                <a:gdLst>
                  <a:gd name="T0" fmla="*/ 14905 w 14"/>
                  <a:gd name="T1" fmla="*/ 39547 h 13"/>
                  <a:gd name="T2" fmla="*/ 18632 w 14"/>
                  <a:gd name="T3" fmla="*/ 32356 h 13"/>
                  <a:gd name="T4" fmla="*/ 14905 w 14"/>
                  <a:gd name="T5" fmla="*/ 32356 h 13"/>
                  <a:gd name="T6" fmla="*/ 14905 w 14"/>
                  <a:gd name="T7" fmla="*/ 28761 h 13"/>
                  <a:gd name="T8" fmla="*/ 18632 w 14"/>
                  <a:gd name="T9" fmla="*/ 21571 h 13"/>
                  <a:gd name="T10" fmla="*/ 29811 w 14"/>
                  <a:gd name="T11" fmla="*/ 14381 h 13"/>
                  <a:gd name="T12" fmla="*/ 33537 w 14"/>
                  <a:gd name="T13" fmla="*/ 14381 h 13"/>
                  <a:gd name="T14" fmla="*/ 37264 w 14"/>
                  <a:gd name="T15" fmla="*/ 21571 h 13"/>
                  <a:gd name="T16" fmla="*/ 33537 w 14"/>
                  <a:gd name="T17" fmla="*/ 28761 h 13"/>
                  <a:gd name="T18" fmla="*/ 22358 w 14"/>
                  <a:gd name="T19" fmla="*/ 32356 h 13"/>
                  <a:gd name="T20" fmla="*/ 18632 w 14"/>
                  <a:gd name="T21" fmla="*/ 32356 h 13"/>
                  <a:gd name="T22" fmla="*/ 14905 w 14"/>
                  <a:gd name="T23" fmla="*/ 39547 h 13"/>
                  <a:gd name="T24" fmla="*/ 11179 w 14"/>
                  <a:gd name="T25" fmla="*/ 46737 h 13"/>
                  <a:gd name="T26" fmla="*/ 22358 w 14"/>
                  <a:gd name="T27" fmla="*/ 46737 h 13"/>
                  <a:gd name="T28" fmla="*/ 48443 w 14"/>
                  <a:gd name="T29" fmla="*/ 39547 h 13"/>
                  <a:gd name="T30" fmla="*/ 52169 w 14"/>
                  <a:gd name="T31" fmla="*/ 21571 h 13"/>
                  <a:gd name="T32" fmla="*/ 44716 w 14"/>
                  <a:gd name="T33" fmla="*/ 3595 h 13"/>
                  <a:gd name="T34" fmla="*/ 29811 w 14"/>
                  <a:gd name="T35" fmla="*/ 0 h 13"/>
                  <a:gd name="T36" fmla="*/ 7453 w 14"/>
                  <a:gd name="T37" fmla="*/ 10785 h 13"/>
                  <a:gd name="T38" fmla="*/ 0 w 14"/>
                  <a:gd name="T39" fmla="*/ 28761 h 13"/>
                  <a:gd name="T40" fmla="*/ 3726 w 14"/>
                  <a:gd name="T41" fmla="*/ 39547 h 13"/>
                  <a:gd name="T42" fmla="*/ 11179 w 14"/>
                  <a:gd name="T43" fmla="*/ 46737 h 13"/>
                  <a:gd name="T44" fmla="*/ 14905 w 14"/>
                  <a:gd name="T45" fmla="*/ 39547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4" name="Freeform 290"/>
              <p:cNvSpPr>
                <a:spLocks/>
              </p:cNvSpPr>
              <p:nvPr/>
            </p:nvSpPr>
            <p:spPr bwMode="auto">
              <a:xfrm>
                <a:off x="-5173017" y="2558824"/>
                <a:ext cx="88687" cy="56574"/>
              </a:xfrm>
              <a:custGeom>
                <a:avLst/>
                <a:gdLst>
                  <a:gd name="T0" fmla="*/ 11568 w 23"/>
                  <a:gd name="T1" fmla="*/ 22630 h 15"/>
                  <a:gd name="T2" fmla="*/ 19280 w 23"/>
                  <a:gd name="T3" fmla="*/ 22630 h 15"/>
                  <a:gd name="T4" fmla="*/ 19280 w 23"/>
                  <a:gd name="T5" fmla="*/ 18858 h 15"/>
                  <a:gd name="T6" fmla="*/ 26992 w 23"/>
                  <a:gd name="T7" fmla="*/ 15086 h 15"/>
                  <a:gd name="T8" fmla="*/ 26992 w 23"/>
                  <a:gd name="T9" fmla="*/ 15086 h 15"/>
                  <a:gd name="T10" fmla="*/ 30848 w 23"/>
                  <a:gd name="T11" fmla="*/ 18858 h 15"/>
                  <a:gd name="T12" fmla="*/ 65551 w 23"/>
                  <a:gd name="T13" fmla="*/ 30173 h 15"/>
                  <a:gd name="T14" fmla="*/ 73263 w 23"/>
                  <a:gd name="T15" fmla="*/ 37716 h 15"/>
                  <a:gd name="T16" fmla="*/ 73263 w 23"/>
                  <a:gd name="T17" fmla="*/ 37716 h 15"/>
                  <a:gd name="T18" fmla="*/ 65551 w 23"/>
                  <a:gd name="T19" fmla="*/ 41488 h 15"/>
                  <a:gd name="T20" fmla="*/ 57839 w 23"/>
                  <a:gd name="T21" fmla="*/ 41488 h 15"/>
                  <a:gd name="T22" fmla="*/ 50127 w 23"/>
                  <a:gd name="T23" fmla="*/ 41488 h 15"/>
                  <a:gd name="T24" fmla="*/ 30848 w 23"/>
                  <a:gd name="T25" fmla="*/ 37716 h 15"/>
                  <a:gd name="T26" fmla="*/ 23136 w 23"/>
                  <a:gd name="T27" fmla="*/ 30173 h 15"/>
                  <a:gd name="T28" fmla="*/ 19280 w 23"/>
                  <a:gd name="T29" fmla="*/ 22630 h 15"/>
                  <a:gd name="T30" fmla="*/ 11568 w 23"/>
                  <a:gd name="T31" fmla="*/ 22630 h 15"/>
                  <a:gd name="T32" fmla="*/ 0 w 23"/>
                  <a:gd name="T33" fmla="*/ 22630 h 15"/>
                  <a:gd name="T34" fmla="*/ 7712 w 23"/>
                  <a:gd name="T35" fmla="*/ 41488 h 15"/>
                  <a:gd name="T36" fmla="*/ 26992 w 23"/>
                  <a:gd name="T37" fmla="*/ 52802 h 15"/>
                  <a:gd name="T38" fmla="*/ 46271 w 23"/>
                  <a:gd name="T39" fmla="*/ 56574 h 15"/>
                  <a:gd name="T40" fmla="*/ 57839 w 23"/>
                  <a:gd name="T41" fmla="*/ 56574 h 15"/>
                  <a:gd name="T42" fmla="*/ 73263 w 23"/>
                  <a:gd name="T43" fmla="*/ 56574 h 15"/>
                  <a:gd name="T44" fmla="*/ 84831 w 23"/>
                  <a:gd name="T45" fmla="*/ 49031 h 15"/>
                  <a:gd name="T46" fmla="*/ 88687 w 23"/>
                  <a:gd name="T47" fmla="*/ 37716 h 15"/>
                  <a:gd name="T48" fmla="*/ 73263 w 23"/>
                  <a:gd name="T49" fmla="*/ 15086 h 15"/>
                  <a:gd name="T50" fmla="*/ 34704 w 23"/>
                  <a:gd name="T51" fmla="*/ 0 h 15"/>
                  <a:gd name="T52" fmla="*/ 30848 w 23"/>
                  <a:gd name="T53" fmla="*/ 0 h 15"/>
                  <a:gd name="T54" fmla="*/ 26992 w 23"/>
                  <a:gd name="T55" fmla="*/ 0 h 15"/>
                  <a:gd name="T56" fmla="*/ 7712 w 23"/>
                  <a:gd name="T57" fmla="*/ 7543 h 15"/>
                  <a:gd name="T58" fmla="*/ 0 w 23"/>
                  <a:gd name="T59" fmla="*/ 22630 h 15"/>
                  <a:gd name="T60" fmla="*/ 11568 w 23"/>
                  <a:gd name="T61" fmla="*/ 22630 h 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5" name="Freeform 291"/>
              <p:cNvSpPr>
                <a:spLocks/>
              </p:cNvSpPr>
              <p:nvPr/>
            </p:nvSpPr>
            <p:spPr bwMode="auto">
              <a:xfrm>
                <a:off x="-5029551" y="2418615"/>
                <a:ext cx="80861" cy="91013"/>
              </a:xfrm>
              <a:custGeom>
                <a:avLst/>
                <a:gdLst>
                  <a:gd name="T0" fmla="*/ 15402 w 21"/>
                  <a:gd name="T1" fmla="*/ 49299 h 24"/>
                  <a:gd name="T2" fmla="*/ 19253 w 21"/>
                  <a:gd name="T3" fmla="*/ 45507 h 24"/>
                  <a:gd name="T4" fmla="*/ 19253 w 21"/>
                  <a:gd name="T5" fmla="*/ 37922 h 24"/>
                  <a:gd name="T6" fmla="*/ 23103 w 21"/>
                  <a:gd name="T7" fmla="*/ 34130 h 24"/>
                  <a:gd name="T8" fmla="*/ 61608 w 21"/>
                  <a:gd name="T9" fmla="*/ 15169 h 24"/>
                  <a:gd name="T10" fmla="*/ 61608 w 21"/>
                  <a:gd name="T11" fmla="*/ 15169 h 24"/>
                  <a:gd name="T12" fmla="*/ 61608 w 21"/>
                  <a:gd name="T13" fmla="*/ 15169 h 24"/>
                  <a:gd name="T14" fmla="*/ 61608 w 21"/>
                  <a:gd name="T15" fmla="*/ 15169 h 24"/>
                  <a:gd name="T16" fmla="*/ 61608 w 21"/>
                  <a:gd name="T17" fmla="*/ 15169 h 24"/>
                  <a:gd name="T18" fmla="*/ 61608 w 21"/>
                  <a:gd name="T19" fmla="*/ 15169 h 24"/>
                  <a:gd name="T20" fmla="*/ 61608 w 21"/>
                  <a:gd name="T21" fmla="*/ 15169 h 24"/>
                  <a:gd name="T22" fmla="*/ 61608 w 21"/>
                  <a:gd name="T23" fmla="*/ 15169 h 24"/>
                  <a:gd name="T24" fmla="*/ 61608 w 21"/>
                  <a:gd name="T25" fmla="*/ 15169 h 24"/>
                  <a:gd name="T26" fmla="*/ 61608 w 21"/>
                  <a:gd name="T27" fmla="*/ 15169 h 24"/>
                  <a:gd name="T28" fmla="*/ 61608 w 21"/>
                  <a:gd name="T29" fmla="*/ 15169 h 24"/>
                  <a:gd name="T30" fmla="*/ 61608 w 21"/>
                  <a:gd name="T31" fmla="*/ 15169 h 24"/>
                  <a:gd name="T32" fmla="*/ 61608 w 21"/>
                  <a:gd name="T33" fmla="*/ 15169 h 24"/>
                  <a:gd name="T34" fmla="*/ 61608 w 21"/>
                  <a:gd name="T35" fmla="*/ 18961 h 24"/>
                  <a:gd name="T36" fmla="*/ 61608 w 21"/>
                  <a:gd name="T37" fmla="*/ 22753 h 24"/>
                  <a:gd name="T38" fmla="*/ 53907 w 21"/>
                  <a:gd name="T39" fmla="*/ 68260 h 24"/>
                  <a:gd name="T40" fmla="*/ 50057 w 21"/>
                  <a:gd name="T41" fmla="*/ 75844 h 24"/>
                  <a:gd name="T42" fmla="*/ 50057 w 21"/>
                  <a:gd name="T43" fmla="*/ 75844 h 24"/>
                  <a:gd name="T44" fmla="*/ 50057 w 21"/>
                  <a:gd name="T45" fmla="*/ 75844 h 24"/>
                  <a:gd name="T46" fmla="*/ 50057 w 21"/>
                  <a:gd name="T47" fmla="*/ 75844 h 24"/>
                  <a:gd name="T48" fmla="*/ 50057 w 21"/>
                  <a:gd name="T49" fmla="*/ 75844 h 24"/>
                  <a:gd name="T50" fmla="*/ 50057 w 21"/>
                  <a:gd name="T51" fmla="*/ 75844 h 24"/>
                  <a:gd name="T52" fmla="*/ 50057 w 21"/>
                  <a:gd name="T53" fmla="*/ 75844 h 24"/>
                  <a:gd name="T54" fmla="*/ 50057 w 21"/>
                  <a:gd name="T55" fmla="*/ 75844 h 24"/>
                  <a:gd name="T56" fmla="*/ 46206 w 21"/>
                  <a:gd name="T57" fmla="*/ 72052 h 24"/>
                  <a:gd name="T58" fmla="*/ 19253 w 21"/>
                  <a:gd name="T59" fmla="*/ 45507 h 24"/>
                  <a:gd name="T60" fmla="*/ 15402 w 21"/>
                  <a:gd name="T61" fmla="*/ 49299 h 24"/>
                  <a:gd name="T62" fmla="*/ 7701 w 21"/>
                  <a:gd name="T63" fmla="*/ 53091 h 24"/>
                  <a:gd name="T64" fmla="*/ 34655 w 21"/>
                  <a:gd name="T65" fmla="*/ 83429 h 24"/>
                  <a:gd name="T66" fmla="*/ 50057 w 21"/>
                  <a:gd name="T67" fmla="*/ 91013 h 24"/>
                  <a:gd name="T68" fmla="*/ 61608 w 21"/>
                  <a:gd name="T69" fmla="*/ 87221 h 24"/>
                  <a:gd name="T70" fmla="*/ 69309 w 21"/>
                  <a:gd name="T71" fmla="*/ 72052 h 24"/>
                  <a:gd name="T72" fmla="*/ 77010 w 21"/>
                  <a:gd name="T73" fmla="*/ 26545 h 24"/>
                  <a:gd name="T74" fmla="*/ 80861 w 21"/>
                  <a:gd name="T75" fmla="*/ 18961 h 24"/>
                  <a:gd name="T76" fmla="*/ 77010 w 21"/>
                  <a:gd name="T77" fmla="*/ 7584 h 24"/>
                  <a:gd name="T78" fmla="*/ 61608 w 21"/>
                  <a:gd name="T79" fmla="*/ 0 h 24"/>
                  <a:gd name="T80" fmla="*/ 53907 w 21"/>
                  <a:gd name="T81" fmla="*/ 0 h 24"/>
                  <a:gd name="T82" fmla="*/ 15402 w 21"/>
                  <a:gd name="T83" fmla="*/ 18961 h 24"/>
                  <a:gd name="T84" fmla="*/ 0 w 21"/>
                  <a:gd name="T85" fmla="*/ 37922 h 24"/>
                  <a:gd name="T86" fmla="*/ 7701 w 21"/>
                  <a:gd name="T87" fmla="*/ 53091 h 24"/>
                  <a:gd name="T88" fmla="*/ 15402 w 21"/>
                  <a:gd name="T89" fmla="*/ 49299 h 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6" name="Freeform 292"/>
              <p:cNvSpPr>
                <a:spLocks/>
              </p:cNvSpPr>
              <p:nvPr/>
            </p:nvSpPr>
            <p:spPr bwMode="auto">
              <a:xfrm>
                <a:off x="-5055636" y="2553904"/>
                <a:ext cx="114772" cy="127909"/>
              </a:xfrm>
              <a:custGeom>
                <a:avLst/>
                <a:gdLst>
                  <a:gd name="T0" fmla="*/ 26780 w 30"/>
                  <a:gd name="T1" fmla="*/ 22572 h 34"/>
                  <a:gd name="T2" fmla="*/ 26780 w 30"/>
                  <a:gd name="T3" fmla="*/ 15048 h 34"/>
                  <a:gd name="T4" fmla="*/ 26780 w 30"/>
                  <a:gd name="T5" fmla="*/ 15048 h 34"/>
                  <a:gd name="T6" fmla="*/ 22954 w 30"/>
                  <a:gd name="T7" fmla="*/ 11286 h 34"/>
                  <a:gd name="T8" fmla="*/ 22954 w 30"/>
                  <a:gd name="T9" fmla="*/ 11286 h 34"/>
                  <a:gd name="T10" fmla="*/ 26780 w 30"/>
                  <a:gd name="T11" fmla="*/ 15048 h 34"/>
                  <a:gd name="T12" fmla="*/ 22954 w 30"/>
                  <a:gd name="T13" fmla="*/ 18810 h 34"/>
                  <a:gd name="T14" fmla="*/ 19129 w 30"/>
                  <a:gd name="T15" fmla="*/ 15048 h 34"/>
                  <a:gd name="T16" fmla="*/ 22954 w 30"/>
                  <a:gd name="T17" fmla="*/ 11286 h 34"/>
                  <a:gd name="T18" fmla="*/ 22954 w 30"/>
                  <a:gd name="T19" fmla="*/ 11286 h 34"/>
                  <a:gd name="T20" fmla="*/ 19129 w 30"/>
                  <a:gd name="T21" fmla="*/ 15048 h 34"/>
                  <a:gd name="T22" fmla="*/ 15303 w 30"/>
                  <a:gd name="T23" fmla="*/ 15048 h 34"/>
                  <a:gd name="T24" fmla="*/ 15303 w 30"/>
                  <a:gd name="T25" fmla="*/ 15048 h 34"/>
                  <a:gd name="T26" fmla="*/ 15303 w 30"/>
                  <a:gd name="T27" fmla="*/ 15048 h 34"/>
                  <a:gd name="T28" fmla="*/ 19129 w 30"/>
                  <a:gd name="T29" fmla="*/ 22572 h 34"/>
                  <a:gd name="T30" fmla="*/ 26780 w 30"/>
                  <a:gd name="T31" fmla="*/ 52668 h 34"/>
                  <a:gd name="T32" fmla="*/ 57386 w 30"/>
                  <a:gd name="T33" fmla="*/ 79003 h 34"/>
                  <a:gd name="T34" fmla="*/ 87992 w 30"/>
                  <a:gd name="T35" fmla="*/ 90289 h 34"/>
                  <a:gd name="T36" fmla="*/ 91818 w 30"/>
                  <a:gd name="T37" fmla="*/ 90289 h 34"/>
                  <a:gd name="T38" fmla="*/ 91818 w 30"/>
                  <a:gd name="T39" fmla="*/ 90289 h 34"/>
                  <a:gd name="T40" fmla="*/ 91818 w 30"/>
                  <a:gd name="T41" fmla="*/ 90289 h 34"/>
                  <a:gd name="T42" fmla="*/ 91818 w 30"/>
                  <a:gd name="T43" fmla="*/ 90289 h 34"/>
                  <a:gd name="T44" fmla="*/ 91818 w 30"/>
                  <a:gd name="T45" fmla="*/ 90289 h 34"/>
                  <a:gd name="T46" fmla="*/ 91818 w 30"/>
                  <a:gd name="T47" fmla="*/ 90289 h 34"/>
                  <a:gd name="T48" fmla="*/ 95643 w 30"/>
                  <a:gd name="T49" fmla="*/ 101575 h 34"/>
                  <a:gd name="T50" fmla="*/ 95643 w 30"/>
                  <a:gd name="T51" fmla="*/ 109099 h 34"/>
                  <a:gd name="T52" fmla="*/ 72689 w 30"/>
                  <a:gd name="T53" fmla="*/ 109099 h 34"/>
                  <a:gd name="T54" fmla="*/ 26780 w 30"/>
                  <a:gd name="T55" fmla="*/ 82765 h 34"/>
                  <a:gd name="T56" fmla="*/ 19129 w 30"/>
                  <a:gd name="T57" fmla="*/ 63955 h 34"/>
                  <a:gd name="T58" fmla="*/ 26780 w 30"/>
                  <a:gd name="T59" fmla="*/ 22572 h 34"/>
                  <a:gd name="T60" fmla="*/ 11477 w 30"/>
                  <a:gd name="T61" fmla="*/ 18810 h 34"/>
                  <a:gd name="T62" fmla="*/ 0 w 30"/>
                  <a:gd name="T63" fmla="*/ 63955 h 34"/>
                  <a:gd name="T64" fmla="*/ 19129 w 30"/>
                  <a:gd name="T65" fmla="*/ 97813 h 34"/>
                  <a:gd name="T66" fmla="*/ 68863 w 30"/>
                  <a:gd name="T67" fmla="*/ 124147 h 34"/>
                  <a:gd name="T68" fmla="*/ 107121 w 30"/>
                  <a:gd name="T69" fmla="*/ 120385 h 34"/>
                  <a:gd name="T70" fmla="*/ 114772 w 30"/>
                  <a:gd name="T71" fmla="*/ 97813 h 34"/>
                  <a:gd name="T72" fmla="*/ 91818 w 30"/>
                  <a:gd name="T73" fmla="*/ 75241 h 34"/>
                  <a:gd name="T74" fmla="*/ 87992 w 30"/>
                  <a:gd name="T75" fmla="*/ 75241 h 34"/>
                  <a:gd name="T76" fmla="*/ 76515 w 30"/>
                  <a:gd name="T77" fmla="*/ 71479 h 34"/>
                  <a:gd name="T78" fmla="*/ 49735 w 30"/>
                  <a:gd name="T79" fmla="*/ 56430 h 34"/>
                  <a:gd name="T80" fmla="*/ 34432 w 30"/>
                  <a:gd name="T81" fmla="*/ 26334 h 34"/>
                  <a:gd name="T82" fmla="*/ 30606 w 30"/>
                  <a:gd name="T83" fmla="*/ 11286 h 34"/>
                  <a:gd name="T84" fmla="*/ 26780 w 30"/>
                  <a:gd name="T85" fmla="*/ 3762 h 34"/>
                  <a:gd name="T86" fmla="*/ 19129 w 30"/>
                  <a:gd name="T87" fmla="*/ 3762 h 34"/>
                  <a:gd name="T88" fmla="*/ 11477 w 30"/>
                  <a:gd name="T89" fmla="*/ 18810 h 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7" name="Freeform 293"/>
              <p:cNvSpPr>
                <a:spLocks/>
              </p:cNvSpPr>
              <p:nvPr/>
            </p:nvSpPr>
            <p:spPr bwMode="auto">
              <a:xfrm>
                <a:off x="-5126065" y="2482569"/>
                <a:ext cx="52169" cy="61496"/>
              </a:xfrm>
              <a:custGeom>
                <a:avLst/>
                <a:gdLst>
                  <a:gd name="T0" fmla="*/ 7453 w 14"/>
                  <a:gd name="T1" fmla="*/ 30748 h 16"/>
                  <a:gd name="T2" fmla="*/ 14905 w 14"/>
                  <a:gd name="T3" fmla="*/ 30748 h 16"/>
                  <a:gd name="T4" fmla="*/ 18632 w 14"/>
                  <a:gd name="T5" fmla="*/ 23061 h 16"/>
                  <a:gd name="T6" fmla="*/ 26085 w 14"/>
                  <a:gd name="T7" fmla="*/ 15374 h 16"/>
                  <a:gd name="T8" fmla="*/ 33537 w 14"/>
                  <a:gd name="T9" fmla="*/ 19218 h 16"/>
                  <a:gd name="T10" fmla="*/ 37264 w 14"/>
                  <a:gd name="T11" fmla="*/ 30748 h 16"/>
                  <a:gd name="T12" fmla="*/ 37264 w 14"/>
                  <a:gd name="T13" fmla="*/ 30748 h 16"/>
                  <a:gd name="T14" fmla="*/ 29811 w 14"/>
                  <a:gd name="T15" fmla="*/ 42279 h 16"/>
                  <a:gd name="T16" fmla="*/ 22358 w 14"/>
                  <a:gd name="T17" fmla="*/ 46122 h 16"/>
                  <a:gd name="T18" fmla="*/ 18632 w 14"/>
                  <a:gd name="T19" fmla="*/ 42279 h 16"/>
                  <a:gd name="T20" fmla="*/ 14905 w 14"/>
                  <a:gd name="T21" fmla="*/ 34592 h 16"/>
                  <a:gd name="T22" fmla="*/ 14905 w 14"/>
                  <a:gd name="T23" fmla="*/ 30748 h 16"/>
                  <a:gd name="T24" fmla="*/ 7453 w 14"/>
                  <a:gd name="T25" fmla="*/ 30748 h 16"/>
                  <a:gd name="T26" fmla="*/ 0 w 14"/>
                  <a:gd name="T27" fmla="*/ 30748 h 16"/>
                  <a:gd name="T28" fmla="*/ 0 w 14"/>
                  <a:gd name="T29" fmla="*/ 34592 h 16"/>
                  <a:gd name="T30" fmla="*/ 7453 w 14"/>
                  <a:gd name="T31" fmla="*/ 53809 h 16"/>
                  <a:gd name="T32" fmla="*/ 22358 w 14"/>
                  <a:gd name="T33" fmla="*/ 61496 h 16"/>
                  <a:gd name="T34" fmla="*/ 44716 w 14"/>
                  <a:gd name="T35" fmla="*/ 53809 h 16"/>
                  <a:gd name="T36" fmla="*/ 52169 w 14"/>
                  <a:gd name="T37" fmla="*/ 30748 h 16"/>
                  <a:gd name="T38" fmla="*/ 52169 w 14"/>
                  <a:gd name="T39" fmla="*/ 30748 h 16"/>
                  <a:gd name="T40" fmla="*/ 44716 w 14"/>
                  <a:gd name="T41" fmla="*/ 11531 h 16"/>
                  <a:gd name="T42" fmla="*/ 26085 w 14"/>
                  <a:gd name="T43" fmla="*/ 0 h 16"/>
                  <a:gd name="T44" fmla="*/ 7453 w 14"/>
                  <a:gd name="T45" fmla="*/ 11531 h 16"/>
                  <a:gd name="T46" fmla="*/ 0 w 14"/>
                  <a:gd name="T47" fmla="*/ 30748 h 16"/>
                  <a:gd name="T48" fmla="*/ 7453 w 14"/>
                  <a:gd name="T49" fmla="*/ 30748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8" name="Freeform 294"/>
              <p:cNvSpPr>
                <a:spLocks/>
              </p:cNvSpPr>
              <p:nvPr/>
            </p:nvSpPr>
            <p:spPr bwMode="auto">
              <a:xfrm>
                <a:off x="-4844351" y="3505842"/>
                <a:ext cx="117381" cy="98392"/>
              </a:xfrm>
              <a:custGeom>
                <a:avLst/>
                <a:gdLst>
                  <a:gd name="T0" fmla="*/ 15146 w 31"/>
                  <a:gd name="T1" fmla="*/ 22706 h 26"/>
                  <a:gd name="T2" fmla="*/ 18932 w 31"/>
                  <a:gd name="T3" fmla="*/ 15137 h 26"/>
                  <a:gd name="T4" fmla="*/ 15146 w 31"/>
                  <a:gd name="T5" fmla="*/ 15137 h 26"/>
                  <a:gd name="T6" fmla="*/ 15146 w 31"/>
                  <a:gd name="T7" fmla="*/ 11353 h 26"/>
                  <a:gd name="T8" fmla="*/ 15146 w 31"/>
                  <a:gd name="T9" fmla="*/ 15137 h 26"/>
                  <a:gd name="T10" fmla="*/ 15146 w 31"/>
                  <a:gd name="T11" fmla="*/ 15137 h 26"/>
                  <a:gd name="T12" fmla="*/ 15146 w 31"/>
                  <a:gd name="T13" fmla="*/ 11353 h 26"/>
                  <a:gd name="T14" fmla="*/ 15146 w 31"/>
                  <a:gd name="T15" fmla="*/ 15137 h 26"/>
                  <a:gd name="T16" fmla="*/ 15146 w 31"/>
                  <a:gd name="T17" fmla="*/ 15137 h 26"/>
                  <a:gd name="T18" fmla="*/ 11359 w 31"/>
                  <a:gd name="T19" fmla="*/ 15137 h 26"/>
                  <a:gd name="T20" fmla="*/ 15146 w 31"/>
                  <a:gd name="T21" fmla="*/ 18922 h 26"/>
                  <a:gd name="T22" fmla="*/ 15146 w 31"/>
                  <a:gd name="T23" fmla="*/ 15137 h 26"/>
                  <a:gd name="T24" fmla="*/ 11359 w 31"/>
                  <a:gd name="T25" fmla="*/ 15137 h 26"/>
                  <a:gd name="T26" fmla="*/ 15146 w 31"/>
                  <a:gd name="T27" fmla="*/ 18922 h 26"/>
                  <a:gd name="T28" fmla="*/ 11359 w 31"/>
                  <a:gd name="T29" fmla="*/ 15137 h 26"/>
                  <a:gd name="T30" fmla="*/ 15146 w 31"/>
                  <a:gd name="T31" fmla="*/ 18922 h 26"/>
                  <a:gd name="T32" fmla="*/ 15146 w 31"/>
                  <a:gd name="T33" fmla="*/ 18922 h 26"/>
                  <a:gd name="T34" fmla="*/ 11359 w 31"/>
                  <a:gd name="T35" fmla="*/ 15137 h 26"/>
                  <a:gd name="T36" fmla="*/ 15146 w 31"/>
                  <a:gd name="T37" fmla="*/ 18922 h 26"/>
                  <a:gd name="T38" fmla="*/ 15146 w 31"/>
                  <a:gd name="T39" fmla="*/ 18922 h 26"/>
                  <a:gd name="T40" fmla="*/ 15146 w 31"/>
                  <a:gd name="T41" fmla="*/ 18922 h 26"/>
                  <a:gd name="T42" fmla="*/ 56797 w 31"/>
                  <a:gd name="T43" fmla="*/ 22706 h 26"/>
                  <a:gd name="T44" fmla="*/ 68157 w 31"/>
                  <a:gd name="T45" fmla="*/ 30274 h 26"/>
                  <a:gd name="T46" fmla="*/ 83303 w 31"/>
                  <a:gd name="T47" fmla="*/ 41627 h 26"/>
                  <a:gd name="T48" fmla="*/ 98449 w 31"/>
                  <a:gd name="T49" fmla="*/ 64333 h 26"/>
                  <a:gd name="T50" fmla="*/ 102235 w 31"/>
                  <a:gd name="T51" fmla="*/ 71902 h 26"/>
                  <a:gd name="T52" fmla="*/ 98449 w 31"/>
                  <a:gd name="T53" fmla="*/ 79470 h 26"/>
                  <a:gd name="T54" fmla="*/ 94662 w 31"/>
                  <a:gd name="T55" fmla="*/ 83255 h 26"/>
                  <a:gd name="T56" fmla="*/ 79516 w 31"/>
                  <a:gd name="T57" fmla="*/ 75686 h 26"/>
                  <a:gd name="T58" fmla="*/ 18932 w 31"/>
                  <a:gd name="T59" fmla="*/ 15137 h 26"/>
                  <a:gd name="T60" fmla="*/ 15146 w 31"/>
                  <a:gd name="T61" fmla="*/ 22706 h 26"/>
                  <a:gd name="T62" fmla="*/ 7573 w 31"/>
                  <a:gd name="T63" fmla="*/ 26490 h 26"/>
                  <a:gd name="T64" fmla="*/ 68157 w 31"/>
                  <a:gd name="T65" fmla="*/ 87039 h 26"/>
                  <a:gd name="T66" fmla="*/ 94662 w 31"/>
                  <a:gd name="T67" fmla="*/ 98392 h 26"/>
                  <a:gd name="T68" fmla="*/ 109808 w 31"/>
                  <a:gd name="T69" fmla="*/ 94608 h 26"/>
                  <a:gd name="T70" fmla="*/ 117381 w 31"/>
                  <a:gd name="T71" fmla="*/ 71902 h 26"/>
                  <a:gd name="T72" fmla="*/ 113595 w 31"/>
                  <a:gd name="T73" fmla="*/ 52980 h 26"/>
                  <a:gd name="T74" fmla="*/ 94662 w 31"/>
                  <a:gd name="T75" fmla="*/ 34059 h 26"/>
                  <a:gd name="T76" fmla="*/ 79516 w 31"/>
                  <a:gd name="T77" fmla="*/ 15137 h 26"/>
                  <a:gd name="T78" fmla="*/ 56797 w 31"/>
                  <a:gd name="T79" fmla="*/ 7569 h 26"/>
                  <a:gd name="T80" fmla="*/ 18932 w 31"/>
                  <a:gd name="T81" fmla="*/ 3784 h 26"/>
                  <a:gd name="T82" fmla="*/ 15146 w 31"/>
                  <a:gd name="T83" fmla="*/ 0 h 26"/>
                  <a:gd name="T84" fmla="*/ 3786 w 31"/>
                  <a:gd name="T85" fmla="*/ 3784 h 26"/>
                  <a:gd name="T86" fmla="*/ 0 w 31"/>
                  <a:gd name="T87" fmla="*/ 15137 h 26"/>
                  <a:gd name="T88" fmla="*/ 3786 w 31"/>
                  <a:gd name="T89" fmla="*/ 22706 h 26"/>
                  <a:gd name="T90" fmla="*/ 7573 w 31"/>
                  <a:gd name="T91" fmla="*/ 26490 h 26"/>
                  <a:gd name="T92" fmla="*/ 15146 w 31"/>
                  <a:gd name="T93" fmla="*/ 22706 h 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9" name="Freeform 295"/>
              <p:cNvSpPr>
                <a:spLocks/>
              </p:cNvSpPr>
              <p:nvPr/>
            </p:nvSpPr>
            <p:spPr bwMode="auto">
              <a:xfrm>
                <a:off x="-4455691" y="2664594"/>
                <a:ext cx="96512" cy="56576"/>
              </a:xfrm>
              <a:custGeom>
                <a:avLst/>
                <a:gdLst>
                  <a:gd name="T0" fmla="*/ 11581 w 25"/>
                  <a:gd name="T1" fmla="*/ 26402 h 15"/>
                  <a:gd name="T2" fmla="*/ 19302 w 25"/>
                  <a:gd name="T3" fmla="*/ 26402 h 15"/>
                  <a:gd name="T4" fmla="*/ 19302 w 25"/>
                  <a:gd name="T5" fmla="*/ 22630 h 15"/>
                  <a:gd name="T6" fmla="*/ 19302 w 25"/>
                  <a:gd name="T7" fmla="*/ 15087 h 15"/>
                  <a:gd name="T8" fmla="*/ 27023 w 25"/>
                  <a:gd name="T9" fmla="*/ 15087 h 15"/>
                  <a:gd name="T10" fmla="*/ 65628 w 25"/>
                  <a:gd name="T11" fmla="*/ 15087 h 15"/>
                  <a:gd name="T12" fmla="*/ 73349 w 25"/>
                  <a:gd name="T13" fmla="*/ 18859 h 15"/>
                  <a:gd name="T14" fmla="*/ 77210 w 25"/>
                  <a:gd name="T15" fmla="*/ 26402 h 15"/>
                  <a:gd name="T16" fmla="*/ 77210 w 25"/>
                  <a:gd name="T17" fmla="*/ 30174 h 15"/>
                  <a:gd name="T18" fmla="*/ 77210 w 25"/>
                  <a:gd name="T19" fmla="*/ 37717 h 15"/>
                  <a:gd name="T20" fmla="*/ 69489 w 25"/>
                  <a:gd name="T21" fmla="*/ 41489 h 15"/>
                  <a:gd name="T22" fmla="*/ 34744 w 25"/>
                  <a:gd name="T23" fmla="*/ 41489 h 15"/>
                  <a:gd name="T24" fmla="*/ 23163 w 25"/>
                  <a:gd name="T25" fmla="*/ 37717 h 15"/>
                  <a:gd name="T26" fmla="*/ 19302 w 25"/>
                  <a:gd name="T27" fmla="*/ 26402 h 15"/>
                  <a:gd name="T28" fmla="*/ 11581 w 25"/>
                  <a:gd name="T29" fmla="*/ 26402 h 15"/>
                  <a:gd name="T30" fmla="*/ 3860 w 25"/>
                  <a:gd name="T31" fmla="*/ 30174 h 15"/>
                  <a:gd name="T32" fmla="*/ 15442 w 25"/>
                  <a:gd name="T33" fmla="*/ 49033 h 15"/>
                  <a:gd name="T34" fmla="*/ 34744 w 25"/>
                  <a:gd name="T35" fmla="*/ 56576 h 15"/>
                  <a:gd name="T36" fmla="*/ 69489 w 25"/>
                  <a:gd name="T37" fmla="*/ 56576 h 15"/>
                  <a:gd name="T38" fmla="*/ 88791 w 25"/>
                  <a:gd name="T39" fmla="*/ 49033 h 15"/>
                  <a:gd name="T40" fmla="*/ 96512 w 25"/>
                  <a:gd name="T41" fmla="*/ 30174 h 15"/>
                  <a:gd name="T42" fmla="*/ 96512 w 25"/>
                  <a:gd name="T43" fmla="*/ 26402 h 15"/>
                  <a:gd name="T44" fmla="*/ 84931 w 25"/>
                  <a:gd name="T45" fmla="*/ 7543 h 15"/>
                  <a:gd name="T46" fmla="*/ 65628 w 25"/>
                  <a:gd name="T47" fmla="*/ 0 h 15"/>
                  <a:gd name="T48" fmla="*/ 27023 w 25"/>
                  <a:gd name="T49" fmla="*/ 0 h 15"/>
                  <a:gd name="T50" fmla="*/ 7721 w 25"/>
                  <a:gd name="T51" fmla="*/ 3772 h 15"/>
                  <a:gd name="T52" fmla="*/ 0 w 25"/>
                  <a:gd name="T53" fmla="*/ 22630 h 15"/>
                  <a:gd name="T54" fmla="*/ 3860 w 25"/>
                  <a:gd name="T55" fmla="*/ 30174 h 15"/>
                  <a:gd name="T56" fmla="*/ 11581 w 25"/>
                  <a:gd name="T57" fmla="*/ 26402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0" name="Freeform 296"/>
              <p:cNvSpPr>
                <a:spLocks/>
              </p:cNvSpPr>
              <p:nvPr/>
            </p:nvSpPr>
            <p:spPr bwMode="auto">
              <a:xfrm>
                <a:off x="-3433176" y="2822020"/>
                <a:ext cx="88687" cy="164807"/>
              </a:xfrm>
              <a:custGeom>
                <a:avLst/>
                <a:gdLst>
                  <a:gd name="T0" fmla="*/ 11568 w 23"/>
                  <a:gd name="T1" fmla="*/ 33711 h 44"/>
                  <a:gd name="T2" fmla="*/ 3856 w 23"/>
                  <a:gd name="T3" fmla="*/ 56184 h 44"/>
                  <a:gd name="T4" fmla="*/ 23136 w 23"/>
                  <a:gd name="T5" fmla="*/ 78658 h 44"/>
                  <a:gd name="T6" fmla="*/ 23136 w 23"/>
                  <a:gd name="T7" fmla="*/ 86149 h 44"/>
                  <a:gd name="T8" fmla="*/ 7712 w 23"/>
                  <a:gd name="T9" fmla="*/ 127351 h 44"/>
                  <a:gd name="T10" fmla="*/ 0 w 23"/>
                  <a:gd name="T11" fmla="*/ 149825 h 44"/>
                  <a:gd name="T12" fmla="*/ 0 w 23"/>
                  <a:gd name="T13" fmla="*/ 157316 h 44"/>
                  <a:gd name="T14" fmla="*/ 7712 w 23"/>
                  <a:gd name="T15" fmla="*/ 164807 h 44"/>
                  <a:gd name="T16" fmla="*/ 15424 w 23"/>
                  <a:gd name="T17" fmla="*/ 161061 h 44"/>
                  <a:gd name="T18" fmla="*/ 57839 w 23"/>
                  <a:gd name="T19" fmla="*/ 138588 h 44"/>
                  <a:gd name="T20" fmla="*/ 88687 w 23"/>
                  <a:gd name="T21" fmla="*/ 89895 h 44"/>
                  <a:gd name="T22" fmla="*/ 53983 w 23"/>
                  <a:gd name="T23" fmla="*/ 26219 h 44"/>
                  <a:gd name="T24" fmla="*/ 46271 w 23"/>
                  <a:gd name="T25" fmla="*/ 14982 h 44"/>
                  <a:gd name="T26" fmla="*/ 46271 w 23"/>
                  <a:gd name="T27" fmla="*/ 14982 h 44"/>
                  <a:gd name="T28" fmla="*/ 46271 w 23"/>
                  <a:gd name="T29" fmla="*/ 14982 h 44"/>
                  <a:gd name="T30" fmla="*/ 46271 w 23"/>
                  <a:gd name="T31" fmla="*/ 14982 h 44"/>
                  <a:gd name="T32" fmla="*/ 46271 w 23"/>
                  <a:gd name="T33" fmla="*/ 14982 h 44"/>
                  <a:gd name="T34" fmla="*/ 46271 w 23"/>
                  <a:gd name="T35" fmla="*/ 11237 h 44"/>
                  <a:gd name="T36" fmla="*/ 38560 w 23"/>
                  <a:gd name="T37" fmla="*/ 0 h 44"/>
                  <a:gd name="T38" fmla="*/ 15424 w 23"/>
                  <a:gd name="T39" fmla="*/ 14982 h 44"/>
                  <a:gd name="T40" fmla="*/ 19280 w 23"/>
                  <a:gd name="T41" fmla="*/ 33711 h 44"/>
                  <a:gd name="T42" fmla="*/ 30848 w 23"/>
                  <a:gd name="T43" fmla="*/ 22474 h 44"/>
                  <a:gd name="T44" fmla="*/ 38560 w 23"/>
                  <a:gd name="T45" fmla="*/ 18728 h 44"/>
                  <a:gd name="T46" fmla="*/ 38560 w 23"/>
                  <a:gd name="T47" fmla="*/ 14982 h 44"/>
                  <a:gd name="T48" fmla="*/ 38560 w 23"/>
                  <a:gd name="T49" fmla="*/ 18728 h 44"/>
                  <a:gd name="T50" fmla="*/ 38560 w 23"/>
                  <a:gd name="T51" fmla="*/ 18728 h 44"/>
                  <a:gd name="T52" fmla="*/ 34704 w 23"/>
                  <a:gd name="T53" fmla="*/ 14982 h 44"/>
                  <a:gd name="T54" fmla="*/ 38560 w 23"/>
                  <a:gd name="T55" fmla="*/ 11237 h 44"/>
                  <a:gd name="T56" fmla="*/ 38560 w 23"/>
                  <a:gd name="T57" fmla="*/ 11237 h 44"/>
                  <a:gd name="T58" fmla="*/ 34704 w 23"/>
                  <a:gd name="T59" fmla="*/ 14982 h 44"/>
                  <a:gd name="T60" fmla="*/ 30848 w 23"/>
                  <a:gd name="T61" fmla="*/ 11237 h 44"/>
                  <a:gd name="T62" fmla="*/ 30848 w 23"/>
                  <a:gd name="T63" fmla="*/ 11237 h 44"/>
                  <a:gd name="T64" fmla="*/ 34704 w 23"/>
                  <a:gd name="T65" fmla="*/ 11237 h 44"/>
                  <a:gd name="T66" fmla="*/ 30848 w 23"/>
                  <a:gd name="T67" fmla="*/ 11237 h 44"/>
                  <a:gd name="T68" fmla="*/ 34704 w 23"/>
                  <a:gd name="T69" fmla="*/ 26219 h 44"/>
                  <a:gd name="T70" fmla="*/ 73263 w 23"/>
                  <a:gd name="T71" fmla="*/ 89895 h 44"/>
                  <a:gd name="T72" fmla="*/ 38560 w 23"/>
                  <a:gd name="T73" fmla="*/ 131096 h 44"/>
                  <a:gd name="T74" fmla="*/ 7712 w 23"/>
                  <a:gd name="T75" fmla="*/ 149825 h 44"/>
                  <a:gd name="T76" fmla="*/ 7712 w 23"/>
                  <a:gd name="T77" fmla="*/ 153570 h 44"/>
                  <a:gd name="T78" fmla="*/ 7712 w 23"/>
                  <a:gd name="T79" fmla="*/ 149825 h 44"/>
                  <a:gd name="T80" fmla="*/ 7712 w 23"/>
                  <a:gd name="T81" fmla="*/ 149825 h 44"/>
                  <a:gd name="T82" fmla="*/ 15424 w 23"/>
                  <a:gd name="T83" fmla="*/ 153570 h 44"/>
                  <a:gd name="T84" fmla="*/ 7712 w 23"/>
                  <a:gd name="T85" fmla="*/ 157316 h 44"/>
                  <a:gd name="T86" fmla="*/ 7712 w 23"/>
                  <a:gd name="T87" fmla="*/ 157316 h 44"/>
                  <a:gd name="T88" fmla="*/ 15424 w 23"/>
                  <a:gd name="T89" fmla="*/ 153570 h 44"/>
                  <a:gd name="T90" fmla="*/ 15424 w 23"/>
                  <a:gd name="T91" fmla="*/ 157316 h 44"/>
                  <a:gd name="T92" fmla="*/ 15424 w 23"/>
                  <a:gd name="T93" fmla="*/ 157316 h 44"/>
                  <a:gd name="T94" fmla="*/ 11568 w 23"/>
                  <a:gd name="T95" fmla="*/ 157316 h 44"/>
                  <a:gd name="T96" fmla="*/ 19280 w 23"/>
                  <a:gd name="T97" fmla="*/ 153570 h 44"/>
                  <a:gd name="T98" fmla="*/ 26992 w 23"/>
                  <a:gd name="T99" fmla="*/ 127351 h 44"/>
                  <a:gd name="T100" fmla="*/ 38560 w 23"/>
                  <a:gd name="T101" fmla="*/ 86149 h 44"/>
                  <a:gd name="T102" fmla="*/ 34704 w 23"/>
                  <a:gd name="T103" fmla="*/ 67421 h 44"/>
                  <a:gd name="T104" fmla="*/ 23136 w 23"/>
                  <a:gd name="T105" fmla="*/ 59930 h 44"/>
                  <a:gd name="T106" fmla="*/ 23136 w 23"/>
                  <a:gd name="T107" fmla="*/ 48693 h 44"/>
                  <a:gd name="T108" fmla="*/ 19280 w 23"/>
                  <a:gd name="T109" fmla="*/ 33711 h 4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1" name="Freeform 297"/>
              <p:cNvSpPr>
                <a:spLocks/>
              </p:cNvSpPr>
              <p:nvPr/>
            </p:nvSpPr>
            <p:spPr bwMode="auto">
              <a:xfrm>
                <a:off x="-3487954" y="2888436"/>
                <a:ext cx="67820" cy="66414"/>
              </a:xfrm>
              <a:custGeom>
                <a:avLst/>
                <a:gdLst>
                  <a:gd name="T0" fmla="*/ 37678 w 18"/>
                  <a:gd name="T1" fmla="*/ 7813 h 17"/>
                  <a:gd name="T2" fmla="*/ 37678 w 18"/>
                  <a:gd name="T3" fmla="*/ 15627 h 17"/>
                  <a:gd name="T4" fmla="*/ 48981 w 18"/>
                  <a:gd name="T5" fmla="*/ 19534 h 17"/>
                  <a:gd name="T6" fmla="*/ 52749 w 18"/>
                  <a:gd name="T7" fmla="*/ 23440 h 17"/>
                  <a:gd name="T8" fmla="*/ 52749 w 18"/>
                  <a:gd name="T9" fmla="*/ 23440 h 17"/>
                  <a:gd name="T10" fmla="*/ 52749 w 18"/>
                  <a:gd name="T11" fmla="*/ 23440 h 17"/>
                  <a:gd name="T12" fmla="*/ 52749 w 18"/>
                  <a:gd name="T13" fmla="*/ 23440 h 17"/>
                  <a:gd name="T14" fmla="*/ 52749 w 18"/>
                  <a:gd name="T15" fmla="*/ 23440 h 17"/>
                  <a:gd name="T16" fmla="*/ 52749 w 18"/>
                  <a:gd name="T17" fmla="*/ 23440 h 17"/>
                  <a:gd name="T18" fmla="*/ 52749 w 18"/>
                  <a:gd name="T19" fmla="*/ 23440 h 17"/>
                  <a:gd name="T20" fmla="*/ 52749 w 18"/>
                  <a:gd name="T21" fmla="*/ 23440 h 17"/>
                  <a:gd name="T22" fmla="*/ 45213 w 18"/>
                  <a:gd name="T23" fmla="*/ 39067 h 17"/>
                  <a:gd name="T24" fmla="*/ 41446 w 18"/>
                  <a:gd name="T25" fmla="*/ 42974 h 17"/>
                  <a:gd name="T26" fmla="*/ 37678 w 18"/>
                  <a:gd name="T27" fmla="*/ 46880 h 17"/>
                  <a:gd name="T28" fmla="*/ 22607 w 18"/>
                  <a:gd name="T29" fmla="*/ 46880 h 17"/>
                  <a:gd name="T30" fmla="*/ 15071 w 18"/>
                  <a:gd name="T31" fmla="*/ 46880 h 17"/>
                  <a:gd name="T32" fmla="*/ 15071 w 18"/>
                  <a:gd name="T33" fmla="*/ 46880 h 17"/>
                  <a:gd name="T34" fmla="*/ 15071 w 18"/>
                  <a:gd name="T35" fmla="*/ 42974 h 17"/>
                  <a:gd name="T36" fmla="*/ 26374 w 18"/>
                  <a:gd name="T37" fmla="*/ 23440 h 17"/>
                  <a:gd name="T38" fmla="*/ 37678 w 18"/>
                  <a:gd name="T39" fmla="*/ 15627 h 17"/>
                  <a:gd name="T40" fmla="*/ 37678 w 18"/>
                  <a:gd name="T41" fmla="*/ 7813 h 17"/>
                  <a:gd name="T42" fmla="*/ 37678 w 18"/>
                  <a:gd name="T43" fmla="*/ 0 h 17"/>
                  <a:gd name="T44" fmla="*/ 15071 w 18"/>
                  <a:gd name="T45" fmla="*/ 11720 h 17"/>
                  <a:gd name="T46" fmla="*/ 0 w 18"/>
                  <a:gd name="T47" fmla="*/ 39067 h 17"/>
                  <a:gd name="T48" fmla="*/ 0 w 18"/>
                  <a:gd name="T49" fmla="*/ 46880 h 17"/>
                  <a:gd name="T50" fmla="*/ 7536 w 18"/>
                  <a:gd name="T51" fmla="*/ 62507 h 17"/>
                  <a:gd name="T52" fmla="*/ 22607 w 18"/>
                  <a:gd name="T53" fmla="*/ 66414 h 17"/>
                  <a:gd name="T54" fmla="*/ 41446 w 18"/>
                  <a:gd name="T55" fmla="*/ 62507 h 17"/>
                  <a:gd name="T56" fmla="*/ 52749 w 18"/>
                  <a:gd name="T57" fmla="*/ 54694 h 17"/>
                  <a:gd name="T58" fmla="*/ 60284 w 18"/>
                  <a:gd name="T59" fmla="*/ 42974 h 17"/>
                  <a:gd name="T60" fmla="*/ 67820 w 18"/>
                  <a:gd name="T61" fmla="*/ 31254 h 17"/>
                  <a:gd name="T62" fmla="*/ 67820 w 18"/>
                  <a:gd name="T63" fmla="*/ 23440 h 17"/>
                  <a:gd name="T64" fmla="*/ 64052 w 18"/>
                  <a:gd name="T65" fmla="*/ 11720 h 17"/>
                  <a:gd name="T66" fmla="*/ 48981 w 18"/>
                  <a:gd name="T67" fmla="*/ 3907 h 17"/>
                  <a:gd name="T68" fmla="*/ 37678 w 18"/>
                  <a:gd name="T69" fmla="*/ 0 h 17"/>
                  <a:gd name="T70" fmla="*/ 37678 w 18"/>
                  <a:gd name="T71" fmla="*/ 7813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2" name="Freeform 298"/>
              <p:cNvSpPr>
                <a:spLocks/>
              </p:cNvSpPr>
              <p:nvPr/>
            </p:nvSpPr>
            <p:spPr bwMode="auto">
              <a:xfrm>
                <a:off x="-5084329" y="2418615"/>
                <a:ext cx="7826" cy="1584105"/>
              </a:xfrm>
              <a:custGeom>
                <a:avLst/>
                <a:gdLst>
                  <a:gd name="T0" fmla="*/ 7826 w 2"/>
                  <a:gd name="T1" fmla="*/ 1584105 h 421"/>
                  <a:gd name="T2" fmla="*/ 0 w 2"/>
                  <a:gd name="T3" fmla="*/ 0 h 421"/>
                  <a:gd name="T4" fmla="*/ 0 60000 65536"/>
                  <a:gd name="T5" fmla="*/ 0 60000 65536"/>
                </a:gdLst>
                <a:ahLst/>
                <a:cxnLst>
                  <a:cxn ang="T4">
                    <a:pos x="T0" y="T1"/>
                  </a:cxn>
                  <a:cxn ang="T5">
                    <a:pos x="T2" y="T3"/>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900"/>
              </a:p>
            </p:txBody>
          </p:sp>
          <p:sp>
            <p:nvSpPr>
              <p:cNvPr id="143" name="Freeform 299"/>
              <p:cNvSpPr>
                <a:spLocks/>
              </p:cNvSpPr>
              <p:nvPr/>
            </p:nvSpPr>
            <p:spPr bwMode="auto">
              <a:xfrm>
                <a:off x="-2901051" y="2418615"/>
                <a:ext cx="644288" cy="1648059"/>
              </a:xfrm>
              <a:custGeom>
                <a:avLst/>
                <a:gdLst>
                  <a:gd name="T0" fmla="*/ 0 w 172"/>
                  <a:gd name="T1" fmla="*/ 0 h 438"/>
                  <a:gd name="T2" fmla="*/ 509437 w 172"/>
                  <a:gd name="T3" fmla="*/ 745013 h 438"/>
                  <a:gd name="T4" fmla="*/ 636796 w 172"/>
                  <a:gd name="T5" fmla="*/ 1648059 h 438"/>
                  <a:gd name="T6" fmla="*/ 0 60000 65536"/>
                  <a:gd name="T7" fmla="*/ 0 60000 65536"/>
                  <a:gd name="T8" fmla="*/ 0 60000 65536"/>
                </a:gdLst>
                <a:ahLst/>
                <a:cxnLst>
                  <a:cxn ang="T6">
                    <a:pos x="T0" y="T1"/>
                  </a:cxn>
                  <a:cxn ang="T7">
                    <a:pos x="T2" y="T3"/>
                  </a:cxn>
                  <a:cxn ang="T8">
                    <a:pos x="T4" y="T5"/>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900"/>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552" y="4042484"/>
                <a:ext cx="55972"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18" name="Oval 23"/>
              <p:cNvSpPr/>
              <p:nvPr/>
            </p:nvSpPr>
            <p:spPr>
              <a:xfrm>
                <a:off x="6449895" y="4283171"/>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19" name="Oval 24"/>
              <p:cNvSpPr/>
              <p:nvPr/>
            </p:nvSpPr>
            <p:spPr>
              <a:xfrm>
                <a:off x="6528256" y="4500635"/>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0" name="Oval 25"/>
              <p:cNvSpPr/>
              <p:nvPr/>
            </p:nvSpPr>
            <p:spPr>
              <a:xfrm>
                <a:off x="6684979" y="4680095"/>
                <a:ext cx="55973"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1" name="Oval 26"/>
              <p:cNvSpPr/>
              <p:nvPr/>
            </p:nvSpPr>
            <p:spPr>
              <a:xfrm>
                <a:off x="7235748" y="5150914"/>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2" name="Oval 27"/>
              <p:cNvSpPr/>
              <p:nvPr/>
            </p:nvSpPr>
            <p:spPr>
              <a:xfrm>
                <a:off x="6969320" y="5484499"/>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3" name="Oval 28"/>
              <p:cNvSpPr/>
              <p:nvPr/>
            </p:nvSpPr>
            <p:spPr>
              <a:xfrm>
                <a:off x="7121565" y="5524613"/>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4" name="Oval 29"/>
              <p:cNvSpPr/>
              <p:nvPr/>
            </p:nvSpPr>
            <p:spPr>
              <a:xfrm>
                <a:off x="9819436" y="5476054"/>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5" name="Oval 30"/>
              <p:cNvSpPr/>
              <p:nvPr/>
            </p:nvSpPr>
            <p:spPr>
              <a:xfrm>
                <a:off x="9273145" y="4965120"/>
                <a:ext cx="5373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6" name="Oval 31"/>
              <p:cNvSpPr/>
              <p:nvPr/>
            </p:nvSpPr>
            <p:spPr>
              <a:xfrm>
                <a:off x="9324640" y="4696985"/>
                <a:ext cx="55972"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7" name="Oval 32"/>
              <p:cNvSpPr/>
              <p:nvPr/>
            </p:nvSpPr>
            <p:spPr>
              <a:xfrm>
                <a:off x="9409718" y="4726543"/>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8" name="Oval 33"/>
              <p:cNvSpPr/>
              <p:nvPr/>
            </p:nvSpPr>
            <p:spPr>
              <a:xfrm>
                <a:off x="9418674" y="4589310"/>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29" name="Oval 34"/>
              <p:cNvSpPr/>
              <p:nvPr/>
            </p:nvSpPr>
            <p:spPr>
              <a:xfrm>
                <a:off x="9096272" y="4399293"/>
                <a:ext cx="55972"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0" name="Oval 35"/>
              <p:cNvSpPr/>
              <p:nvPr/>
            </p:nvSpPr>
            <p:spPr>
              <a:xfrm>
                <a:off x="8932832" y="468431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1" name="Oval 36"/>
              <p:cNvSpPr/>
              <p:nvPr/>
            </p:nvSpPr>
            <p:spPr>
              <a:xfrm>
                <a:off x="8601475" y="4547084"/>
                <a:ext cx="5373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2" name="Oval 37"/>
              <p:cNvSpPr/>
              <p:nvPr/>
            </p:nvSpPr>
            <p:spPr>
              <a:xfrm>
                <a:off x="8612671" y="4673762"/>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3" name="Oval 38"/>
              <p:cNvSpPr/>
              <p:nvPr/>
            </p:nvSpPr>
            <p:spPr>
              <a:xfrm>
                <a:off x="8368630" y="4378180"/>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4" name="Oval 39"/>
              <p:cNvSpPr/>
              <p:nvPr/>
            </p:nvSpPr>
            <p:spPr>
              <a:xfrm>
                <a:off x="7844728" y="4437297"/>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5" name="Oval 40"/>
              <p:cNvSpPr/>
              <p:nvPr/>
            </p:nvSpPr>
            <p:spPr>
              <a:xfrm>
                <a:off x="7914134" y="4259948"/>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6" name="Oval 41"/>
              <p:cNvSpPr/>
              <p:nvPr/>
            </p:nvSpPr>
            <p:spPr>
              <a:xfrm>
                <a:off x="7983540" y="425994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7" name="Oval 42"/>
              <p:cNvSpPr/>
              <p:nvPr/>
            </p:nvSpPr>
            <p:spPr>
              <a:xfrm>
                <a:off x="8052946" y="4173384"/>
                <a:ext cx="55972"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8" name="Oval 43"/>
              <p:cNvSpPr/>
              <p:nvPr/>
            </p:nvSpPr>
            <p:spPr>
              <a:xfrm>
                <a:off x="8030557" y="4048818"/>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39" name="Oval 44"/>
              <p:cNvSpPr/>
              <p:nvPr/>
            </p:nvSpPr>
            <p:spPr>
              <a:xfrm>
                <a:off x="8138024" y="3926363"/>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40" name="Oval 45"/>
              <p:cNvSpPr/>
              <p:nvPr/>
            </p:nvSpPr>
            <p:spPr>
              <a:xfrm>
                <a:off x="8211907" y="3966477"/>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41" name="Oval 46"/>
              <p:cNvSpPr/>
              <p:nvPr/>
            </p:nvSpPr>
            <p:spPr>
              <a:xfrm>
                <a:off x="8144740" y="4034039"/>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42" name="Oval 47"/>
              <p:cNvSpPr/>
              <p:nvPr/>
            </p:nvSpPr>
            <p:spPr>
              <a:xfrm>
                <a:off x="8086529" y="4124825"/>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43" name="Oval 48"/>
              <p:cNvSpPr/>
              <p:nvPr/>
            </p:nvSpPr>
            <p:spPr>
              <a:xfrm>
                <a:off x="8151458" y="4116380"/>
                <a:ext cx="5373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44" name="Oval 49"/>
              <p:cNvSpPr/>
              <p:nvPr/>
            </p:nvSpPr>
            <p:spPr>
              <a:xfrm>
                <a:off x="8205191" y="4148048"/>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45" name="Oval 50"/>
              <p:cNvSpPr/>
              <p:nvPr/>
            </p:nvSpPr>
            <p:spPr>
              <a:xfrm>
                <a:off x="8241014" y="4198720"/>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46" name="Oval 51"/>
              <p:cNvSpPr/>
              <p:nvPr/>
            </p:nvSpPr>
            <p:spPr>
              <a:xfrm>
                <a:off x="8243252" y="425994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47" name="Oval 52"/>
              <p:cNvSpPr/>
              <p:nvPr/>
            </p:nvSpPr>
            <p:spPr>
              <a:xfrm>
                <a:off x="8171607" y="427683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sp>
            <p:nvSpPr>
              <p:cNvPr id="48" name="Oval 53"/>
              <p:cNvSpPr/>
              <p:nvPr/>
            </p:nvSpPr>
            <p:spPr>
              <a:xfrm>
                <a:off x="8129069" y="4202942"/>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00" dirty="0">
                  <a:solidFill>
                    <a:prstClr val="white"/>
                  </a:solidFill>
                </a:endParaRPr>
              </a:p>
            </p:txBody>
          </p:sp>
        </p:grpSp>
      </p:grpSp>
      <p:sp>
        <p:nvSpPr>
          <p:cNvPr id="344" name="Rectangle 9"/>
          <p:cNvSpPr>
            <a:spLocks noChangeArrowheads="1"/>
          </p:cNvSpPr>
          <p:nvPr>
            <p:custDataLst>
              <p:tags r:id="rId15"/>
            </p:custDataLst>
          </p:nvPr>
        </p:nvSpPr>
        <p:spPr bwMode="gray">
          <a:xfrm>
            <a:off x="1117963" y="3617157"/>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eaLnBrk="1" fontAlgn="auto" hangingPunct="1">
              <a:spcBef>
                <a:spcPts val="0"/>
              </a:spcBef>
              <a:spcAft>
                <a:spcPts val="0"/>
              </a:spcAft>
              <a:defRPr/>
            </a:pPr>
            <a:r>
              <a:rPr lang="en-US" sz="1900" b="1" dirty="0">
                <a:solidFill>
                  <a:prstClr val="white"/>
                </a:solidFill>
                <a:latin typeface="Arial"/>
                <a:cs typeface="Arial"/>
              </a:rPr>
              <a:t>About Capgemini</a:t>
            </a:r>
            <a:endParaRPr lang="en-US" sz="1000" dirty="0">
              <a:solidFill>
                <a:prstClr val="white"/>
              </a:solidFill>
            </a:endParaRPr>
          </a:p>
          <a:p>
            <a:pPr algn="just" eaLnBrk="1" fontAlgn="auto" hangingPunct="1">
              <a:spcBef>
                <a:spcPts val="0"/>
              </a:spcBef>
              <a:spcAft>
                <a:spcPts val="0"/>
              </a:spcAft>
              <a:defRPr/>
            </a:pPr>
            <a:endParaRPr lang="en-US" sz="1000" dirty="0">
              <a:solidFill>
                <a:prstClr val="white"/>
              </a:solidFill>
            </a:endParaRPr>
          </a:p>
          <a:p>
            <a:pPr algn="just" eaLnBrk="1" fontAlgn="auto" hangingPunct="1">
              <a:spcBef>
                <a:spcPts val="0"/>
              </a:spcBef>
              <a:spcAft>
                <a:spcPts val="0"/>
              </a:spcAft>
              <a:defRPr/>
            </a:pPr>
            <a:r>
              <a:rPr lang="en-US" sz="1000" dirty="0">
                <a:solidFill>
                  <a:prstClr val="white"/>
                </a:solidFill>
              </a:rPr>
              <a:t>With more than 120,000 people in 40 countries, Capgemini is one of the world's foremost providers of consulting, technology and outsourcing services. The Group reported 2011 global revenues of EUR 9.7 billion.</a:t>
            </a:r>
          </a:p>
          <a:p>
            <a:pPr algn="just" eaLnBrk="1" fontAlgn="auto" hangingPunct="1">
              <a:spcBef>
                <a:spcPts val="0"/>
              </a:spcBef>
              <a:spcAft>
                <a:spcPts val="0"/>
              </a:spcAft>
              <a:defRPr/>
            </a:pPr>
            <a:r>
              <a:rPr lang="en-US" sz="1000" dirty="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rPr>
              <a:t>TM</a:t>
            </a:r>
            <a:r>
              <a:rPr lang="en-US" sz="1000" dirty="0">
                <a:solidFill>
                  <a:prstClr val="white"/>
                </a:solidFill>
              </a:rPr>
              <a:t>, and draws on Rightshore</a:t>
            </a:r>
            <a:r>
              <a:rPr lang="en-US" sz="1000" b="1" baseline="30000" dirty="0">
                <a:solidFill>
                  <a:prstClr val="white"/>
                </a:solidFill>
              </a:rPr>
              <a:t> ®</a:t>
            </a:r>
            <a:r>
              <a:rPr lang="en-US" sz="1000" dirty="0">
                <a:solidFill>
                  <a:prstClr val="white"/>
                </a:solidFill>
              </a:rPr>
              <a:t>, its worldwide delivery model.</a:t>
            </a:r>
          </a:p>
          <a:p>
            <a:pPr algn="just" eaLnBrk="1" fontAlgn="auto" hangingPunct="1">
              <a:spcBef>
                <a:spcPts val="0"/>
              </a:spcBef>
              <a:spcAft>
                <a:spcPts val="0"/>
              </a:spcAft>
              <a:defRPr/>
            </a:pPr>
            <a:endParaRPr lang="en-US" sz="1050" dirty="0">
              <a:solidFill>
                <a:prstClr val="white"/>
              </a:solidFill>
            </a:endParaRPr>
          </a:p>
          <a:p>
            <a:pPr algn="just" eaLnBrk="1" fontAlgn="auto" hangingPunct="1">
              <a:spcBef>
                <a:spcPts val="0"/>
              </a:spcBef>
              <a:spcAft>
                <a:spcPts val="0"/>
              </a:spcAft>
              <a:defRPr/>
            </a:pPr>
            <a:r>
              <a:rPr lang="en-US" sz="900" i="1" dirty="0">
                <a:solidFill>
                  <a:prstClr val="white"/>
                </a:solidFill>
              </a:rPr>
              <a:t>Rightshore</a:t>
            </a:r>
            <a:r>
              <a:rPr lang="en-US" sz="900" i="1" baseline="30000" dirty="0">
                <a:solidFill>
                  <a:prstClr val="white"/>
                </a:solidFill>
              </a:rPr>
              <a:t>®</a:t>
            </a:r>
            <a:r>
              <a:rPr lang="en-US" sz="900" i="1" dirty="0">
                <a:solidFill>
                  <a:prstClr val="white"/>
                </a:solidFill>
              </a:rPr>
              <a:t> is a trademark belonging to Capgemini</a:t>
            </a:r>
            <a:endParaRPr lang="en-US" sz="900" b="1" kern="0" noProof="1">
              <a:solidFill>
                <a:prstClr val="white"/>
              </a:solidFill>
            </a:endParaRPr>
          </a:p>
        </p:txBody>
      </p:sp>
      <p:pic>
        <p:nvPicPr>
          <p:cNvPr id="345" name="Image 337" descr="CBE_Label_ppt.png"/>
          <p:cNvPicPr>
            <a:picLocks noChangeAspect="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868496" y="3468689"/>
            <a:ext cx="519377"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964523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32824"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7"/>
          <p:cNvSpPr/>
          <p:nvPr>
            <p:custDataLst>
              <p:tags r:id="rId3"/>
            </p:custDataLst>
          </p:nvPr>
        </p:nvSpPr>
        <p:spPr bwMode="auto">
          <a:xfrm flipV="1">
            <a:off x="-1720" y="1677988"/>
            <a:ext cx="9907720"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eaLnBrk="1" fontAlgn="auto" hangingPunct="1">
              <a:spcBef>
                <a:spcPts val="0"/>
              </a:spcBef>
              <a:spcAft>
                <a:spcPts val="0"/>
              </a:spcAft>
              <a:defRPr/>
            </a:pPr>
            <a:endParaRPr lang="en-US" sz="1000" dirty="0">
              <a:solidFill>
                <a:prstClr val="white"/>
              </a:solidFill>
              <a:latin typeface="Arial"/>
              <a:cs typeface="Arial"/>
            </a:endParaRPr>
          </a:p>
        </p:txBody>
      </p:sp>
      <p:pic>
        <p:nvPicPr>
          <p:cNvPr id="4" name="Image 10" descr="Capgemini_logo_lr.tif"/>
          <p:cNvPicPr>
            <a:picLocks noChangeAspect="1"/>
          </p:cNvPicPr>
          <p:nvPr>
            <p:custDataLst>
              <p:tags r:id="rId4"/>
            </p:custDataLst>
          </p:nvPr>
        </p:nvPicPr>
        <p:blipFill>
          <a:blip r:embed="rId18">
            <a:extLst>
              <a:ext uri="{28A0092B-C50C-407E-A947-70E740481C1C}">
                <a14:useLocalDpi xmlns:a14="http://schemas.microsoft.com/office/drawing/2010/main" val="0"/>
              </a:ext>
            </a:extLst>
          </a:blip>
          <a:srcRect/>
          <a:stretch>
            <a:fillRect/>
          </a:stretch>
        </p:blipFill>
        <p:spPr bwMode="auto">
          <a:xfrm>
            <a:off x="691357" y="930275"/>
            <a:ext cx="3154098"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4" descr="C:\Users\UserSim\Desktop\Capgemini\moto.emf"/>
          <p:cNvPicPr>
            <a:picLocks noChangeAspect="1" noChangeArrowheads="1"/>
          </p:cNvPicPr>
          <p:nvPr>
            <p:custDataLst>
              <p:tags r:id="rId5"/>
            </p:custDataLst>
          </p:nvPr>
        </p:nvPicPr>
        <p:blipFill>
          <a:blip r:embed="rId19">
            <a:extLst>
              <a:ext uri="{28A0092B-C50C-407E-A947-70E740481C1C}">
                <a14:useLocalDpi xmlns:a14="http://schemas.microsoft.com/office/drawing/2010/main" val="0"/>
              </a:ext>
            </a:extLst>
          </a:blip>
          <a:srcRect/>
          <a:stretch>
            <a:fillRect/>
          </a:stretch>
        </p:blipFill>
        <p:spPr bwMode="auto">
          <a:xfrm>
            <a:off x="5491296" y="1173163"/>
            <a:ext cx="3645958"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8"/>
          <p:cNvSpPr>
            <a:spLocks noChangeArrowheads="1"/>
          </p:cNvSpPr>
          <p:nvPr>
            <p:custDataLst>
              <p:tags r:id="rId6"/>
            </p:custDataLst>
          </p:nvPr>
        </p:nvSpPr>
        <p:spPr bwMode="auto">
          <a:xfrm>
            <a:off x="5523971" y="6380164"/>
            <a:ext cx="4382029"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9" tIns="33059" rIns="330588" bIns="33059"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FFFFFF"/>
                </a:solidFill>
              </a:rPr>
              <a:t>The information contained in this presentation is proprietary.</a:t>
            </a:r>
          </a:p>
          <a:p>
            <a:pPr algn="r" eaLnBrk="1" hangingPunct="1">
              <a:defRPr/>
            </a:pPr>
            <a:r>
              <a:rPr lang="en-US" altLang="en-US" sz="700" smtClean="0">
                <a:solidFill>
                  <a:srgbClr val="FFFFFF"/>
                </a:solidFill>
              </a:rPr>
              <a:t>© 2012 Capgemini. All rights reserved.</a:t>
            </a:r>
          </a:p>
        </p:txBody>
      </p:sp>
      <p:sp>
        <p:nvSpPr>
          <p:cNvPr id="7" name="Rectangle 20"/>
          <p:cNvSpPr>
            <a:spLocks noChangeArrowheads="1"/>
          </p:cNvSpPr>
          <p:nvPr>
            <p:custDataLst>
              <p:tags r:id="rId7"/>
            </p:custDataLst>
          </p:nvPr>
        </p:nvSpPr>
        <p:spPr bwMode="auto">
          <a:xfrm>
            <a:off x="6982879" y="5458345"/>
            <a:ext cx="2923122" cy="38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0" bIns="3600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2000" b="1" smtClean="0">
                <a:solidFill>
                  <a:srgbClr val="FFFFFF"/>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a:extLst>
              <a:ext uri="{28A0092B-C50C-407E-A947-70E740481C1C}">
                <a14:useLocalDpi xmlns:a14="http://schemas.microsoft.com/office/drawing/2010/main" val="0"/>
              </a:ext>
            </a:extLst>
          </a:blip>
          <a:srcRect/>
          <a:stretch>
            <a:fillRect/>
          </a:stretch>
        </p:blipFill>
        <p:spPr bwMode="auto">
          <a:xfrm>
            <a:off x="7938559" y="5932489"/>
            <a:ext cx="278606"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a:extLst>
              <a:ext uri="{28A0092B-C50C-407E-A947-70E740481C1C}">
                <a14:useLocalDpi xmlns:a14="http://schemas.microsoft.com/office/drawing/2010/main" val="0"/>
              </a:ext>
            </a:extLst>
          </a:blip>
          <a:srcRect/>
          <a:stretch>
            <a:fillRect/>
          </a:stretch>
        </p:blipFill>
        <p:spPr bwMode="auto">
          <a:xfrm>
            <a:off x="8273918"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a:extLst>
              <a:ext uri="{28A0092B-C50C-407E-A947-70E740481C1C}">
                <a14:useLocalDpi xmlns:a14="http://schemas.microsoft.com/office/drawing/2010/main" val="0"/>
              </a:ext>
            </a:extLst>
          </a:blip>
          <a:srcRect/>
          <a:stretch>
            <a:fillRect/>
          </a:stretch>
        </p:blipFill>
        <p:spPr bwMode="auto">
          <a:xfrm>
            <a:off x="8903362"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a:extLst>
              <a:ext uri="{28A0092B-C50C-407E-A947-70E740481C1C}">
                <a14:useLocalDpi xmlns:a14="http://schemas.microsoft.com/office/drawing/2010/main" val="0"/>
              </a:ext>
            </a:extLst>
          </a:blip>
          <a:srcRect/>
          <a:stretch>
            <a:fillRect/>
          </a:stretch>
        </p:blipFill>
        <p:spPr bwMode="auto">
          <a:xfrm>
            <a:off x="9242160"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hidden="1"/>
          <p:cNvGraphicFramePr>
            <a:graphicFrameLocks noChangeAspect="1"/>
          </p:cNvGraphicFramePr>
          <p:nvPr>
            <p:custDataLst>
              <p:tags r:id="rId13"/>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332825"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9"/>
          <p:cNvSpPr>
            <a:spLocks noChangeArrowheads="1"/>
          </p:cNvSpPr>
          <p:nvPr>
            <p:custDataLst>
              <p:tags r:id="rId14"/>
            </p:custDataLst>
          </p:nvPr>
        </p:nvSpPr>
        <p:spPr bwMode="gray">
          <a:xfrm>
            <a:off x="5286202" y="2940262"/>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eaLnBrk="1" fontAlgn="auto" hangingPunct="1">
              <a:spcBef>
                <a:spcPts val="0"/>
              </a:spcBef>
              <a:spcAft>
                <a:spcPts val="0"/>
              </a:spcAft>
              <a:defRPr/>
            </a:pPr>
            <a:r>
              <a:rPr lang="en-US" sz="1900" b="1" dirty="0">
                <a:solidFill>
                  <a:prstClr val="white"/>
                </a:solidFill>
                <a:latin typeface="Arial"/>
                <a:cs typeface="Arial"/>
              </a:rPr>
              <a:t>About Capgemini</a:t>
            </a:r>
            <a:endParaRPr lang="en-US" sz="1000" dirty="0">
              <a:solidFill>
                <a:prstClr val="white"/>
              </a:solidFill>
            </a:endParaRPr>
          </a:p>
          <a:p>
            <a:pPr algn="just" eaLnBrk="1" fontAlgn="auto" hangingPunct="1">
              <a:spcBef>
                <a:spcPts val="0"/>
              </a:spcBef>
              <a:spcAft>
                <a:spcPts val="0"/>
              </a:spcAft>
              <a:defRPr/>
            </a:pPr>
            <a:endParaRPr lang="en-US" sz="1000" dirty="0">
              <a:solidFill>
                <a:prstClr val="white"/>
              </a:solidFill>
            </a:endParaRPr>
          </a:p>
          <a:p>
            <a:pPr algn="just" eaLnBrk="1" fontAlgn="auto" hangingPunct="1">
              <a:spcBef>
                <a:spcPts val="0"/>
              </a:spcBef>
              <a:spcAft>
                <a:spcPts val="0"/>
              </a:spcAft>
              <a:defRPr/>
            </a:pPr>
            <a:r>
              <a:rPr lang="en-US" sz="1000" dirty="0">
                <a:solidFill>
                  <a:prstClr val="white"/>
                </a:solidFill>
              </a:rPr>
              <a:t>With more than 120,000 people in 40 countries, Capgemini is one of the world's foremost providers of consulting, technology and outsourcing services. The Group reported 2011 global revenues of EUR 9.7 billion.</a:t>
            </a:r>
          </a:p>
          <a:p>
            <a:pPr algn="just" eaLnBrk="1" fontAlgn="auto" hangingPunct="1">
              <a:spcBef>
                <a:spcPts val="0"/>
              </a:spcBef>
              <a:spcAft>
                <a:spcPts val="0"/>
              </a:spcAft>
              <a:defRPr/>
            </a:pPr>
            <a:r>
              <a:rPr lang="en-US" sz="1000" dirty="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rPr>
              <a:t>TM</a:t>
            </a:r>
            <a:r>
              <a:rPr lang="en-US" sz="1000" dirty="0">
                <a:solidFill>
                  <a:prstClr val="white"/>
                </a:solidFill>
              </a:rPr>
              <a:t>, and draws on Rightshore</a:t>
            </a:r>
            <a:r>
              <a:rPr lang="en-US" sz="1000" b="1" baseline="30000" dirty="0">
                <a:solidFill>
                  <a:prstClr val="white"/>
                </a:solidFill>
              </a:rPr>
              <a:t> ®</a:t>
            </a:r>
            <a:r>
              <a:rPr lang="en-US" sz="1000" dirty="0">
                <a:solidFill>
                  <a:prstClr val="white"/>
                </a:solidFill>
              </a:rPr>
              <a:t>, its worldwide delivery model.</a:t>
            </a:r>
          </a:p>
          <a:p>
            <a:pPr algn="just" eaLnBrk="1" fontAlgn="auto" hangingPunct="1">
              <a:spcBef>
                <a:spcPts val="0"/>
              </a:spcBef>
              <a:spcAft>
                <a:spcPts val="0"/>
              </a:spcAft>
              <a:defRPr/>
            </a:pPr>
            <a:endParaRPr lang="en-US" sz="1050" dirty="0">
              <a:solidFill>
                <a:prstClr val="white"/>
              </a:solidFill>
            </a:endParaRPr>
          </a:p>
          <a:p>
            <a:pPr algn="just" eaLnBrk="1" fontAlgn="auto" hangingPunct="1">
              <a:spcBef>
                <a:spcPts val="0"/>
              </a:spcBef>
              <a:spcAft>
                <a:spcPts val="0"/>
              </a:spcAft>
              <a:defRPr/>
            </a:pPr>
            <a:r>
              <a:rPr lang="en-US" sz="900" i="1" dirty="0">
                <a:solidFill>
                  <a:prstClr val="white"/>
                </a:solidFill>
              </a:rPr>
              <a:t>Rightshore</a:t>
            </a:r>
            <a:r>
              <a:rPr lang="en-US" sz="900" i="1" baseline="30000" dirty="0">
                <a:solidFill>
                  <a:prstClr val="white"/>
                </a:solidFill>
              </a:rPr>
              <a:t>®</a:t>
            </a:r>
            <a:r>
              <a:rPr lang="en-US" sz="900" i="1" dirty="0">
                <a:solidFill>
                  <a:prstClr val="white"/>
                </a:solidFill>
              </a:rPr>
              <a:t> is a trademark belonging to Capgemini</a:t>
            </a:r>
            <a:endParaRPr lang="en-US" sz="900" b="1" kern="0" noProof="1">
              <a:solidFill>
                <a:prstClr val="white"/>
              </a:solidFill>
            </a:endParaRPr>
          </a:p>
        </p:txBody>
      </p:sp>
      <p:pic>
        <p:nvPicPr>
          <p:cNvPr id="15" name="Image 6" descr="CBE_Label_ppt.png"/>
          <p:cNvPicPr>
            <a:picLocks noChangeAspect="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035551" y="2790826"/>
            <a:ext cx="51937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94012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r="23077" b="19676"/>
          <a:stretch/>
        </p:blipFill>
        <p:spPr>
          <a:xfrm rot="16200000">
            <a:off x="3755152" y="707148"/>
            <a:ext cx="6857997" cy="5443700"/>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501117" y="2708920"/>
            <a:ext cx="2691299"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501117" y="3645024"/>
            <a:ext cx="2691299"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5324475" y="2060576"/>
            <a:ext cx="3989487"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501117" y="4630276"/>
            <a:ext cx="2691299" cy="720080"/>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30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014887"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81836" t="-4713" b="16530"/>
          <a:stretch/>
        </p:blipFill>
        <p:spPr>
          <a:xfrm>
            <a:off x="9336778" y="164829"/>
            <a:ext cx="344789"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2767483"/>
      </p:ext>
    </p:extLst>
  </p:cSld>
  <p:clrMapOvr>
    <a:overrideClrMapping bg1="lt1" tx1="dk1" bg2="lt2" tx2="dk2" accent1="accent1" accent2="accent2" accent3="accent3" accent4="accent4" accent5="accent5" accent6="accent6" hlink="hlink" folHlink="folHlink"/>
  </p:clrMapOvr>
  <p:hf sldNum="0" hdr="0" ft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31491" y="2204865"/>
            <a:ext cx="2940323" cy="2924629"/>
          </a:xfrm>
          <a:prstGeom prst="rect">
            <a:avLst/>
          </a:prstGeom>
        </p:spPr>
        <p:txBody>
          <a:bodyPr lIns="0" tIns="0" rIns="0" bIns="0" anchor="b">
            <a:normAutofit/>
          </a:bodyPr>
          <a:lstStyle>
            <a:lvl1pPr>
              <a:lnSpc>
                <a:spcPts val="5038"/>
              </a:lnSpc>
              <a:defRPr sz="4388">
                <a:solidFill>
                  <a:srgbClr val="2C004B"/>
                </a:solidFill>
              </a:defRPr>
            </a:lvl1pPr>
            <a:lvl2pPr marL="371475" indent="0">
              <a:lnSpc>
                <a:spcPts val="5038"/>
              </a:lnSpc>
              <a:buNone/>
              <a:defRPr sz="4388">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31491" y="5273460"/>
            <a:ext cx="2940323" cy="675820"/>
          </a:xfrm>
          <a:prstGeom prst="rect">
            <a:avLst/>
          </a:prstGeom>
        </p:spPr>
        <p:txBody>
          <a:bodyPr lIns="0" tIns="0" rIns="0" bIns="0">
            <a:normAutofit/>
          </a:bodyPr>
          <a:lstStyle>
            <a:lvl1pPr>
              <a:lnSpc>
                <a:spcPts val="1463"/>
              </a:lnSpc>
              <a:defRPr sz="1300">
                <a:solidFill>
                  <a:srgbClr val="2C004B"/>
                </a:solidFill>
              </a:defRPr>
            </a:lvl1pPr>
            <a:lvl2pPr marL="371475" indent="0">
              <a:buNone/>
              <a:defRPr sz="1463">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p:nvGrpSpPr>
        <p:grpSpPr>
          <a:xfrm>
            <a:off x="2812755" y="0"/>
            <a:ext cx="7093245"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sp>
        <p:nvSpPr>
          <p:cNvPr id="8" name="Retângulo 43">
            <a:extLst>
              <a:ext uri="{FF2B5EF4-FFF2-40B4-BE49-F238E27FC236}">
                <a16:creationId xmlns="" xmlns:a16="http://schemas.microsoft.com/office/drawing/2014/main" id="{834ADCB4-BFB1-450D-8F6D-64217F4CD92C}"/>
              </a:ext>
            </a:extLst>
          </p:cNvPr>
          <p:cNvSpPr/>
          <p:nvPr/>
        </p:nvSpPr>
        <p:spPr>
          <a:xfrm>
            <a:off x="771603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19824302"/>
      </p:ext>
    </p:extLst>
  </p:cSld>
  <p:clrMapOvr>
    <a:masterClrMapping/>
  </p:clrMapOvr>
  <p:hf sldNum="0" hdr="0" ft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65797241"/>
      </p:ext>
    </p:extLst>
  </p:cSld>
  <p:clrMapOvr>
    <a:masterClrMapping/>
  </p:clrMapOvr>
  <p:hf sldNum="0" hdr="0" ft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Grey">
    <p:spTree>
      <p:nvGrpSpPr>
        <p:cNvPr id="1" name=""/>
        <p:cNvGrpSpPr/>
        <p:nvPr/>
      </p:nvGrpSpPr>
      <p:grpSpPr>
        <a:xfrm>
          <a:off x="0" y="0"/>
          <a:ext cx="0" cy="0"/>
          <a:chOff x="0" y="0"/>
          <a:chExt cx="0" cy="0"/>
        </a:xfrm>
      </p:grpSpPr>
      <p:sp>
        <p:nvSpPr>
          <p:cNvPr id="6" name="Rectangle 5"/>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3"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09274702"/>
      </p:ext>
    </p:extLst>
  </p:cSld>
  <p:clrMapOvr>
    <a:masterClrMapping/>
  </p:clrMapOvr>
  <p:hf sldNum="0" hdr="0" ftr="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31490" y="1428076"/>
            <a:ext cx="4504134"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31490" y="1824707"/>
            <a:ext cx="4504134"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5070376" y="1824707"/>
            <a:ext cx="4504134"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5070376" y="1412876"/>
            <a:ext cx="4504134"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31490" y="4081448"/>
            <a:ext cx="4504134"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31490" y="4478079"/>
            <a:ext cx="4504134"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5070376" y="4478079"/>
            <a:ext cx="4504134"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5070376" y="4066248"/>
            <a:ext cx="4504134" cy="412363"/>
          </a:xfrm>
          <a:prstGeom prst="rect">
            <a:avLst/>
          </a:prstGeom>
          <a:noFill/>
        </p:spPr>
        <p:txBody>
          <a:bodyPr anchor="b">
            <a:noAutofit/>
          </a:bodyPr>
          <a:lstStyle>
            <a:lvl1pPr algn="l">
              <a:lnSpc>
                <a:spcPts val="1463"/>
              </a:lnSpc>
              <a:defRPr sz="1300" b="0">
                <a:solidFill>
                  <a:schemeClr val="accent2"/>
                </a:solidFill>
              </a:defRPr>
            </a:lvl1pPr>
            <a:lvl2pPr>
              <a:defRPr sz="1138"/>
            </a:lvl2pPr>
            <a:lvl3pPr>
              <a:defRPr sz="975"/>
            </a:lvl3pPr>
            <a:lvl4pPr>
              <a:defRPr sz="894"/>
            </a:lvl4pPr>
            <a:lvl5pPr>
              <a:defRPr sz="894"/>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8292651"/>
      </p:ext>
    </p:extLst>
  </p:cSld>
  <p:clrMapOvr>
    <a:overrideClrMapping bg1="lt1" tx1="dk1" bg2="lt2" tx2="dk2" accent1="accent1" accent2="accent2" accent3="accent3" accent4="accent4" accent5="accent5" accent6="accent6" hlink="hlink" folHlink="folHlink"/>
  </p:clrMapOvr>
  <p:hf sldNum="0" hdr="0" ft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311" name="think-cell Slide" r:id="rId7" imgW="360" imgH="360" progId="">
                  <p:embed/>
                </p:oleObj>
              </mc:Choice>
              <mc:Fallback>
                <p:oleObj name="think-cell Slide" r:id="rId7" imgW="360" imgH="360" progId="">
                  <p:embed/>
                  <p:pic>
                    <p:nvPicPr>
                      <p:cNvPr id="0" name="Picture 28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5218767"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561435" y="126841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561435" y="1927538"/>
            <a:ext cx="3013076" cy="555448"/>
          </a:xfrm>
          <a:prstGeom prst="rect">
            <a:avLst/>
          </a:prstGeom>
        </p:spPr>
        <p:txBody>
          <a:bodyPr anchor="ctr">
            <a:noAutofit/>
          </a:bodyPr>
          <a:lstStyle>
            <a:lvl1pPr marL="0" marR="0" indent="0" algn="l" defTabSz="742950" rtl="0" eaLnBrk="1" fontAlgn="auto" latinLnBrk="0" hangingPunct="1">
              <a:lnSpc>
                <a:spcPts val="1300"/>
              </a:lnSpc>
              <a:spcBef>
                <a:spcPts val="0"/>
              </a:spcBef>
              <a:spcAft>
                <a:spcPts val="488"/>
              </a:spcAft>
              <a:buClrTx/>
              <a:buSzTx/>
              <a:buFont typeface="Arial" panose="020B0604020202020204" pitchFamily="34" charset="0"/>
              <a:buNone/>
              <a:tabLs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561435" y="258666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561435" y="3245788"/>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561435" y="390491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561435" y="4564038"/>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561435" y="5223163"/>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561435" y="5882286"/>
            <a:ext cx="3013076" cy="555448"/>
          </a:xfrm>
          <a:prstGeom prst="rect">
            <a:avLst/>
          </a:prstGeom>
        </p:spPr>
        <p:txBody>
          <a:bodyPr anchor="ctr">
            <a:noAutofit/>
          </a:bodyPr>
          <a:lstStyle>
            <a:lvl1pPr>
              <a:lnSpc>
                <a:spcPts val="1300"/>
              </a:lnSpc>
              <a:spcBef>
                <a:spcPts val="0"/>
              </a:spcBef>
              <a:spcAft>
                <a:spcPts val="488"/>
              </a:spcAft>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6089353"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8488287"/>
      </p:ext>
    </p:extLst>
  </p:cSld>
  <p:clrMapOvr>
    <a:masterClrMapping/>
  </p:clrMapOvr>
  <p:hf sldNum="0" hdr="0" ftr="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p:nvSpPr>
        <p:spPr>
          <a:xfrm>
            <a:off x="4509474" y="732975"/>
            <a:ext cx="5396526"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661318" y="3913792"/>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661318" y="5111406"/>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31490" y="1413990"/>
            <a:ext cx="5117039" cy="894840"/>
          </a:xfrm>
          <a:prstGeom prst="rect">
            <a:avLst/>
          </a:prstGeom>
        </p:spPr>
        <p:txBody>
          <a:bodyPr>
            <a:noAutofit/>
          </a:bodyPr>
          <a:lstStyle>
            <a:lvl1pPr>
              <a:lnSpc>
                <a:spcPts val="1788"/>
              </a:lnSpc>
              <a:defRPr sz="1463"/>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661318" y="2611604"/>
            <a:ext cx="2432982" cy="894840"/>
          </a:xfrm>
          <a:prstGeom prst="rect">
            <a:avLst/>
          </a:prstGeom>
        </p:spPr>
        <p:txBody>
          <a:bodyPr anchor="ctr">
            <a:noAutofit/>
          </a:bodyPr>
          <a:lstStyle>
            <a:lvl1pPr>
              <a:lnSpc>
                <a:spcPts val="1300"/>
              </a:lnSpc>
              <a:defRPr sz="1138"/>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6006117" y="5276722"/>
            <a:ext cx="3568394" cy="729525"/>
          </a:xfrm>
          <a:prstGeom prst="rect">
            <a:avLst/>
          </a:prstGeom>
        </p:spPr>
        <p:txBody>
          <a:bodyPr>
            <a:noAutofit/>
          </a:bodyPr>
          <a:lstStyle>
            <a:lvl1pPr algn="r">
              <a:lnSpc>
                <a:spcPts val="1463"/>
              </a:lnSpc>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6006117" y="4140765"/>
            <a:ext cx="3568394" cy="974725"/>
          </a:xfrm>
          <a:prstGeom prst="rect">
            <a:avLst/>
          </a:prstGeom>
        </p:spPr>
        <p:txBody>
          <a:bodyPr anchor="b">
            <a:noAutofit/>
          </a:bodyPr>
          <a:lstStyle>
            <a:lvl1pPr algn="r">
              <a:lnSpc>
                <a:spcPts val="2438"/>
              </a:lnSpc>
              <a:defRPr sz="2113">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438"/>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77206201"/>
      </p:ext>
    </p:extLst>
  </p:cSld>
  <p:clrMapOvr>
    <a:masterClrMapping/>
  </p:clrMapOvr>
  <p:hf sldNum="0" hdr="0" ftr="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a:off x="0" y="2698314"/>
            <a:ext cx="5087990"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7122776" y="1370346"/>
            <a:ext cx="2451735" cy="4684811"/>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7122776" y="948200"/>
            <a:ext cx="2451735"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384167" y="948200"/>
            <a:ext cx="2451735"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636293" y="4963915"/>
            <a:ext cx="2678526" cy="331986"/>
          </a:xfrm>
          <a:prstGeom prst="rect">
            <a:avLst/>
          </a:prstGeom>
          <a:noFill/>
        </p:spPr>
        <p:txBody>
          <a:bodyPr anchor="ctr">
            <a:noAutofit/>
          </a:bodyPr>
          <a:lstStyle>
            <a:lvl1pPr algn="l">
              <a:defRPr sz="1300" b="1">
                <a:solidFill>
                  <a:schemeClr val="bg1"/>
                </a:solidFill>
              </a:defRPr>
            </a:lvl1pPr>
            <a:lvl2pPr>
              <a:defRPr sz="1138"/>
            </a:lvl2pPr>
            <a:lvl3pPr>
              <a:defRPr sz="975"/>
            </a:lvl3pPr>
            <a:lvl4pPr>
              <a:defRPr sz="894"/>
            </a:lvl4pPr>
            <a:lvl5pPr>
              <a:defRPr sz="894"/>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636293" y="3601840"/>
            <a:ext cx="2678526" cy="412363"/>
          </a:xfrm>
          <a:prstGeom prst="rect">
            <a:avLst/>
          </a:prstGeom>
          <a:noFill/>
        </p:spPr>
        <p:txBody>
          <a:bodyPr anchor="ctr">
            <a:noAutofit/>
          </a:bodyPr>
          <a:lstStyle>
            <a:lvl1pPr algn="l">
              <a:spcAft>
                <a:spcPts val="0"/>
              </a:spcAft>
              <a:defRPr sz="1463" b="1">
                <a:solidFill>
                  <a:schemeClr val="bg1"/>
                </a:solidFill>
              </a:defRPr>
            </a:lvl1pPr>
            <a:lvl2pPr>
              <a:defRPr sz="1138"/>
            </a:lvl2pPr>
            <a:lvl3pPr>
              <a:defRPr sz="975"/>
            </a:lvl3pPr>
            <a:lvl4pPr>
              <a:defRPr sz="894"/>
            </a:lvl4pPr>
            <a:lvl5pPr>
              <a:defRPr sz="894"/>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635441" y="4029586"/>
            <a:ext cx="2684617" cy="894840"/>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635441" y="5286886"/>
            <a:ext cx="2679377" cy="713864"/>
          </a:xfrm>
          <a:prstGeom prst="rect">
            <a:avLst/>
          </a:prstGeom>
        </p:spPr>
        <p:txBody>
          <a:bodyPr>
            <a:noAutofit/>
          </a:bodyPr>
          <a:lstStyle>
            <a:lvl1pPr>
              <a:lnSpc>
                <a:spcPct val="100000"/>
              </a:lnSpc>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382441" y="1370346"/>
            <a:ext cx="2451735" cy="1951038"/>
          </a:xfrm>
          <a:prstGeom prst="rect">
            <a:avLst/>
          </a:prstGeom>
        </p:spPr>
        <p:txBody>
          <a:bodyPr>
            <a:noAutofit/>
          </a:bodyPr>
          <a:lstStyle>
            <a:lvl1pPr marL="189607" marR="0" indent="-189607"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393103" y="3683544"/>
            <a:ext cx="2451735" cy="412363"/>
          </a:xfrm>
          <a:prstGeom prst="rect">
            <a:avLst/>
          </a:prstGeom>
          <a:noFill/>
        </p:spPr>
        <p:txBody>
          <a:bodyPr anchor="ctr">
            <a:normAutofit/>
          </a:bodyPr>
          <a:lstStyle>
            <a:lvl1pPr algn="l">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391377" y="4105691"/>
            <a:ext cx="2451735" cy="1951038"/>
          </a:xfrm>
          <a:prstGeom prst="rect">
            <a:avLst/>
          </a:prstGeom>
        </p:spPr>
        <p:txBody>
          <a:bodyPr>
            <a:noAutofit/>
          </a:bodyPr>
          <a:lstStyle>
            <a:lvl1pPr marL="232172" marR="0" indent="-232172" algn="l" defTabSz="742950" rtl="0" eaLnBrk="1" fontAlgn="auto" latinLnBrk="0" hangingPunct="1">
              <a:lnSpc>
                <a:spcPct val="90000"/>
              </a:lnSpc>
              <a:spcBef>
                <a:spcPts val="813"/>
              </a:spcBef>
              <a:spcAft>
                <a:spcPts val="0"/>
              </a:spcAft>
              <a:buClr>
                <a:schemeClr val="accent5"/>
              </a:buClr>
              <a:buSzTx/>
              <a:buFont typeface="Wingdings" panose="05000000000000000000" pitchFamily="2" charset="2"/>
              <a:buChar char="§"/>
              <a:tabLst/>
              <a:defRPr sz="1138"/>
            </a:lvl1pPr>
          </a:lstStyle>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r>
              <a:rPr lang="en-US" dirty="0"/>
              <a:t>Click to insert bullet point</a:t>
            </a:r>
          </a:p>
          <a:p>
            <a:pPr marL="232172" marR="0" lvl="0" indent="-232172" algn="l" defTabSz="742950" rtl="0" eaLnBrk="1" fontAlgn="auto" latinLnBrk="0" hangingPunct="1">
              <a:lnSpc>
                <a:spcPct val="90000"/>
              </a:lnSpc>
              <a:spcBef>
                <a:spcPts val="813"/>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p:nvSpPr>
        <p:spPr>
          <a:xfrm>
            <a:off x="619635" y="1028252"/>
            <a:ext cx="211999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4"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68854401"/>
      </p:ext>
    </p:extLst>
  </p:cSld>
  <p:clrMapOvr>
    <a:masterClrMapping/>
  </p:clrMapOvr>
  <p:hf sldNum="0" hdr="0" ftr="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36073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p:nvPicPr>
        <p:blipFill rotWithShape="1">
          <a:blip r:embed="rId2">
            <a:extLst>
              <a:ext uri="{28A0092B-C50C-407E-A947-70E740481C1C}">
                <a14:useLocalDpi xmlns:a14="http://schemas.microsoft.com/office/drawing/2010/main" val="0"/>
              </a:ext>
            </a:extLst>
          </a:blip>
          <a:srcRect l="2839" r="32420"/>
          <a:stretch/>
        </p:blipFill>
        <p:spPr>
          <a:xfrm>
            <a:off x="3456204" y="-2148"/>
            <a:ext cx="6449796"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31490" y="3068960"/>
            <a:ext cx="5440601" cy="3375382"/>
          </a:xfrm>
          <a:prstGeom prst="rect">
            <a:avLst/>
          </a:prstGeom>
        </p:spPr>
        <p:txBody>
          <a:bodyPr>
            <a:noAutofit/>
          </a:bodyPr>
          <a:lstStyle>
            <a:lvl1pPr>
              <a:lnSpc>
                <a:spcPts val="1625"/>
              </a:lnSpc>
              <a:spcAft>
                <a:spcPts val="1463"/>
              </a:spcAft>
              <a:defRPr sz="1300">
                <a:solidFill>
                  <a:schemeClr val="bg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31491" y="2002973"/>
            <a:ext cx="816126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438"/>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p:nvSpPr>
        <p:spPr>
          <a:xfrm>
            <a:off x="9440901" y="6555758"/>
            <a:ext cx="330540" cy="192360"/>
          </a:xfrm>
          <a:prstGeom prst="rect">
            <a:avLst/>
          </a:prstGeom>
        </p:spPr>
        <p:txBody>
          <a:bodyPr wrap="none">
            <a:spAutoFit/>
          </a:bodyPr>
          <a:lstStyle/>
          <a:p>
            <a:pPr algn="r"/>
            <a:fld id="{0502E5A9-B53C-401E-A0E0-4A359BB0A9E5}" type="slidenum">
              <a:rPr lang="en-US" sz="650" smtClean="0">
                <a:solidFill>
                  <a:schemeClr val="bg1"/>
                </a:solidFill>
                <a:cs typeface="Arial" panose="020B0604020202020204" pitchFamily="34" charset="0"/>
              </a:rPr>
              <a:t>‹#›</a:t>
            </a:fld>
            <a:endParaRPr lang="en-US" sz="65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334846547"/>
      </p:ext>
    </p:extLst>
  </p:cSld>
  <p:clrMapOvr>
    <a:masterClrMapping/>
  </p:clrMapOvr>
  <p:hf sldNum="0" hdr="0" ftr="0"/>
  <p:extLst mod="1">
    <p:ext uri="{DCECCB84-F9BA-43D5-87BE-67443E8EF086}">
      <p15:sldGuideLst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31490" y="2010607"/>
            <a:ext cx="4504135" cy="4442581"/>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5070378" y="2010606"/>
            <a:ext cx="4482111" cy="4441372"/>
          </a:xfrm>
          <a:prstGeom prst="rect">
            <a:avLst/>
          </a:prstGeom>
        </p:spPr>
        <p:txBody>
          <a:bodyPr>
            <a:noAutofit/>
          </a:bodyPr>
          <a:lstStyle>
            <a:lvl1pPr>
              <a:lnSpc>
                <a:spcPct val="100000"/>
              </a:lnSpc>
              <a:defRPr sz="1138">
                <a:solidFill>
                  <a:schemeClr val="tx1"/>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31490" y="1420990"/>
            <a:ext cx="4504135"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5070378" y="1420990"/>
            <a:ext cx="4482111" cy="438494"/>
          </a:xfrm>
          <a:prstGeom prst="rect">
            <a:avLst/>
          </a:prstGeom>
        </p:spPr>
        <p:txBody>
          <a:bodyPr>
            <a:noAutofit/>
          </a:bodyPr>
          <a:lstStyle>
            <a:lvl1pPr>
              <a:lnSpc>
                <a:spcPts val="1788"/>
              </a:lnSpc>
              <a:defRPr sz="1463" b="0">
                <a:solidFill>
                  <a:srgbClr val="12ABDB"/>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31490" y="404813"/>
            <a:ext cx="8892484"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438"/>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7809681"/>
      </p:ext>
    </p:extLst>
  </p:cSld>
  <p:clrMapOvr>
    <a:masterClrMapping/>
  </p:clrMapOvr>
  <p:hf sldNum="0" hdr="0" ftr="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p:nvSpPr>
        <p:spPr>
          <a:xfrm>
            <a:off x="0" y="4077072"/>
            <a:ext cx="9906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46522" y="1423338"/>
            <a:ext cx="2897505"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677006" y="1423338"/>
            <a:ext cx="2897505"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511764" y="1423338"/>
            <a:ext cx="2897505" cy="412363"/>
          </a:xfrm>
          <a:prstGeom prst="rect">
            <a:avLst/>
          </a:prstGeom>
          <a:noFill/>
        </p:spPr>
        <p:txBody>
          <a:bodyPr anchor="ctr">
            <a:noAutofit/>
          </a:bodyPr>
          <a:lstStyle>
            <a:lvl1pPr algn="l">
              <a:defRPr sz="1463" b="0">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31490" y="4231997"/>
            <a:ext cx="924302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46522" y="1866556"/>
            <a:ext cx="2897505"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511764" y="1866556"/>
            <a:ext cx="2897505"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677006" y="1866556"/>
            <a:ext cx="2897505"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46521" y="4674188"/>
            <a:ext cx="9227989" cy="1799211"/>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2138930"/>
      </p:ext>
    </p:extLst>
  </p:cSld>
  <p:clrMapOvr>
    <a:masterClrMapping/>
  </p:clrMapOvr>
  <p:hf sldNum="0" hdr="0" ftr="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619118" y="1556793"/>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619118" y="3320915"/>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619118" y="5085036"/>
            <a:ext cx="7955393" cy="1368152"/>
          </a:xfrm>
          <a:prstGeom prst="rect">
            <a:avLst/>
          </a:prstGeom>
        </p:spPr>
        <p:txBody>
          <a:bodyPr anchor="ctr">
            <a:noAutofit/>
          </a:bodyPr>
          <a:lstStyle>
            <a:lvl1pPr>
              <a:lnSpc>
                <a:spcPts val="1788"/>
              </a:lnSpc>
              <a:defRPr sz="1463">
                <a:solidFill>
                  <a:schemeClr val="tx1"/>
                </a:solidFill>
              </a:defRPr>
            </a:lvl1pPr>
            <a:lvl2pPr marL="188317" indent="-184448">
              <a:lnSpc>
                <a:spcPts val="1463"/>
              </a:lnSpc>
              <a:defRPr sz="1300">
                <a:solidFill>
                  <a:schemeClr val="tx1"/>
                </a:solidFill>
              </a:defRPr>
            </a:lvl2pPr>
            <a:lvl3pPr marL="376634" indent="-188317">
              <a:lnSpc>
                <a:spcPts val="1300"/>
              </a:lnSpc>
              <a:defRPr sz="1138">
                <a:solidFill>
                  <a:schemeClr val="tx1"/>
                </a:solidFill>
              </a:defRPr>
            </a:lvl3pPr>
            <a:lvl4pPr marL="554633" indent="-177998">
              <a:lnSpc>
                <a:spcPts val="1138"/>
              </a:lnSpc>
              <a:defRPr sz="975">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p:nvGrpSpPr>
        <p:grpSpPr bwMode="auto">
          <a:xfrm>
            <a:off x="306092" y="3487371"/>
            <a:ext cx="1044838"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p:nvGrpSpPr>
        <p:grpSpPr bwMode="auto">
          <a:xfrm>
            <a:off x="306092" y="1642923"/>
            <a:ext cx="1039391"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p:nvGrpSpPr>
        <p:grpSpPr bwMode="auto">
          <a:xfrm>
            <a:off x="306092" y="5168264"/>
            <a:ext cx="1046796"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544"/>
            </a:p>
          </p:txBody>
        </p:sp>
      </p:grpSp>
    </p:spTree>
    <p:extLst>
      <p:ext uri="{BB962C8B-B14F-4D97-AF65-F5344CB8AC3E}">
        <p14:creationId xmlns:p14="http://schemas.microsoft.com/office/powerpoint/2010/main" val="2082101789"/>
      </p:ext>
    </p:extLst>
  </p:cSld>
  <p:clrMapOvr>
    <a:masterClrMapping/>
  </p:clrMapOvr>
  <p:hf sldNum="0" hdr="0" ftr="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p:nvSpPr>
        <p:spPr>
          <a:xfrm>
            <a:off x="0" y="1773238"/>
            <a:ext cx="9906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5363738" y="2032334"/>
            <a:ext cx="1404156"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740532"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p:ph type="chart" sz="quarter" idx="10"/>
          </p:nvPr>
        </p:nvSpPr>
        <p:spPr>
          <a:xfrm>
            <a:off x="1003811" y="2027571"/>
            <a:ext cx="1404156"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p:ph type="body" sz="quarter" idx="11" hasCustomPrompt="1"/>
          </p:nvPr>
        </p:nvSpPr>
        <p:spPr>
          <a:xfrm>
            <a:off x="1383498" y="2708276"/>
            <a:ext cx="702684" cy="314325"/>
          </a:xfrm>
          <a:prstGeom prst="rect">
            <a:avLst/>
          </a:prstGeom>
        </p:spPr>
        <p:txBody>
          <a:bodyPr anchor="ctr">
            <a:noAutofit/>
          </a:bodyPr>
          <a:lstStyle>
            <a:lvl1pPr algn="ctr">
              <a:defRPr sz="13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p:ph type="body" sz="quarter" idx="35" hasCustomPrompt="1"/>
          </p:nvPr>
        </p:nvSpPr>
        <p:spPr>
          <a:xfrm>
            <a:off x="2920495"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p:ph type="chart" sz="quarter" idx="36"/>
          </p:nvPr>
        </p:nvSpPr>
        <p:spPr>
          <a:xfrm>
            <a:off x="3183775" y="2027571"/>
            <a:ext cx="1404156"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p:ph type="body" sz="quarter" idx="37" hasCustomPrompt="1"/>
          </p:nvPr>
        </p:nvSpPr>
        <p:spPr>
          <a:xfrm>
            <a:off x="3558558" y="2708276"/>
            <a:ext cx="702684" cy="314325"/>
          </a:xfrm>
          <a:prstGeom prst="rect">
            <a:avLst/>
          </a:prstGeom>
        </p:spPr>
        <p:txBody>
          <a:bodyPr anchor="ctr">
            <a:noAutofit/>
          </a:bodyPr>
          <a:lstStyle>
            <a:lvl1pPr algn="ctr">
              <a:defRPr sz="13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p:ph type="body" sz="quarter" idx="38" hasCustomPrompt="1"/>
          </p:nvPr>
        </p:nvSpPr>
        <p:spPr>
          <a:xfrm>
            <a:off x="5100459"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p:ph type="body" sz="quarter" idx="40" hasCustomPrompt="1"/>
          </p:nvPr>
        </p:nvSpPr>
        <p:spPr>
          <a:xfrm>
            <a:off x="5725495" y="2708276"/>
            <a:ext cx="702684" cy="314325"/>
          </a:xfrm>
          <a:prstGeom prst="rect">
            <a:avLst/>
          </a:prstGeom>
        </p:spPr>
        <p:txBody>
          <a:bodyPr anchor="ctr">
            <a:noAutofit/>
          </a:bodyPr>
          <a:lstStyle>
            <a:lvl1pPr algn="ctr">
              <a:defRPr sz="13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p:ph type="chart" sz="quarter" idx="41"/>
          </p:nvPr>
        </p:nvSpPr>
        <p:spPr>
          <a:xfrm>
            <a:off x="7543702" y="2032334"/>
            <a:ext cx="1404156"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p:ph type="body" sz="quarter" idx="42" hasCustomPrompt="1"/>
          </p:nvPr>
        </p:nvSpPr>
        <p:spPr>
          <a:xfrm>
            <a:off x="7280422" y="3717032"/>
            <a:ext cx="1930715" cy="720080"/>
          </a:xfrm>
          <a:prstGeom prst="rect">
            <a:avLst/>
          </a:prstGeom>
        </p:spPr>
        <p:txBody>
          <a:bodyPr>
            <a:noAutofit/>
          </a:bodyPr>
          <a:lstStyle>
            <a:lvl1pPr algn="ctr">
              <a:lnSpc>
                <a:spcPts val="1138"/>
              </a:lnSpc>
              <a:spcBef>
                <a:spcPts val="488"/>
              </a:spcBef>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p:ph type="body" sz="quarter" idx="43" hasCustomPrompt="1"/>
          </p:nvPr>
        </p:nvSpPr>
        <p:spPr>
          <a:xfrm>
            <a:off x="7923389" y="2708276"/>
            <a:ext cx="702684" cy="314325"/>
          </a:xfrm>
          <a:prstGeom prst="rect">
            <a:avLst/>
          </a:prstGeom>
        </p:spPr>
        <p:txBody>
          <a:bodyPr anchor="ctr">
            <a:noAutofit/>
          </a:bodyPr>
          <a:lstStyle>
            <a:lvl1pPr algn="ctr">
              <a:defRPr sz="13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p:ph type="body" sz="quarter" idx="44" hasCustomPrompt="1"/>
          </p:nvPr>
        </p:nvSpPr>
        <p:spPr>
          <a:xfrm>
            <a:off x="916051" y="5308653"/>
            <a:ext cx="1345650" cy="576064"/>
          </a:xfrm>
          <a:prstGeom prst="rect">
            <a:avLst/>
          </a:prstGeom>
        </p:spPr>
        <p:txBody>
          <a:bodyPr anchor="ctr">
            <a:noAutofit/>
          </a:bodyPr>
          <a:lstStyle>
            <a:lvl1pPr algn="ctr">
              <a:lnSpc>
                <a:spcPts val="2600"/>
              </a:lnSpc>
              <a:defRPr sz="2275" b="1">
                <a:solidFill>
                  <a:srgbClr val="2B0A3D"/>
                </a:solidFill>
              </a:defRPr>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342759" y="5163113"/>
            <a:ext cx="6824522" cy="867147"/>
          </a:xfrm>
          <a:prstGeom prst="rect">
            <a:avLst/>
          </a:prstGeom>
        </p:spPr>
        <p:txBody>
          <a:bodyPr anchor="ctr">
            <a:noAutofit/>
          </a:bodyPr>
          <a:lstStyle>
            <a:lvl1pPr algn="l">
              <a:lnSpc>
                <a:spcPts val="1463"/>
              </a:lnSpc>
              <a:spcBef>
                <a:spcPts val="488"/>
              </a:spcBef>
              <a:defRPr sz="1300"/>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28989649"/>
      </p:ext>
    </p:extLst>
  </p:cSld>
  <p:clrMapOvr>
    <a:overrideClrMapping bg1="lt1" tx1="dk1" bg2="lt2" tx2="dk2" accent1="accent1" accent2="accent2" accent3="accent3" accent4="accent4" accent5="accent5" accent6="accent6" hlink="hlink" folHlink="folHlink"/>
  </p:clrMapOvr>
  <p:hf sldNum="0" hdr="0" ftr="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rot="16200000">
            <a:off x="7009136" y="-1195947"/>
            <a:ext cx="1706401" cy="408732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p:nvSpPr>
        <p:spPr>
          <a:xfrm>
            <a:off x="331490" y="2423886"/>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5" name="Rectangle 4">
            <a:extLst>
              <a:ext uri="{FF2B5EF4-FFF2-40B4-BE49-F238E27FC236}">
                <a16:creationId xmlns="" xmlns:a16="http://schemas.microsoft.com/office/drawing/2014/main" id="{5D624820-6891-4116-9EE3-E6D3B41D5557}"/>
              </a:ext>
            </a:extLst>
          </p:cNvPr>
          <p:cNvSpPr/>
          <p:nvPr/>
        </p:nvSpPr>
        <p:spPr>
          <a:xfrm>
            <a:off x="3521274" y="2423886"/>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6" name="Rectangle 5">
            <a:extLst>
              <a:ext uri="{FF2B5EF4-FFF2-40B4-BE49-F238E27FC236}">
                <a16:creationId xmlns="" xmlns:a16="http://schemas.microsoft.com/office/drawing/2014/main" id="{4ED1E18D-CB5A-40D2-9E0C-21B1DC24C582}"/>
              </a:ext>
            </a:extLst>
          </p:cNvPr>
          <p:cNvSpPr/>
          <p:nvPr/>
        </p:nvSpPr>
        <p:spPr>
          <a:xfrm>
            <a:off x="6711058" y="2406300"/>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89075" y="3332369"/>
            <a:ext cx="2348283" cy="645047"/>
          </a:xfrm>
          <a:prstGeom prst="rect">
            <a:avLst/>
          </a:prstGeom>
          <a:noFill/>
        </p:spPr>
        <p:txBody>
          <a:bodyPr anchor="ctr">
            <a:noAutofit/>
          </a:bodyPr>
          <a:lstStyle>
            <a:lvl1pPr algn="l">
              <a:lnSpc>
                <a:spcPts val="1463"/>
              </a:lnSpc>
              <a:defRPr sz="1300" b="1">
                <a:solidFill>
                  <a:srgbClr val="12ABDB"/>
                </a:solidFill>
              </a:defRPr>
            </a:lvl1pPr>
            <a:lvl2pPr>
              <a:defRPr sz="1138"/>
            </a:lvl2pPr>
            <a:lvl3pPr>
              <a:defRPr sz="975"/>
            </a:lvl3pPr>
            <a:lvl4pPr>
              <a:defRPr sz="894"/>
            </a:lvl4pPr>
            <a:lvl5pPr>
              <a:defRPr sz="894"/>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89076" y="4079992"/>
            <a:ext cx="2335303" cy="1711208"/>
          </a:xfrm>
          <a:prstGeom prst="rect">
            <a:avLst/>
          </a:prstGeom>
        </p:spPr>
        <p:txBody>
          <a:bodyPr>
            <a:noAutofit/>
          </a:bodyPr>
          <a:lstStyle>
            <a:lvl1pPr>
              <a:lnSpc>
                <a:spcPct val="100000"/>
              </a:lnSpc>
              <a:defRPr sz="1138"/>
            </a:lvl1pPr>
            <a:lvl2pPr>
              <a:lnSpc>
                <a:spcPts val="1138"/>
              </a:lnSpc>
              <a:defRPr sz="975"/>
            </a:lvl2pPr>
            <a:lvl3pPr>
              <a:lnSpc>
                <a:spcPts val="1056"/>
              </a:lnSpc>
              <a:defRPr sz="894"/>
            </a:lvl3pPr>
            <a:lvl4pPr>
              <a:lnSpc>
                <a:spcPts val="975"/>
              </a:lnSpc>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778859" y="3332369"/>
            <a:ext cx="2348283" cy="645047"/>
          </a:xfrm>
          <a:prstGeom prst="rect">
            <a:avLst/>
          </a:prstGeom>
          <a:noFill/>
        </p:spPr>
        <p:txBody>
          <a:bodyPr anchor="ctr">
            <a:noAutofit/>
          </a:bodyPr>
          <a:lstStyle>
            <a:lvl1pPr algn="l">
              <a:lnSpc>
                <a:spcPts val="1463"/>
              </a:lnSpc>
              <a:defRPr sz="1300" b="1">
                <a:solidFill>
                  <a:srgbClr val="FF304C"/>
                </a:solidFill>
              </a:defRPr>
            </a:lvl1pPr>
            <a:lvl2pPr>
              <a:defRPr sz="1138"/>
            </a:lvl2pPr>
            <a:lvl3pPr>
              <a:defRPr sz="975"/>
            </a:lvl3pPr>
            <a:lvl4pPr>
              <a:defRPr sz="894"/>
            </a:lvl4pPr>
            <a:lvl5pPr>
              <a:defRPr sz="894"/>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968643" y="3332369"/>
            <a:ext cx="2348283" cy="645047"/>
          </a:xfrm>
          <a:prstGeom prst="rect">
            <a:avLst/>
          </a:prstGeom>
          <a:noFill/>
        </p:spPr>
        <p:txBody>
          <a:bodyPr anchor="ctr">
            <a:noAutofit/>
          </a:bodyPr>
          <a:lstStyle>
            <a:lvl1pPr algn="l">
              <a:lnSpc>
                <a:spcPts val="1463"/>
              </a:lnSpc>
              <a:defRPr sz="1300" b="1">
                <a:solidFill>
                  <a:srgbClr val="2C004B"/>
                </a:solidFill>
              </a:defRPr>
            </a:lvl1pPr>
            <a:lvl2pPr>
              <a:defRPr sz="1138"/>
            </a:lvl2pPr>
            <a:lvl3pPr>
              <a:defRPr sz="975"/>
            </a:lvl3pPr>
            <a:lvl4pPr>
              <a:defRPr sz="894"/>
            </a:lvl4pPr>
            <a:lvl5pPr>
              <a:defRPr sz="894"/>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904731" y="295729"/>
            <a:ext cx="2378924" cy="876300"/>
          </a:xfrm>
          <a:prstGeom prst="rect">
            <a:avLst/>
          </a:prstGeom>
        </p:spPr>
        <p:txBody>
          <a:bodyPr anchor="t">
            <a:noAutofit/>
          </a:bodyPr>
          <a:lstStyle>
            <a:lvl1pPr>
              <a:lnSpc>
                <a:spcPct val="100000"/>
              </a:lnSpc>
              <a:defRPr sz="1300" b="1"/>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81836" t="-4713" b="16530"/>
          <a:stretch/>
        </p:blipFill>
        <p:spPr>
          <a:xfrm>
            <a:off x="9336778" y="164829"/>
            <a:ext cx="344789"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526275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791839" y="4079992"/>
            <a:ext cx="2335303" cy="1711208"/>
          </a:xfrm>
          <a:prstGeom prst="rect">
            <a:avLst/>
          </a:prstGeom>
        </p:spPr>
        <p:txBody>
          <a:bodyPr>
            <a:noAutofit/>
          </a:bodyPr>
          <a:lstStyle>
            <a:lvl1pPr>
              <a:lnSpc>
                <a:spcPct val="100000"/>
              </a:lnSpc>
              <a:defRPr sz="1138"/>
            </a:lvl1pPr>
            <a:lvl2pPr>
              <a:lnSpc>
                <a:spcPts val="1138"/>
              </a:lnSpc>
              <a:buClr>
                <a:schemeClr val="accent4"/>
              </a:buClr>
              <a:defRPr sz="975"/>
            </a:lvl2pPr>
            <a:lvl3pPr>
              <a:lnSpc>
                <a:spcPts val="1056"/>
              </a:lnSpc>
              <a:buClr>
                <a:schemeClr val="accent4"/>
              </a:buClr>
              <a:defRPr sz="894"/>
            </a:lvl3pPr>
            <a:lvl4pPr>
              <a:lnSpc>
                <a:spcPts val="975"/>
              </a:lnSpc>
              <a:buClr>
                <a:schemeClr val="accent4"/>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981623" y="4079992"/>
            <a:ext cx="2335303" cy="1711208"/>
          </a:xfrm>
          <a:prstGeom prst="rect">
            <a:avLst/>
          </a:prstGeom>
        </p:spPr>
        <p:txBody>
          <a:bodyPr>
            <a:noAutofit/>
          </a:bodyPr>
          <a:lstStyle>
            <a:lvl1pPr>
              <a:lnSpc>
                <a:spcPct val="100000"/>
              </a:lnSpc>
              <a:defRPr sz="1138"/>
            </a:lvl1pPr>
            <a:lvl2pPr>
              <a:lnSpc>
                <a:spcPts val="1138"/>
              </a:lnSpc>
              <a:buClr>
                <a:schemeClr val="accent3"/>
              </a:buClr>
              <a:defRPr sz="975"/>
            </a:lvl2pPr>
            <a:lvl3pPr>
              <a:lnSpc>
                <a:spcPts val="1056"/>
              </a:lnSpc>
              <a:buClr>
                <a:schemeClr val="accent3"/>
              </a:buClr>
              <a:defRPr sz="894"/>
            </a:lvl3pPr>
            <a:lvl4pPr>
              <a:lnSpc>
                <a:spcPts val="975"/>
              </a:lnSpc>
              <a:buClr>
                <a:schemeClr val="accent3"/>
              </a:buClr>
              <a:defRPr sz="813"/>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8428042"/>
      </p:ext>
    </p:extLst>
  </p:cSld>
  <p:clrMapOvr>
    <a:overrideClrMapping bg1="lt1" tx1="dk1" bg2="lt2" tx2="dk2" accent1="accent1" accent2="accent2" accent3="accent3" accent4="accent4" accent5="accent5" accent6="accent6" hlink="hlink" folHlink="folHlink"/>
  </p:clrMapOvr>
  <p:hf sldNum="0" hdr="0" ftr="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p:nvSpPr>
        <p:spPr>
          <a:xfrm>
            <a:off x="4520421" y="4734096"/>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2" name="Oval 20">
            <a:extLst>
              <a:ext uri="{FF2B5EF4-FFF2-40B4-BE49-F238E27FC236}">
                <a16:creationId xmlns="" xmlns:a16="http://schemas.microsoft.com/office/drawing/2014/main" id="{80DEC651-0810-4FD4-A2CA-C54974433D45}"/>
              </a:ext>
            </a:extLst>
          </p:cNvPr>
          <p:cNvSpPr/>
          <p:nvPr/>
        </p:nvSpPr>
        <p:spPr>
          <a:xfrm>
            <a:off x="4520421" y="2944150"/>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43" name="Oval 20">
            <a:extLst>
              <a:ext uri="{FF2B5EF4-FFF2-40B4-BE49-F238E27FC236}">
                <a16:creationId xmlns="" xmlns:a16="http://schemas.microsoft.com/office/drawing/2014/main" id="{4F0142AD-298C-4A60-9F24-035D4F3F07D0}"/>
              </a:ext>
            </a:extLst>
          </p:cNvPr>
          <p:cNvSpPr/>
          <p:nvPr/>
        </p:nvSpPr>
        <p:spPr>
          <a:xfrm>
            <a:off x="4481869" y="1186057"/>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Rectangle 12">
            <a:extLst>
              <a:ext uri="{FF2B5EF4-FFF2-40B4-BE49-F238E27FC236}">
                <a16:creationId xmlns="" xmlns:a16="http://schemas.microsoft.com/office/drawing/2014/main" id="{9455EBB8-DB3C-45D2-B02F-0B36A58E555B}"/>
              </a:ext>
            </a:extLst>
          </p:cNvPr>
          <p:cNvSpPr/>
          <p:nvPr/>
        </p:nvSpPr>
        <p:spPr>
          <a:xfrm>
            <a:off x="0"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854854" y="-585508"/>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642524" y="1525458"/>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642524" y="3284121"/>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642524" y="5061943"/>
            <a:ext cx="701401" cy="482705"/>
          </a:xfrm>
          <a:prstGeom prst="rect">
            <a:avLst/>
          </a:prstGeom>
          <a:noFill/>
        </p:spPr>
        <p:txBody>
          <a:bodyPr anchor="ctr">
            <a:noAutofit/>
          </a:bodyPr>
          <a:lstStyle>
            <a:lvl1pPr algn="ctr">
              <a:lnSpc>
                <a:spcPts val="2438"/>
              </a:lnSpc>
              <a:defRPr sz="2113" b="0">
                <a:solidFill>
                  <a:srgbClr val="2C004B"/>
                </a:solidFill>
              </a:defRPr>
            </a:lvl1pPr>
            <a:lvl2pPr>
              <a:defRPr sz="1138"/>
            </a:lvl2pPr>
            <a:lvl3pPr>
              <a:defRPr sz="975"/>
            </a:lvl3pPr>
            <a:lvl4pPr>
              <a:defRPr sz="894"/>
            </a:lvl4pPr>
            <a:lvl5pPr>
              <a:defRPr sz="894"/>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46707" y="3367132"/>
            <a:ext cx="2982546" cy="2993216"/>
          </a:xfrm>
          <a:prstGeom prst="rect">
            <a:avLst/>
          </a:prstGeom>
        </p:spPr>
        <p:txBody>
          <a:bodyPr>
            <a:noAutofit/>
          </a:bodyPr>
          <a:lstStyle>
            <a:lvl1pPr>
              <a:lnSpc>
                <a:spcPts val="1788"/>
              </a:lnSpc>
              <a:defRPr sz="1463"/>
            </a:lvl1pPr>
            <a:lvl2pPr>
              <a:lnSpc>
                <a:spcPts val="1463"/>
              </a:lnSpc>
              <a:buClr>
                <a:schemeClr val="accent3"/>
              </a:buClr>
              <a:defRPr sz="1300"/>
            </a:lvl2pPr>
            <a:lvl3pPr>
              <a:lnSpc>
                <a:spcPts val="1300"/>
              </a:lnSpc>
              <a:buClr>
                <a:schemeClr val="accent3"/>
              </a:buClr>
              <a:defRPr sz="1138"/>
            </a:lvl3pPr>
            <a:lvl4pPr>
              <a:lnSpc>
                <a:spcPts val="1138"/>
              </a:lnSpc>
              <a:buClr>
                <a:schemeClr val="accent3"/>
              </a:buClr>
              <a:defRPr sz="975"/>
            </a:lvl4pPr>
            <a:lvl5pPr>
              <a:lnSpc>
                <a:spcPct val="100000"/>
              </a:lnSpc>
              <a:defRPr sz="975"/>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620785" y="825195"/>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620785" y="1268414"/>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620785" y="2583859"/>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620785" y="3027077"/>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620785" y="4361681"/>
            <a:ext cx="3953725" cy="412363"/>
          </a:xfrm>
          <a:prstGeom prst="rect">
            <a:avLst/>
          </a:prstGeom>
          <a:noFill/>
        </p:spPr>
        <p:txBody>
          <a:bodyPr anchor="ctr">
            <a:noAutofit/>
          </a:bodyPr>
          <a:lstStyle>
            <a:lvl1pPr algn="l">
              <a:defRPr sz="1463" b="0">
                <a:solidFill>
                  <a:schemeClr val="tx2"/>
                </a:solidFill>
              </a:defRPr>
            </a:lvl1pPr>
            <a:lvl2pPr>
              <a:defRPr sz="1138"/>
            </a:lvl2pPr>
            <a:lvl3pPr>
              <a:defRPr sz="975"/>
            </a:lvl3pPr>
            <a:lvl4pPr>
              <a:defRPr sz="894"/>
            </a:lvl4pPr>
            <a:lvl5pPr>
              <a:defRPr sz="894"/>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620785" y="4804899"/>
            <a:ext cx="3953725" cy="996793"/>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3"/>
              </a:buClr>
              <a:defRPr sz="975">
                <a:solidFill>
                  <a:schemeClr val="tx1"/>
                </a:solidFill>
              </a:defRPr>
            </a:lvl2pPr>
            <a:lvl3pPr marL="282476" indent="-141883">
              <a:lnSpc>
                <a:spcPts val="1138"/>
              </a:lnSpc>
              <a:buClr>
                <a:schemeClr val="accent3"/>
              </a:buClr>
              <a:defRPr sz="975">
                <a:solidFill>
                  <a:schemeClr val="tx1"/>
                </a:solidFill>
              </a:defRPr>
            </a:lvl3pPr>
            <a:lvl4pPr marL="414040" indent="-131564">
              <a:lnSpc>
                <a:spcPts val="975"/>
              </a:lnSpc>
              <a:buClr>
                <a:schemeClr val="accent3"/>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p:nvSpPr>
        <p:spPr>
          <a:xfrm>
            <a:off x="7767766"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47947627"/>
      </p:ext>
    </p:extLst>
  </p:cSld>
  <p:clrMapOvr>
    <a:overrideClrMapping bg1="lt1" tx1="dk1" bg2="lt2" tx2="dk2" accent1="accent1" accent2="accent2" accent3="accent3" accent4="accent4" accent5="accent5" accent6="accent6" hlink="hlink" folHlink="folHlink"/>
  </p:clrMapOvr>
  <p:hf sldNum="0" hdr="0" ft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287" name="think-cell Slide" r:id="rId9" imgW="360" imgH="360" progId="">
                  <p:embed/>
                </p:oleObj>
              </mc:Choice>
              <mc:Fallback>
                <p:oleObj name="think-cell Slide" r:id="rId9" imgW="360" imgH="360" progId="">
                  <p:embed/>
                  <p:pic>
                    <p:nvPicPr>
                      <p:cNvPr id="0" name="Picture 28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507094" y="1903414"/>
            <a:ext cx="1180207"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5244847" y="1903414"/>
            <a:ext cx="1180207"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507094" y="4379454"/>
            <a:ext cx="1180207"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5244847" y="4379454"/>
            <a:ext cx="1180207"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793649" y="190341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532535" y="190341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793649" y="437945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532535" y="4379454"/>
            <a:ext cx="3041976" cy="1671637"/>
          </a:xfrm>
          <a:prstGeom prst="rect">
            <a:avLst/>
          </a:prstGeom>
        </p:spPr>
        <p:txBody>
          <a:bodyPr>
            <a:noAutofit/>
          </a:bodyPr>
          <a:lstStyle>
            <a:lvl1pPr>
              <a:lnSpc>
                <a:spcPts val="1300"/>
              </a:lnSpc>
              <a:defRPr sz="1138">
                <a:solidFill>
                  <a:schemeClr val="tx1"/>
                </a:solidFill>
              </a:defRPr>
            </a:lvl1pPr>
            <a:lvl2pPr marL="140593" indent="-136723">
              <a:lnSpc>
                <a:spcPts val="1138"/>
              </a:lnSpc>
              <a:buClr>
                <a:schemeClr val="accent1"/>
              </a:buClr>
              <a:defRPr sz="975">
                <a:solidFill>
                  <a:schemeClr val="tx1"/>
                </a:solidFill>
              </a:defRPr>
            </a:lvl2pPr>
            <a:lvl3pPr marL="282476" indent="-141883">
              <a:lnSpc>
                <a:spcPts val="1138"/>
              </a:lnSpc>
              <a:buClr>
                <a:schemeClr val="accent1"/>
              </a:buClr>
              <a:defRPr sz="975">
                <a:solidFill>
                  <a:schemeClr val="tx1"/>
                </a:solidFill>
              </a:defRPr>
            </a:lvl3pPr>
            <a:lvl4pPr marL="414040" indent="-131564">
              <a:lnSpc>
                <a:spcPts val="975"/>
              </a:lnSpc>
              <a:buClr>
                <a:schemeClr val="accent1"/>
              </a:buClr>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30257495"/>
      </p:ext>
    </p:extLst>
  </p:cSld>
  <p:clrMapOvr>
    <a:masterClrMapping/>
  </p:clrMapOvr>
  <p:hf sldNum="0" hdr="0" ftr="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5393468" y="662160"/>
            <a:ext cx="3967981"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5393468" y="4374298"/>
            <a:ext cx="3967981" cy="412363"/>
          </a:xfrm>
          <a:prstGeom prst="rect">
            <a:avLst/>
          </a:prstGeom>
          <a:noFill/>
        </p:spPr>
        <p:txBody>
          <a:bodyPr anchor="ctr">
            <a:noAutofit/>
          </a:bodyPr>
          <a:lstStyle>
            <a:lvl1pPr algn="l">
              <a:lnSpc>
                <a:spcPts val="2438"/>
              </a:lnSpc>
              <a:defRPr sz="2113" b="0">
                <a:solidFill>
                  <a:srgbClr val="12ABDB"/>
                </a:solidFill>
              </a:defRPr>
            </a:lvl1pPr>
            <a:lvl2pPr>
              <a:defRPr sz="1138"/>
            </a:lvl2pPr>
            <a:lvl3pPr>
              <a:defRPr sz="975"/>
            </a:lvl3pPr>
            <a:lvl4pPr>
              <a:defRPr sz="894"/>
            </a:lvl4pPr>
            <a:lvl5pPr>
              <a:defRPr sz="894"/>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5393467" y="4810700"/>
            <a:ext cx="3967982" cy="1717101"/>
          </a:xfrm>
          <a:prstGeom prst="rect">
            <a:avLst/>
          </a:prstGeom>
        </p:spPr>
        <p:txBody>
          <a:bodyPr>
            <a:noAutofit/>
          </a:bodyPr>
          <a:lstStyle>
            <a:lvl1pPr>
              <a:lnSpc>
                <a:spcPts val="1300"/>
              </a:lnSpc>
              <a:defRPr sz="1138"/>
            </a:lvl1pPr>
            <a:lvl2pPr marL="140593" indent="-136723">
              <a:lnSpc>
                <a:spcPts val="1138"/>
              </a:lnSpc>
              <a:defRPr sz="975"/>
            </a:lvl2pPr>
            <a:lvl3pPr marL="282476" indent="-141883">
              <a:lnSpc>
                <a:spcPts val="975"/>
              </a:lnSpc>
              <a:defRPr sz="894"/>
            </a:lvl3pPr>
            <a:lvl4pPr marL="328911" indent="-94159">
              <a:lnSpc>
                <a:spcPts val="894"/>
              </a:lnSpc>
              <a:defRPr sz="813"/>
            </a:lvl4pPr>
            <a:lvl5pPr>
              <a:lnSpc>
                <a:spcPct val="100000"/>
              </a:lnSpc>
              <a:defRPr sz="97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5393467" y="1265729"/>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696891" y="1265729"/>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5393467" y="2455545"/>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696891" y="2455545"/>
            <a:ext cx="1610089" cy="1058371"/>
          </a:xfrm>
          <a:prstGeom prst="rect">
            <a:avLst/>
          </a:prstGeom>
        </p:spPr>
        <p:txBody>
          <a:bodyPr>
            <a:noAutofit/>
          </a:bodyPr>
          <a:lstStyle>
            <a:lvl1pPr>
              <a:lnSpc>
                <a:spcPts val="1138"/>
              </a:lnSpc>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p:nvSpPr>
        <p:spPr bwMode="auto">
          <a:xfrm>
            <a:off x="0" y="0"/>
            <a:ext cx="5130340"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pt-PT" sz="1544"/>
          </a:p>
        </p:txBody>
      </p:sp>
      <p:sp>
        <p:nvSpPr>
          <p:cNvPr id="23" name="Freeform 26">
            <a:extLst>
              <a:ext uri="{FF2B5EF4-FFF2-40B4-BE49-F238E27FC236}">
                <a16:creationId xmlns="" xmlns:a16="http://schemas.microsoft.com/office/drawing/2014/main" id="{B017E329-98D6-4441-B449-FBAD88FAA377}"/>
              </a:ext>
            </a:extLst>
          </p:cNvPr>
          <p:cNvSpPr>
            <a:spLocks/>
          </p:cNvSpPr>
          <p:nvPr/>
        </p:nvSpPr>
        <p:spPr bwMode="auto">
          <a:xfrm>
            <a:off x="4621831" y="4703083"/>
            <a:ext cx="336650"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pt-PT" sz="1544" b="1"/>
          </a:p>
        </p:txBody>
      </p:sp>
      <p:sp>
        <p:nvSpPr>
          <p:cNvPr id="24" name="Freeform 27">
            <a:extLst>
              <a:ext uri="{FF2B5EF4-FFF2-40B4-BE49-F238E27FC236}">
                <a16:creationId xmlns="" xmlns:a16="http://schemas.microsoft.com/office/drawing/2014/main" id="{8015E310-A729-4C80-936F-71D663EE6DA7}"/>
              </a:ext>
            </a:extLst>
          </p:cNvPr>
          <p:cNvSpPr>
            <a:spLocks/>
          </p:cNvSpPr>
          <p:nvPr/>
        </p:nvSpPr>
        <p:spPr bwMode="auto">
          <a:xfrm>
            <a:off x="4445894" y="4458435"/>
            <a:ext cx="51258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pt-PT" sz="1544"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35313" y="4869077"/>
            <a:ext cx="2717071" cy="1088820"/>
          </a:xfrm>
          <a:prstGeom prst="rect">
            <a:avLst/>
          </a:prstGeom>
        </p:spPr>
        <p:txBody>
          <a:bodyPr anchor="b">
            <a:noAutofit/>
          </a:bodyPr>
          <a:lstStyle>
            <a:lvl1pPr>
              <a:lnSpc>
                <a:spcPts val="1300"/>
              </a:lnSpc>
              <a:spcAft>
                <a:spcPts val="0"/>
              </a:spcAft>
              <a:defRPr sz="1138">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21516914"/>
      </p:ext>
    </p:extLst>
  </p:cSld>
  <p:clrMapOvr>
    <a:masterClrMapping/>
  </p:clrMapOvr>
  <p:hf sldNum="0" hdr="0" ftr="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9060"/>
          <a:stretch/>
        </p:blipFill>
        <p:spPr>
          <a:xfrm flipH="1">
            <a:off x="0" y="0"/>
            <a:ext cx="546662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31490" y="2439343"/>
            <a:ext cx="4013895" cy="1008112"/>
          </a:xfrm>
          <a:prstGeom prst="rect">
            <a:avLst/>
          </a:prstGeom>
        </p:spPr>
        <p:txBody>
          <a:bodyPr anchor="t">
            <a:noAutofit/>
          </a:bodyPr>
          <a:lstStyle>
            <a:lvl1pPr algn="l">
              <a:lnSpc>
                <a:spcPts val="1463"/>
              </a:lnSpc>
              <a:spcAft>
                <a:spcPts val="488"/>
              </a:spcAft>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6415663" y="140492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6415663" y="5918247"/>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6415663" y="501558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6415663" y="4112916"/>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6415663" y="3210251"/>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6415663" y="2307586"/>
            <a:ext cx="3158848"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1447298"/>
            <a:ext cx="4445990"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76493077"/>
      </p:ext>
    </p:extLst>
  </p:cSld>
  <p:clrMapOvr>
    <a:overrideClrMapping bg1="lt1" tx1="dk1" bg2="lt2" tx2="dk2" accent1="accent1" accent2="accent2" accent3="accent3" accent4="accent4" accent5="accent5" accent6="accent6" hlink="hlink" folHlink="folHlink"/>
  </p:clrMapOvr>
  <p:hf sldNum="0" hdr="0" ftr="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p:nvSpPr>
        <p:spPr>
          <a:xfrm>
            <a:off x="810961" y="2708996"/>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6" name="Rectangle 15">
            <a:extLst>
              <a:ext uri="{FF2B5EF4-FFF2-40B4-BE49-F238E27FC236}">
                <a16:creationId xmlns="" xmlns:a16="http://schemas.microsoft.com/office/drawing/2014/main" id="{07A11129-008D-4898-86B9-B6C83562FA3A}"/>
              </a:ext>
            </a:extLst>
          </p:cNvPr>
          <p:cNvSpPr/>
          <p:nvPr/>
        </p:nvSpPr>
        <p:spPr>
          <a:xfrm>
            <a:off x="3738529" y="2744280"/>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7" name="Rectangle 16">
            <a:extLst>
              <a:ext uri="{FF2B5EF4-FFF2-40B4-BE49-F238E27FC236}">
                <a16:creationId xmlns="" xmlns:a16="http://schemas.microsoft.com/office/drawing/2014/main" id="{92D1F7AF-5F53-4627-A1CF-B58FCC387FCC}"/>
              </a:ext>
            </a:extLst>
          </p:cNvPr>
          <p:cNvSpPr/>
          <p:nvPr/>
        </p:nvSpPr>
        <p:spPr>
          <a:xfrm>
            <a:off x="6666095" y="2744280"/>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2" name="Oval 20">
            <a:extLst>
              <a:ext uri="{FF2B5EF4-FFF2-40B4-BE49-F238E27FC236}">
                <a16:creationId xmlns="" xmlns:a16="http://schemas.microsoft.com/office/drawing/2014/main" id="{C5DBDB28-88AB-4F14-9F73-9D7C1E6EE4B1}"/>
              </a:ext>
            </a:extLst>
          </p:cNvPr>
          <p:cNvSpPr/>
          <p:nvPr/>
        </p:nvSpPr>
        <p:spPr>
          <a:xfrm>
            <a:off x="7048303" y="1772817"/>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3" name="Oval 20">
            <a:extLst>
              <a:ext uri="{FF2B5EF4-FFF2-40B4-BE49-F238E27FC236}">
                <a16:creationId xmlns="" xmlns:a16="http://schemas.microsoft.com/office/drawing/2014/main" id="{2F532516-8DF9-44A4-935A-3131E96D437E}"/>
              </a:ext>
            </a:extLst>
          </p:cNvPr>
          <p:cNvSpPr/>
          <p:nvPr/>
        </p:nvSpPr>
        <p:spPr>
          <a:xfrm>
            <a:off x="4120736" y="1772817"/>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14" name="Oval 20">
            <a:extLst>
              <a:ext uri="{FF2B5EF4-FFF2-40B4-BE49-F238E27FC236}">
                <a16:creationId xmlns="" xmlns:a16="http://schemas.microsoft.com/office/drawing/2014/main" id="{41ACABC2-6590-4E4B-9507-376785C34C7E}"/>
              </a:ext>
            </a:extLst>
          </p:cNvPr>
          <p:cNvSpPr/>
          <p:nvPr/>
        </p:nvSpPr>
        <p:spPr>
          <a:xfrm>
            <a:off x="1193169" y="1772817"/>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275"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364175" y="2492376"/>
            <a:ext cx="1345307"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4291743" y="2492897"/>
            <a:ext cx="1345307"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7219309" y="2465856"/>
            <a:ext cx="1345307" cy="576263"/>
          </a:xfrm>
          <a:prstGeom prst="rect">
            <a:avLst/>
          </a:prstGeom>
        </p:spPr>
        <p:txBody>
          <a:bodyPr anchor="ctr">
            <a:noAutofit/>
          </a:bodyPr>
          <a:lstStyle>
            <a:lvl1pPr algn="ctr">
              <a:lnSpc>
                <a:spcPts val="2438"/>
              </a:lnSpc>
              <a:defRPr sz="2113"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924983" y="4005263"/>
            <a:ext cx="2223691"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852551" y="4005064"/>
            <a:ext cx="2223691"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780117" y="4005064"/>
            <a:ext cx="2223691" cy="647700"/>
          </a:xfrm>
          <a:prstGeom prst="rect">
            <a:avLst/>
          </a:prstGeom>
        </p:spPr>
        <p:txBody>
          <a:bodyPr/>
          <a:lstStyle>
            <a:lvl1pPr algn="ctr">
              <a:defRPr/>
            </a:lvl1pPr>
            <a:lvl2pPr marL="371475"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780117" y="4941889"/>
            <a:ext cx="2223691" cy="935037"/>
          </a:xfrm>
          <a:prstGeom prst="rect">
            <a:avLst/>
          </a:prstGeom>
        </p:spPr>
        <p:txBody>
          <a:bodyPr>
            <a:normAutofit/>
          </a:bodyPr>
          <a:lstStyle>
            <a:lvl1pPr>
              <a:defRPr sz="1138"/>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852551" y="4919316"/>
            <a:ext cx="2223691" cy="935037"/>
          </a:xfrm>
          <a:prstGeom prst="rect">
            <a:avLst/>
          </a:prstGeom>
        </p:spPr>
        <p:txBody>
          <a:bodyPr>
            <a:normAutofit/>
          </a:bodyPr>
          <a:lstStyle>
            <a:lvl1pPr>
              <a:defRPr sz="1138"/>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924983" y="4919316"/>
            <a:ext cx="2223691" cy="935037"/>
          </a:xfrm>
          <a:prstGeom prst="rect">
            <a:avLst/>
          </a:prstGeom>
        </p:spPr>
        <p:txBody>
          <a:bodyPr>
            <a:normAutofit/>
          </a:bodyPr>
          <a:lstStyle>
            <a:lvl1pPr>
              <a:defRPr sz="1138"/>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01397865"/>
      </p:ext>
    </p:extLst>
  </p:cSld>
  <p:clrMapOvr>
    <a:overrideClrMapping bg1="lt1" tx1="dk1" bg2="lt2" tx2="dk2" accent1="accent1" accent2="accent2" accent3="accent3" accent4="accent4" accent5="accent5" accent6="accent6" hlink="hlink" folHlink="folHlink"/>
  </p:clrMapOvr>
  <p:hf sldNum="0" hdr="0" ftr="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p:nvSpPr>
        <p:spPr>
          <a:xfrm>
            <a:off x="0" y="4437112"/>
            <a:ext cx="9906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544"/>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31491" y="1700808"/>
            <a:ext cx="4738886" cy="432048"/>
          </a:xfrm>
          <a:prstGeom prst="rect">
            <a:avLst/>
          </a:prstGeom>
        </p:spPr>
        <p:txBody>
          <a:bodyPr anchor="ctr">
            <a:noAutofit/>
          </a:bodyPr>
          <a:lstStyle>
            <a:lvl1pPr>
              <a:lnSpc>
                <a:spcPts val="1788"/>
              </a:lnSpc>
              <a:spcAft>
                <a:spcPts val="0"/>
              </a:spcAft>
              <a:defRPr sz="1463">
                <a:solidFill>
                  <a:srgbClr val="12ABDB"/>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8199267" y="-166653"/>
            <a:ext cx="2862135"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502133"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040315"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578497"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5116678"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654860" y="5585038"/>
            <a:ext cx="1375115" cy="432048"/>
          </a:xfrm>
          <a:prstGeom prst="rect">
            <a:avLst/>
          </a:prstGeom>
        </p:spPr>
        <p:txBody>
          <a:bodyPr anchor="ctr">
            <a:noAutofit/>
          </a:bodyPr>
          <a:lstStyle>
            <a:lvl1pPr algn="ctr">
              <a:lnSpc>
                <a:spcPts val="1138"/>
              </a:lnSpc>
              <a:spcAft>
                <a:spcPts val="0"/>
              </a:spcAft>
              <a:defRPr sz="1056">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8193042" y="5585038"/>
            <a:ext cx="1375115" cy="432048"/>
          </a:xfrm>
          <a:prstGeom prst="rect">
            <a:avLst/>
          </a:prstGeom>
        </p:spPr>
        <p:txBody>
          <a:bodyPr anchor="ctr">
            <a:noAutofit/>
          </a:bodyPr>
          <a:lstStyle>
            <a:lvl1pPr algn="r">
              <a:lnSpc>
                <a:spcPts val="1300"/>
              </a:lnSpc>
              <a:defRPr sz="1138" b="1">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46522" y="2326857"/>
            <a:ext cx="2558751"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3136809" y="2326857"/>
            <a:ext cx="2558751"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927096" y="2326857"/>
            <a:ext cx="2558751" cy="1994493"/>
          </a:xfrm>
          <a:prstGeom prst="rect">
            <a:avLst/>
          </a:prstGeom>
        </p:spPr>
        <p:txBody>
          <a:bodyPr>
            <a:noAutofit/>
          </a:bodyPr>
          <a:lstStyle>
            <a:lvl1pPr>
              <a:lnSpc>
                <a:spcPts val="1300"/>
              </a:lnSpc>
              <a:defRPr sz="1138">
                <a:solidFill>
                  <a:schemeClr val="tx1"/>
                </a:solidFill>
              </a:defRPr>
            </a:lvl1pPr>
            <a:lvl2pPr marL="140593" indent="-136723">
              <a:lnSpc>
                <a:spcPts val="1138"/>
              </a:lnSpc>
              <a:defRPr sz="975">
                <a:solidFill>
                  <a:schemeClr val="tx1"/>
                </a:solidFill>
              </a:defRPr>
            </a:lvl2pPr>
            <a:lvl3pPr marL="282476" indent="-141883">
              <a:lnSpc>
                <a:spcPts val="1138"/>
              </a:lnSpc>
              <a:defRPr sz="975">
                <a:solidFill>
                  <a:schemeClr val="tx1"/>
                </a:solidFill>
              </a:defRPr>
            </a:lvl3pPr>
            <a:lvl4pPr marL="414040" indent="-131564">
              <a:lnSpc>
                <a:spcPts val="975"/>
              </a:lnSpc>
              <a:defRPr sz="894">
                <a:solidFill>
                  <a:schemeClr val="tx1"/>
                </a:solidFill>
              </a:defRPr>
            </a:lvl4pPr>
            <a:lvl5pPr>
              <a:lnSpc>
                <a:spcPct val="100000"/>
              </a:lnSpc>
              <a:defRPr sz="975">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9382582" y="188640"/>
            <a:ext cx="344789"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p:nvCxnSpPr>
        <p:spPr>
          <a:xfrm>
            <a:off x="331491" y="2235647"/>
            <a:ext cx="8154356"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035610"/>
      </p:ext>
    </p:extLst>
  </p:cSld>
  <p:clrMapOvr>
    <a:overrideClrMapping bg1="lt1" tx1="dk1" bg2="lt2" tx2="dk2" accent1="accent1" accent2="accent2" accent3="accent3" accent4="accent4" accent5="accent5" accent6="accent6" hlink="hlink" folHlink="folHlink"/>
  </p:clrMapOvr>
  <p:hf sldNum="0" hdr="0" ftr="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41735" y="5733255"/>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270258" y="5737641"/>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003572" y="5737641"/>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736413" y="5733156"/>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7469253" y="5733156"/>
            <a:ext cx="1576188" cy="504056"/>
          </a:xfrm>
          <a:prstGeom prst="rect">
            <a:avLst/>
          </a:prstGeom>
          <a:solidFill>
            <a:srgbClr val="E6E7E7"/>
          </a:solidFill>
        </p:spPr>
        <p:txBody>
          <a:bodyPr anchor="ctr">
            <a:noAutofit/>
          </a:bodyPr>
          <a:lstStyle>
            <a:lvl1pPr algn="ctr">
              <a:lnSpc>
                <a:spcPts val="1138"/>
              </a:lnSpc>
              <a:spcBef>
                <a:spcPts val="0"/>
              </a:spcBef>
              <a:spcAft>
                <a:spcPts val="0"/>
              </a:spcAft>
              <a:defRPr sz="975" b="0"/>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963779" y="1958081"/>
            <a:ext cx="1170130" cy="1152128"/>
          </a:xfrm>
          <a:prstGeom prst="rect">
            <a:avLst/>
          </a:prstGeom>
          <a:solidFill>
            <a:srgbClr val="0070AD"/>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5187026" y="3428999"/>
            <a:ext cx="117013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916832" y="1916832"/>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5149476" y="3389316"/>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82328" y="3389316"/>
            <a:ext cx="407233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717716" y="3711981"/>
            <a:ext cx="1007297" cy="432426"/>
          </a:xfrm>
          <a:prstGeom prst="rect">
            <a:avLst/>
          </a:prstGeom>
          <a:noFill/>
        </p:spPr>
        <p:txBody>
          <a:bodyPr wrap="square" rtlCol="0">
            <a:spAutoFit/>
          </a:bodyPr>
          <a:lstStyle/>
          <a:p>
            <a:pPr algn="r">
              <a:lnSpc>
                <a:spcPct val="85000"/>
              </a:lnSpc>
            </a:pPr>
            <a:r>
              <a:rPr lang="en-US" sz="13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p:nvCxnSpPr>
        <p:spPr>
          <a:xfrm>
            <a:off x="354884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p:nvCxnSpPr>
        <p:spPr>
          <a:xfrm>
            <a:off x="5772091"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p:nvCxnSpPr>
        <p:spPr>
          <a:xfrm>
            <a:off x="4777481" y="4004369"/>
            <a:ext cx="351039"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p:nvCxnSpPr>
        <p:spPr>
          <a:xfrm>
            <a:off x="2203195"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p:nvCxnSpPr>
        <p:spPr>
          <a:xfrm>
            <a:off x="1310119" y="5226817"/>
            <a:ext cx="697775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p:nvCxnSpPr>
        <p:spPr>
          <a:xfrm>
            <a:off x="132574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p:nvCxnSpPr>
        <p:spPr>
          <a:xfrm>
            <a:off x="3058589"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p:nvCxnSpPr>
        <p:spPr>
          <a:xfrm>
            <a:off x="4791430"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p:nvCxnSpPr>
        <p:spPr>
          <a:xfrm>
            <a:off x="6524270"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p:nvCxnSpPr>
        <p:spPr>
          <a:xfrm>
            <a:off x="8270654"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4190474" y="2091773"/>
            <a:ext cx="2693241"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943372" y="3564257"/>
            <a:ext cx="2693241"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6416005" y="3564257"/>
            <a:ext cx="2693241" cy="880224"/>
          </a:xfrm>
          <a:prstGeom prst="rect">
            <a:avLst/>
          </a:prstGeom>
        </p:spPr>
        <p:txBody>
          <a:bodyPr>
            <a:noAutofit/>
          </a:bodyPr>
          <a:lstStyle>
            <a:lvl1pPr>
              <a:lnSpc>
                <a:spcPts val="1138"/>
              </a:lnSpc>
              <a:spcBef>
                <a:spcPts val="0"/>
              </a:spcBef>
              <a:spcAft>
                <a:spcPts val="0"/>
              </a:spcAft>
              <a:defRPr sz="975"/>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715864" y="3428106"/>
            <a:ext cx="1170130" cy="1152128"/>
          </a:xfrm>
          <a:prstGeom prst="rect">
            <a:avLst/>
          </a:prstGeom>
          <a:solidFill>
            <a:srgbClr val="12ABDB"/>
          </a:solidFill>
        </p:spPr>
        <p:txBody>
          <a:bodyPr rIns="0" anchor="ctr">
            <a:noAutofit/>
          </a:bodyPr>
          <a:lstStyle>
            <a:lvl1pPr algn="ctr">
              <a:lnSpc>
                <a:spcPts val="1463"/>
              </a:lnSpc>
              <a:spcBef>
                <a:spcPts val="0"/>
              </a:spcBef>
              <a:spcAft>
                <a:spcPts val="0"/>
              </a:spcAft>
              <a:defRPr sz="1300" b="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2438"/>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p:nvSpPr>
        <p:spPr>
          <a:xfrm>
            <a:off x="9440900"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p:nvSpPr>
        <p:spPr>
          <a:xfrm>
            <a:off x="331491" y="6555971"/>
            <a:ext cx="2298568" cy="219456"/>
          </a:xfrm>
          <a:prstGeom prst="rect">
            <a:avLst/>
          </a:prstGeom>
        </p:spPr>
        <p:txBody>
          <a:bodyPr wrap="square" lIns="0" tIns="0" rIns="0" bIns="0" anchor="ctr" anchorCtr="0">
            <a:noAutofit/>
          </a:bodyPr>
          <a:lstStyle/>
          <a:p>
            <a:pPr lvl="0" algn="l" defTabSz="742950">
              <a:lnSpc>
                <a:spcPct val="85000"/>
              </a:lnSpc>
              <a:defRPr/>
            </a:pPr>
            <a:r>
              <a:rPr lang="en-US" sz="65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pPr algn="l"/>
            <a:r>
              <a:rPr lang="en-US" sz="65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15417568"/>
      </p:ext>
    </p:extLst>
  </p:cSld>
  <p:clrMapOvr>
    <a:overrideClrMapping bg1="lt1" tx1="dk1" bg2="lt2" tx2="dk2" accent1="accent1" accent2="accent2" accent3="accent3" accent4="accent4" accent5="accent5" accent6="accent6" hlink="hlink" folHlink="folHlink"/>
  </p:clrMapOvr>
  <p:hf sldNum="0" hdr="0" ftr="0"/>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380048-2DB8-46B7-AF04-F3ACAA5142B0}"/>
              </a:ext>
            </a:extLst>
          </p:cNvPr>
          <p:cNvSpPr>
            <a:spLocks noGrp="1"/>
          </p:cNvSpPr>
          <p:nvPr>
            <p:ph type="title"/>
          </p:nvPr>
        </p:nvSpPr>
        <p:spPr/>
        <p:txBody>
          <a:bodyPr/>
          <a:lstStyle/>
          <a:p>
            <a:r>
              <a:rPr lang="en-US" smtClean="0"/>
              <a:t>Click to edit Master title style</a:t>
            </a:r>
            <a:endParaRPr lang="en-US"/>
          </a:p>
        </p:txBody>
      </p:sp>
      <p:sp>
        <p:nvSpPr>
          <p:cNvPr id="3" name="Content Placeholder 2">
            <a:extLst>
              <a:ext uri="{FF2B5EF4-FFF2-40B4-BE49-F238E27FC236}">
                <a16:creationId xmlns="" xmlns:a16="http://schemas.microsoft.com/office/drawing/2014/main" id="{FB61F5A3-74BD-4830-A7D6-DE40C9CA0DA8}"/>
              </a:ext>
            </a:extLst>
          </p:cNvPr>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a:extLst>
              <a:ext uri="{FF2B5EF4-FFF2-40B4-BE49-F238E27FC236}">
                <a16:creationId xmlns="" xmlns:a16="http://schemas.microsoft.com/office/drawing/2014/main" id="{5C8B6185-4451-4F5C-95CC-9818044320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746A123F-5441-4D29-A8D9-4B2885847A7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E51D83F-6199-40AD-8A08-7CF0BB171C93}"/>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776955705"/>
      </p:ext>
    </p:extLst>
  </p:cSld>
  <p:clrMapOvr>
    <a:masterClrMapping/>
  </p:clrMapOvr>
  <p:hf sldNum="0" hdr="0" ftr="0"/>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FFA4E53-AFD8-46FE-94B0-9AF637B41007}"/>
              </a:ext>
            </a:extLst>
          </p:cNvPr>
          <p:cNvSpPr>
            <a:spLocks noGrp="1"/>
          </p:cNvSpPr>
          <p:nvPr>
            <p:ph type="title"/>
          </p:nvPr>
        </p:nvSpPr>
        <p:spPr/>
        <p:txBody>
          <a:bodyPr/>
          <a:lstStyle/>
          <a:p>
            <a:r>
              <a:rPr lang="en-US" smtClean="0"/>
              <a:t>Click to edit Master title style</a:t>
            </a:r>
            <a:endParaRPr lang="en-US"/>
          </a:p>
        </p:txBody>
      </p:sp>
      <p:sp>
        <p:nvSpPr>
          <p:cNvPr id="3" name="Date Placeholder 2">
            <a:extLst>
              <a:ext uri="{FF2B5EF4-FFF2-40B4-BE49-F238E27FC236}">
                <a16:creationId xmlns="" xmlns:a16="http://schemas.microsoft.com/office/drawing/2014/main" id="{2B999288-9E03-4B44-8C96-B48B1E31395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 xmlns:a16="http://schemas.microsoft.com/office/drawing/2014/main" id="{FC68DFDF-B6FA-4CCB-AFF0-E1E15D8F9B5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C475D360-C92B-4FAF-921E-A3A009A76ECC}"/>
              </a:ext>
            </a:extLst>
          </p:cNvPr>
          <p:cNvSpPr>
            <a:spLocks noGrp="1"/>
          </p:cNvSpPr>
          <p:nvPr>
            <p:ph type="sldNum" sz="quarter" idx="12"/>
          </p:nvPr>
        </p:nvSpPr>
        <p:spPr/>
        <p:txBody>
          <a:bodyPr/>
          <a:lstStyle/>
          <a:p>
            <a:fld id="{64454EE8-B39C-4B5F-9538-289AA0133854}" type="slidenum">
              <a:rPr lang="en-US" smtClean="0"/>
              <a:t>‹#›</a:t>
            </a:fld>
            <a:endParaRPr lang="en-US"/>
          </a:p>
        </p:txBody>
      </p:sp>
    </p:spTree>
    <p:extLst>
      <p:ext uri="{BB962C8B-B14F-4D97-AF65-F5344CB8AC3E}">
        <p14:creationId xmlns:p14="http://schemas.microsoft.com/office/powerpoint/2010/main" val="11835098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Content Mas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71"/>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5375016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81038" y="6356351"/>
            <a:ext cx="2228850" cy="365125"/>
          </a:xfrm>
          <a:prstGeom prst="rect">
            <a:avLst/>
          </a:prstGeom>
        </p:spPr>
        <p:txBody>
          <a:bodyPr/>
          <a:lstStyle/>
          <a:p>
            <a:fld id="{5BD49BD5-2022-4853-8DF9-B76C5BC11CBE}" type="datetimeFigureOut">
              <a:rPr lang="en-US" smtClean="0"/>
              <a:t>5/28/2019</a:t>
            </a:fld>
            <a:endParaRPr lang="en-US"/>
          </a:p>
        </p:txBody>
      </p:sp>
      <p:sp>
        <p:nvSpPr>
          <p:cNvPr id="3" name="Footer Placeholder 2"/>
          <p:cNvSpPr>
            <a:spLocks noGrp="1"/>
          </p:cNvSpPr>
          <p:nvPr>
            <p:ph type="ftr" sz="quarter" idx="11"/>
          </p:nvPr>
        </p:nvSpPr>
        <p:spPr>
          <a:xfrm>
            <a:off x="3281363" y="6356351"/>
            <a:ext cx="3343275"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996113" y="6356351"/>
            <a:ext cx="2228850" cy="365125"/>
          </a:xfrm>
          <a:prstGeom prst="rect">
            <a:avLst/>
          </a:prstGeom>
        </p:spPr>
        <p:txBody>
          <a:bodyPr/>
          <a:lstStyle/>
          <a:p>
            <a:fld id="{F44602B9-F845-458C-852E-4309C74AC9A8}" type="slidenum">
              <a:rPr lang="en-US" smtClean="0"/>
              <a:t>‹#›</a:t>
            </a:fld>
            <a:endParaRPr lang="en-US"/>
          </a:p>
        </p:txBody>
      </p:sp>
    </p:spTree>
    <p:extLst>
      <p:ext uri="{BB962C8B-B14F-4D97-AF65-F5344CB8AC3E}">
        <p14:creationId xmlns:p14="http://schemas.microsoft.com/office/powerpoint/2010/main" val="38239172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3587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title"/>
          </p:nvPr>
        </p:nvSpPr>
        <p:spPr>
          <a:xfrm>
            <a:off x="184721" y="0"/>
            <a:ext cx="9039254"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916500" y="12267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3"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916500" y="1912986"/>
            <a:ext cx="3013076" cy="555448"/>
          </a:xfrm>
          <a:prstGeom prst="rect">
            <a:avLst/>
          </a:prstGeom>
        </p:spPr>
        <p:txBody>
          <a:bodyPr anchor="ctr">
            <a:noAutofit/>
          </a:bodyPr>
          <a:lstStyle>
            <a:lvl1pPr marL="0" marR="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marL="0" marR="0" lvl="0" indent="0" algn="l" defTabSz="742950" rtl="0" eaLnBrk="1" fontAlgn="auto" latinLnBrk="0" hangingPunct="1">
              <a:lnSpc>
                <a:spcPct val="100000"/>
              </a:lnSpc>
              <a:spcBef>
                <a:spcPts val="813"/>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916500" y="25934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5"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916500" y="327678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6"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916500" y="39601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7"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916500" y="464788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8"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916500" y="5326838"/>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19"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916500" y="6008372"/>
            <a:ext cx="3013076" cy="555448"/>
          </a:xfrm>
          <a:prstGeom prst="rect">
            <a:avLst/>
          </a:prstGeom>
        </p:spPr>
        <p:txBody>
          <a:bodyPr anchor="ctr">
            <a:noAutofit/>
          </a:bodyPr>
          <a:lstStyle>
            <a:lvl1pPr>
              <a:lnSpc>
                <a:spcPct val="100000"/>
              </a:lnSpc>
              <a:defRPr sz="1056"/>
            </a:lvl1pPr>
            <a:lvl2pPr>
              <a:lnSpc>
                <a:spcPct val="100000"/>
              </a:lnSpc>
              <a:defRPr sz="1138"/>
            </a:lvl2pPr>
            <a:lvl3pPr>
              <a:lnSpc>
                <a:spcPct val="100000"/>
              </a:lnSpc>
              <a:defRPr sz="1138"/>
            </a:lvl3pPr>
            <a:lvl4pPr>
              <a:lnSpc>
                <a:spcPct val="100000"/>
              </a:lnSpc>
              <a:defRPr sz="1138"/>
            </a:lvl4pPr>
            <a:lvl5pPr>
              <a:lnSpc>
                <a:spcPct val="100000"/>
              </a:lnSpc>
              <a:defRPr sz="1138"/>
            </a:lvl5pPr>
          </a:lstStyle>
          <a:p>
            <a:pPr lvl="0"/>
            <a:r>
              <a:rPr lang="en-US" dirty="0"/>
              <a:t>Click to insert text</a:t>
            </a:r>
          </a:p>
        </p:txBody>
      </p:sp>
      <p:sp>
        <p:nvSpPr>
          <p:cNvPr id="3" name="Round Single Corner Rectangle 2"/>
          <p:cNvSpPr/>
          <p:nvPr/>
        </p:nvSpPr>
        <p:spPr>
          <a:xfrm>
            <a:off x="9106500" y="0"/>
            <a:ext cx="702000" cy="693000"/>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Tree>
    <p:extLst>
      <p:ext uri="{BB962C8B-B14F-4D97-AF65-F5344CB8AC3E}">
        <p14:creationId xmlns:p14="http://schemas.microsoft.com/office/powerpoint/2010/main" val="14843186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r="23077" b="19676"/>
          <a:stretch/>
        </p:blipFill>
        <p:spPr>
          <a:xfrm rot="16200000">
            <a:off x="3755153" y="707148"/>
            <a:ext cx="6857997" cy="5443700"/>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501117" y="2708920"/>
            <a:ext cx="2691299" cy="720080"/>
          </a:xfrm>
          <a:prstGeom prst="rect">
            <a:avLst/>
          </a:prstGeom>
        </p:spPr>
        <p:txBody>
          <a:bodyPr anchor="ctr">
            <a:noAutofit/>
          </a:bodyPr>
          <a:lstStyle>
            <a:lvl1pPr marL="0" marR="0" indent="0" algn="l" defTabSz="603647" rtl="0" eaLnBrk="1" fontAlgn="auto" latinLnBrk="0" hangingPunct="1">
              <a:lnSpc>
                <a:spcPct val="100000"/>
              </a:lnSpc>
              <a:spcBef>
                <a:spcPts val="661"/>
              </a:spcBef>
              <a:spcAft>
                <a:spcPts val="0"/>
              </a:spcAft>
              <a:buClrTx/>
              <a:buSzTx/>
              <a:buFont typeface="Arial" panose="020B0604020202020204" pitchFamily="34" charset="0"/>
              <a:buNone/>
              <a:tabLst/>
              <a:defRPr sz="1056"/>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marL="0" marR="0" lvl="0" indent="0" algn="l" defTabSz="603647" rtl="0" eaLnBrk="1" fontAlgn="auto" latinLnBrk="0" hangingPunct="1">
              <a:lnSpc>
                <a:spcPct val="100000"/>
              </a:lnSpc>
              <a:spcBef>
                <a:spcPts val="661"/>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501117" y="3645024"/>
            <a:ext cx="2691299" cy="720080"/>
          </a:xfrm>
          <a:prstGeom prst="rect">
            <a:avLst/>
          </a:prstGeom>
        </p:spPr>
        <p:txBody>
          <a:bodyPr anchor="ctr">
            <a:noAutofit/>
          </a:bodyPr>
          <a:lstStyle>
            <a:lvl1pPr marL="0" marR="0" indent="0" algn="l" defTabSz="603647" rtl="0" eaLnBrk="1" fontAlgn="auto" latinLnBrk="0" hangingPunct="1">
              <a:lnSpc>
                <a:spcPct val="100000"/>
              </a:lnSpc>
              <a:spcBef>
                <a:spcPts val="661"/>
              </a:spcBef>
              <a:spcAft>
                <a:spcPts val="0"/>
              </a:spcAft>
              <a:buClrTx/>
              <a:buSzTx/>
              <a:buFont typeface="Arial" panose="020B0604020202020204" pitchFamily="34" charset="0"/>
              <a:buNone/>
              <a:tabLst/>
              <a:defRPr sz="1056"/>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marL="0" marR="0" lvl="0" indent="0" algn="l" defTabSz="603647" rtl="0" eaLnBrk="1" fontAlgn="auto" latinLnBrk="0" hangingPunct="1">
              <a:lnSpc>
                <a:spcPct val="100000"/>
              </a:lnSpc>
              <a:spcBef>
                <a:spcPts val="661"/>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5324476" y="2060578"/>
            <a:ext cx="3989487"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501117" y="4630276"/>
            <a:ext cx="2691299" cy="720080"/>
          </a:xfrm>
          <a:prstGeom prst="rect">
            <a:avLst/>
          </a:prstGeom>
        </p:spPr>
        <p:txBody>
          <a:bodyPr anchor="ctr">
            <a:noAutofit/>
          </a:bodyPr>
          <a:lstStyle>
            <a:lvl1pPr marL="0" marR="0" indent="0" algn="l" defTabSz="603647" rtl="0" eaLnBrk="1" fontAlgn="auto" latinLnBrk="0" hangingPunct="1">
              <a:lnSpc>
                <a:spcPct val="100000"/>
              </a:lnSpc>
              <a:spcBef>
                <a:spcPts val="661"/>
              </a:spcBef>
              <a:spcAft>
                <a:spcPts val="0"/>
              </a:spcAft>
              <a:buClrTx/>
              <a:buSzTx/>
              <a:buFont typeface="Arial" panose="020B0604020202020204" pitchFamily="34" charset="0"/>
              <a:buNone/>
              <a:tabLst/>
              <a:defRPr sz="1056"/>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marL="0" marR="0" lvl="0" indent="0" algn="l" defTabSz="603647" rtl="0" eaLnBrk="1" fontAlgn="auto" latinLnBrk="0" hangingPunct="1">
              <a:lnSpc>
                <a:spcPct val="100000"/>
              </a:lnSpc>
              <a:spcBef>
                <a:spcPts val="661"/>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014887"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81836" t="-4713" b="16530"/>
          <a:stretch/>
        </p:blipFill>
        <p:spPr>
          <a:xfrm>
            <a:off x="9336779" y="164829"/>
            <a:ext cx="344789"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p:nvSpPr>
        <p:spPr>
          <a:xfrm>
            <a:off x="9469755" y="6555758"/>
            <a:ext cx="301686" cy="173574"/>
          </a:xfrm>
          <a:prstGeom prst="rect">
            <a:avLst/>
          </a:prstGeom>
        </p:spPr>
        <p:txBody>
          <a:bodyPr wrap="none">
            <a:spAutoFit/>
          </a:bodyPr>
          <a:lstStyle/>
          <a:p>
            <a:pPr algn="r"/>
            <a:fld id="{0502E5A9-B53C-401E-A0E0-4A359BB0A9E5}" type="slidenum">
              <a:rPr lang="en-US" sz="528" smtClean="0">
                <a:solidFill>
                  <a:prstClr val="white"/>
                </a:solidFill>
                <a:cs typeface="Arial" panose="020B0604020202020204" pitchFamily="34" charset="0"/>
              </a:rPr>
              <a:pPr algn="r"/>
              <a:t>‹#›</a:t>
            </a:fld>
            <a:endParaRPr lang="en-US" sz="528" dirty="0">
              <a:solidFill>
                <a:prstClr val="white"/>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413498880"/>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31492" y="2204867"/>
            <a:ext cx="2940323" cy="2924629"/>
          </a:xfrm>
          <a:prstGeom prst="rect">
            <a:avLst/>
          </a:prstGeom>
        </p:spPr>
        <p:txBody>
          <a:bodyPr lIns="0" tIns="0" rIns="0" bIns="0" anchor="b">
            <a:normAutofit/>
          </a:bodyPr>
          <a:lstStyle>
            <a:lvl1pPr>
              <a:lnSpc>
                <a:spcPts val="4093"/>
              </a:lnSpc>
              <a:defRPr sz="3565">
                <a:solidFill>
                  <a:srgbClr val="2C004B"/>
                </a:solidFill>
              </a:defRPr>
            </a:lvl1pPr>
            <a:lvl2pPr marL="301823" indent="0">
              <a:lnSpc>
                <a:spcPts val="4093"/>
              </a:lnSpc>
              <a:buNone/>
              <a:defRPr sz="3565">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31492" y="5273460"/>
            <a:ext cx="2940323" cy="675820"/>
          </a:xfrm>
          <a:prstGeom prst="rect">
            <a:avLst/>
          </a:prstGeom>
        </p:spPr>
        <p:txBody>
          <a:bodyPr lIns="0" tIns="0" rIns="0" bIns="0">
            <a:normAutofit/>
          </a:bodyPr>
          <a:lstStyle>
            <a:lvl1pPr>
              <a:lnSpc>
                <a:spcPts val="1189"/>
              </a:lnSpc>
              <a:defRPr sz="1056">
                <a:solidFill>
                  <a:srgbClr val="2C004B"/>
                </a:solidFill>
              </a:defRPr>
            </a:lvl1pPr>
            <a:lvl2pPr marL="301823" indent="0">
              <a:buNone/>
              <a:defRPr sz="1189">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p:nvGrpSpPr>
        <p:grpSpPr>
          <a:xfrm>
            <a:off x="2812756" y="0"/>
            <a:ext cx="7093245"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grpSp>
      <p:sp>
        <p:nvSpPr>
          <p:cNvPr id="8" name="Retângulo 43">
            <a:extLst>
              <a:ext uri="{FF2B5EF4-FFF2-40B4-BE49-F238E27FC236}">
                <a16:creationId xmlns="" xmlns:a16="http://schemas.microsoft.com/office/drawing/2014/main" id="{834ADCB4-BFB1-450D-8F6D-64217F4CD92C}"/>
              </a:ext>
            </a:extLst>
          </p:cNvPr>
          <p:cNvSpPr/>
          <p:nvPr/>
        </p:nvSpPr>
        <p:spPr>
          <a:xfrm>
            <a:off x="7716035" y="6555758"/>
            <a:ext cx="1806745" cy="219456"/>
          </a:xfrm>
          <a:prstGeom prst="rect">
            <a:avLst/>
          </a:prstGeom>
        </p:spPr>
        <p:txBody>
          <a:bodyPr wrap="none" lIns="0" tIns="0" rIns="0" bIns="0" anchor="ctr">
            <a:noAutofit/>
          </a:bodyPr>
          <a:lstStyle/>
          <a:p>
            <a:r>
              <a:rPr lang="en-US" sz="528" dirty="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p:nvSpPr>
        <p:spPr>
          <a:xfrm>
            <a:off x="9469755" y="6555758"/>
            <a:ext cx="301686" cy="173574"/>
          </a:xfrm>
          <a:prstGeom prst="rect">
            <a:avLst/>
          </a:prstGeom>
        </p:spPr>
        <p:txBody>
          <a:bodyPr wrap="none">
            <a:spAutoFit/>
          </a:bodyPr>
          <a:lstStyle/>
          <a:p>
            <a:pPr algn="r"/>
            <a:fld id="{0502E5A9-B53C-401E-A0E0-4A359BB0A9E5}" type="slidenum">
              <a:rPr lang="en-US" sz="528" smtClean="0">
                <a:solidFill>
                  <a:prstClr val="white"/>
                </a:solidFill>
                <a:cs typeface="Arial" panose="020B0604020202020204" pitchFamily="34" charset="0"/>
              </a:rPr>
              <a:pPr algn="r"/>
              <a:t>‹#›</a:t>
            </a:fld>
            <a:endParaRPr lang="en-US" sz="528" dirty="0">
              <a:solidFill>
                <a:prstClr val="white"/>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Tree>
    <p:extLst>
      <p:ext uri="{BB962C8B-B14F-4D97-AF65-F5344CB8AC3E}">
        <p14:creationId xmlns:p14="http://schemas.microsoft.com/office/powerpoint/2010/main" val="15814035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475861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Grey">
    <p:spTree>
      <p:nvGrpSpPr>
        <p:cNvPr id="1" name=""/>
        <p:cNvGrpSpPr/>
        <p:nvPr/>
      </p:nvGrpSpPr>
      <p:grpSpPr>
        <a:xfrm>
          <a:off x="0" y="0"/>
          <a:ext cx="0" cy="0"/>
          <a:chOff x="0" y="0"/>
          <a:chExt cx="0" cy="0"/>
        </a:xfrm>
      </p:grpSpPr>
      <p:sp>
        <p:nvSpPr>
          <p:cNvPr id="6" name="Rectangle 5"/>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5">
              <a:solidFill>
                <a:prstClr val="white"/>
              </a:solidFill>
            </a:endParaRPr>
          </a:p>
        </p:txBody>
      </p:sp>
      <p:sp>
        <p:nvSpPr>
          <p:cNvPr id="3"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5940336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31490" y="1428078"/>
            <a:ext cx="4504134" cy="412363"/>
          </a:xfrm>
          <a:prstGeom prst="rect">
            <a:avLst/>
          </a:prstGeom>
          <a:noFill/>
        </p:spPr>
        <p:txBody>
          <a:bodyPr anchor="b">
            <a:noAutofit/>
          </a:bodyPr>
          <a:lstStyle>
            <a:lvl1pPr algn="l">
              <a:lnSpc>
                <a:spcPts val="1189"/>
              </a:lnSpc>
              <a:defRPr sz="1056" b="0">
                <a:solidFill>
                  <a:schemeClr val="accent2"/>
                </a:solidFill>
              </a:defRPr>
            </a:lvl1pPr>
            <a:lvl2pPr>
              <a:defRPr sz="925"/>
            </a:lvl2pPr>
            <a:lvl3pPr>
              <a:defRPr sz="792"/>
            </a:lvl3pPr>
            <a:lvl4pPr>
              <a:defRPr sz="726"/>
            </a:lvl4pPr>
            <a:lvl5pPr>
              <a:defRPr sz="726"/>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31490" y="1824707"/>
            <a:ext cx="4504134" cy="1963738"/>
          </a:xfrm>
          <a:prstGeom prst="rect">
            <a:avLst/>
          </a:prstGeom>
        </p:spPr>
        <p:txBody>
          <a:bodyPr anchor="ctr"/>
          <a:lstStyle>
            <a:lvl1pPr algn="ctr">
              <a:defRPr/>
            </a:lvl1pPr>
          </a:lstStyle>
          <a:p>
            <a:r>
              <a:rPr lang="en-US"/>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5070376" y="1824707"/>
            <a:ext cx="4504134" cy="1963738"/>
          </a:xfrm>
          <a:prstGeom prst="rect">
            <a:avLst/>
          </a:prstGeom>
        </p:spPr>
        <p:txBody>
          <a:bodyPr anchor="ctr"/>
          <a:lstStyle>
            <a:lvl1pPr algn="ctr">
              <a:defRPr/>
            </a:lvl1pPr>
          </a:lstStyle>
          <a:p>
            <a:r>
              <a:rPr lang="en-US"/>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5070376" y="1412878"/>
            <a:ext cx="4504134" cy="412363"/>
          </a:xfrm>
          <a:prstGeom prst="rect">
            <a:avLst/>
          </a:prstGeom>
          <a:noFill/>
        </p:spPr>
        <p:txBody>
          <a:bodyPr anchor="b">
            <a:noAutofit/>
          </a:bodyPr>
          <a:lstStyle>
            <a:lvl1pPr algn="l">
              <a:lnSpc>
                <a:spcPts val="1189"/>
              </a:lnSpc>
              <a:defRPr sz="1056" b="0">
                <a:solidFill>
                  <a:schemeClr val="accent2"/>
                </a:solidFill>
              </a:defRPr>
            </a:lvl1pPr>
            <a:lvl2pPr>
              <a:defRPr sz="925"/>
            </a:lvl2pPr>
            <a:lvl3pPr>
              <a:defRPr sz="792"/>
            </a:lvl3pPr>
            <a:lvl4pPr>
              <a:defRPr sz="726"/>
            </a:lvl4pPr>
            <a:lvl5pPr>
              <a:defRPr sz="726"/>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31490" y="4081450"/>
            <a:ext cx="4504134" cy="412363"/>
          </a:xfrm>
          <a:prstGeom prst="rect">
            <a:avLst/>
          </a:prstGeom>
          <a:noFill/>
        </p:spPr>
        <p:txBody>
          <a:bodyPr anchor="b">
            <a:noAutofit/>
          </a:bodyPr>
          <a:lstStyle>
            <a:lvl1pPr algn="l">
              <a:lnSpc>
                <a:spcPts val="1189"/>
              </a:lnSpc>
              <a:defRPr sz="1056" b="0">
                <a:solidFill>
                  <a:schemeClr val="accent2"/>
                </a:solidFill>
              </a:defRPr>
            </a:lvl1pPr>
            <a:lvl2pPr>
              <a:defRPr sz="925"/>
            </a:lvl2pPr>
            <a:lvl3pPr>
              <a:defRPr sz="792"/>
            </a:lvl3pPr>
            <a:lvl4pPr>
              <a:defRPr sz="726"/>
            </a:lvl4pPr>
            <a:lvl5pPr>
              <a:defRPr sz="726"/>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31490" y="4478079"/>
            <a:ext cx="4504134" cy="1963738"/>
          </a:xfrm>
          <a:prstGeom prst="rect">
            <a:avLst/>
          </a:prstGeom>
        </p:spPr>
        <p:txBody>
          <a:bodyPr anchor="ctr"/>
          <a:lstStyle>
            <a:lvl1pPr algn="ctr">
              <a:defRPr/>
            </a:lvl1pPr>
          </a:lstStyle>
          <a:p>
            <a:r>
              <a:rPr lang="en-US"/>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5070376" y="4478079"/>
            <a:ext cx="4504134" cy="1963738"/>
          </a:xfrm>
          <a:prstGeom prst="rect">
            <a:avLst/>
          </a:prstGeom>
        </p:spPr>
        <p:txBody>
          <a:bodyPr anchor="ctr"/>
          <a:lstStyle>
            <a:lvl1pPr algn="ctr">
              <a:defRPr/>
            </a:lvl1pPr>
          </a:lstStyle>
          <a:p>
            <a:r>
              <a:rPr lang="en-US"/>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5070376" y="4066250"/>
            <a:ext cx="4504134" cy="412363"/>
          </a:xfrm>
          <a:prstGeom prst="rect">
            <a:avLst/>
          </a:prstGeom>
          <a:noFill/>
        </p:spPr>
        <p:txBody>
          <a:bodyPr anchor="b">
            <a:noAutofit/>
          </a:bodyPr>
          <a:lstStyle>
            <a:lvl1pPr algn="l">
              <a:lnSpc>
                <a:spcPts val="1189"/>
              </a:lnSpc>
              <a:defRPr sz="1056" b="0">
                <a:solidFill>
                  <a:schemeClr val="accent2"/>
                </a:solidFill>
              </a:defRPr>
            </a:lvl1pPr>
            <a:lvl2pPr>
              <a:defRPr sz="925"/>
            </a:lvl2pPr>
            <a:lvl3pPr>
              <a:defRPr sz="792"/>
            </a:lvl3pPr>
            <a:lvl4pPr>
              <a:defRPr sz="726"/>
            </a:lvl4pPr>
            <a:lvl5pPr>
              <a:defRPr sz="726"/>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308828499"/>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p:nvPicPr>
        <p:blipFill>
          <a:blip r:embed="rId2">
            <a:extLst>
              <a:ext uri="{96DAC541-7B7A-43D3-8B79-37D633B846F1}">
                <asvg:svgBlip xmlns="" xmlns:asvg="http://schemas.microsoft.com/office/drawing/2016/SVG/main" r:embed="rId3"/>
              </a:ext>
            </a:extLst>
          </a:blip>
          <a:srcRect b="25000"/>
          <a:stretch>
            <a:fillRect/>
          </a:stretch>
        </p:blipFill>
        <p:spPr>
          <a:xfrm>
            <a:off x="1" y="1485900"/>
            <a:ext cx="5218767"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561435" y="1268413"/>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561435" y="1927538"/>
            <a:ext cx="3013076" cy="555448"/>
          </a:xfrm>
          <a:prstGeom prst="rect">
            <a:avLst/>
          </a:prstGeom>
        </p:spPr>
        <p:txBody>
          <a:bodyPr anchor="ctr">
            <a:noAutofit/>
          </a:bodyPr>
          <a:lstStyle>
            <a:lvl1pPr marL="0" marR="0" indent="0" algn="l" defTabSz="603647" rtl="0" eaLnBrk="1" fontAlgn="auto" latinLnBrk="0" hangingPunct="1">
              <a:lnSpc>
                <a:spcPts val="1056"/>
              </a:lnSpc>
              <a:spcBef>
                <a:spcPts val="0"/>
              </a:spcBef>
              <a:spcAft>
                <a:spcPts val="397"/>
              </a:spcAft>
              <a:buClrTx/>
              <a:buSzTx/>
              <a:buFont typeface="Arial" panose="020B0604020202020204" pitchFamily="34" charset="0"/>
              <a:buNone/>
              <a:tabLs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marL="0" marR="0" lvl="0" indent="0" algn="l" defTabSz="603647" rtl="0" eaLnBrk="1" fontAlgn="auto" latinLnBrk="0" hangingPunct="1">
              <a:lnSpc>
                <a:spcPct val="100000"/>
              </a:lnSpc>
              <a:spcBef>
                <a:spcPts val="661"/>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561435" y="2586663"/>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561435" y="3245788"/>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561435" y="3904913"/>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561435" y="4564038"/>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561435" y="5223163"/>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561435" y="5882286"/>
            <a:ext cx="3013076" cy="555448"/>
          </a:xfrm>
          <a:prstGeom prst="rect">
            <a:avLst/>
          </a:prstGeom>
        </p:spPr>
        <p:txBody>
          <a:bodyPr anchor="ctr">
            <a:noAutofit/>
          </a:bodyPr>
          <a:lstStyle>
            <a:lvl1pPr>
              <a:lnSpc>
                <a:spcPts val="1056"/>
              </a:lnSpc>
              <a:spcBef>
                <a:spcPts val="0"/>
              </a:spcBef>
              <a:spcAft>
                <a:spcPts val="397"/>
              </a:spcAft>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1" y="1381126"/>
            <a:ext cx="6089353" cy="5476875"/>
          </a:xfrm>
          <a:prstGeom prst="rect">
            <a:avLst/>
          </a:prstGeom>
        </p:spPr>
        <p:txBody>
          <a:bodyPr anchor="ctr"/>
          <a:lstStyle>
            <a:lvl1pPr algn="ctr">
              <a:defRPr/>
            </a:lvl1pPr>
          </a:lstStyle>
          <a:p>
            <a:r>
              <a:rPr lang="en-US"/>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1981"/>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29862943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p:nvSpPr>
        <p:spPr>
          <a:xfrm>
            <a:off x="4509474" y="732977"/>
            <a:ext cx="5396526"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661318" y="3913792"/>
            <a:ext cx="2432982" cy="894840"/>
          </a:xfrm>
          <a:prstGeom prst="rect">
            <a:avLst/>
          </a:prstGeom>
        </p:spPr>
        <p:txBody>
          <a:bodyPr anchor="ctr">
            <a:noAutofit/>
          </a:bodyPr>
          <a:lstStyle>
            <a:lvl1pPr>
              <a:lnSpc>
                <a:spcPts val="1056"/>
              </a:lnSpc>
              <a:defRPr sz="925"/>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661318" y="5111406"/>
            <a:ext cx="2432982" cy="894840"/>
          </a:xfrm>
          <a:prstGeom prst="rect">
            <a:avLst/>
          </a:prstGeom>
        </p:spPr>
        <p:txBody>
          <a:bodyPr anchor="ctr">
            <a:noAutofit/>
          </a:bodyPr>
          <a:lstStyle>
            <a:lvl1pPr>
              <a:lnSpc>
                <a:spcPts val="1056"/>
              </a:lnSpc>
              <a:defRPr sz="925"/>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31490" y="1413990"/>
            <a:ext cx="5117039" cy="894840"/>
          </a:xfrm>
          <a:prstGeom prst="rect">
            <a:avLst/>
          </a:prstGeom>
        </p:spPr>
        <p:txBody>
          <a:bodyPr>
            <a:noAutofit/>
          </a:bodyPr>
          <a:lstStyle>
            <a:lvl1pPr>
              <a:lnSpc>
                <a:spcPts val="1453"/>
              </a:lnSpc>
              <a:defRPr sz="1189"/>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661318" y="2611604"/>
            <a:ext cx="2432982" cy="894840"/>
          </a:xfrm>
          <a:prstGeom prst="rect">
            <a:avLst/>
          </a:prstGeom>
        </p:spPr>
        <p:txBody>
          <a:bodyPr anchor="ctr">
            <a:noAutofit/>
          </a:bodyPr>
          <a:lstStyle>
            <a:lvl1pPr>
              <a:lnSpc>
                <a:spcPts val="1056"/>
              </a:lnSpc>
              <a:defRPr sz="925"/>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6006117" y="5276724"/>
            <a:ext cx="3568394" cy="729525"/>
          </a:xfrm>
          <a:prstGeom prst="rect">
            <a:avLst/>
          </a:prstGeom>
        </p:spPr>
        <p:txBody>
          <a:bodyPr>
            <a:noAutofit/>
          </a:bodyPr>
          <a:lstStyle>
            <a:lvl1pPr algn="r">
              <a:lnSpc>
                <a:spcPts val="1189"/>
              </a:lnSpc>
              <a:defRPr sz="1056">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6006117" y="4140767"/>
            <a:ext cx="3568394" cy="974725"/>
          </a:xfrm>
          <a:prstGeom prst="rect">
            <a:avLst/>
          </a:prstGeom>
        </p:spPr>
        <p:txBody>
          <a:bodyPr anchor="b">
            <a:noAutofit/>
          </a:bodyPr>
          <a:lstStyle>
            <a:lvl1pPr algn="r">
              <a:lnSpc>
                <a:spcPts val="1981"/>
              </a:lnSpc>
              <a:defRPr sz="1717">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1981"/>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p:nvSpPr>
        <p:spPr>
          <a:xfrm>
            <a:off x="9469755" y="6555758"/>
            <a:ext cx="301686" cy="173574"/>
          </a:xfrm>
          <a:prstGeom prst="rect">
            <a:avLst/>
          </a:prstGeom>
        </p:spPr>
        <p:txBody>
          <a:bodyPr wrap="none">
            <a:spAutoFit/>
          </a:bodyPr>
          <a:lstStyle/>
          <a:p>
            <a:pPr algn="r"/>
            <a:fld id="{0502E5A9-B53C-401E-A0E0-4A359BB0A9E5}" type="slidenum">
              <a:rPr lang="en-US" sz="528" smtClean="0">
                <a:solidFill>
                  <a:prstClr val="white"/>
                </a:solidFill>
                <a:cs typeface="Arial" panose="020B0604020202020204" pitchFamily="34" charset="0"/>
              </a:rPr>
              <a:pPr algn="r"/>
              <a:t>‹#›</a:t>
            </a:fld>
            <a:endParaRPr lang="en-US" sz="528" dirty="0">
              <a:solidFill>
                <a:prstClr val="white"/>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1310099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a:off x="0" y="2698314"/>
            <a:ext cx="5087990"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dirty="0">
              <a:solidFill>
                <a:prstClr val="white"/>
              </a:solidFill>
            </a:endParaRPr>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7122776" y="1370347"/>
            <a:ext cx="2451735" cy="4684811"/>
          </a:xfrm>
          <a:prstGeom prst="rect">
            <a:avLst/>
          </a:prstGeom>
        </p:spPr>
        <p:txBody>
          <a:bodyPr>
            <a:noAutofit/>
          </a:bodyPr>
          <a:lstStyle>
            <a:lvl1pPr marL="188640" marR="0" indent="-188640" algn="l" defTabSz="603647" rtl="0" eaLnBrk="1" fontAlgn="auto" latinLnBrk="0" hangingPunct="1">
              <a:lnSpc>
                <a:spcPct val="90000"/>
              </a:lnSpc>
              <a:spcBef>
                <a:spcPts val="661"/>
              </a:spcBef>
              <a:spcAft>
                <a:spcPts val="0"/>
              </a:spcAft>
              <a:buClr>
                <a:schemeClr val="accent5"/>
              </a:buClr>
              <a:buSzTx/>
              <a:buFont typeface="Wingdings" panose="05000000000000000000" pitchFamily="2" charset="2"/>
              <a:buChar char="§"/>
              <a:tabLst/>
              <a:defRPr sz="925"/>
            </a:lvl1pPr>
          </a:lstStyle>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dirty="0"/>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dirty="0"/>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dirty="0"/>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7122776" y="948202"/>
            <a:ext cx="2451735" cy="412363"/>
          </a:xfrm>
          <a:prstGeom prst="rect">
            <a:avLst/>
          </a:prstGeom>
          <a:noFill/>
        </p:spPr>
        <p:txBody>
          <a:bodyPr anchor="ctr">
            <a:normAutofit/>
          </a:bodyPr>
          <a:lstStyle>
            <a:lvl1pPr algn="l">
              <a:defRPr sz="1056" b="1">
                <a:solidFill>
                  <a:srgbClr val="12ABDB"/>
                </a:solidFill>
              </a:defRPr>
            </a:lvl1pPr>
            <a:lvl2pPr>
              <a:defRPr sz="925"/>
            </a:lvl2pPr>
            <a:lvl3pPr>
              <a:defRPr sz="792"/>
            </a:lvl3pPr>
            <a:lvl4pPr>
              <a:defRPr sz="726"/>
            </a:lvl4pPr>
            <a:lvl5pPr>
              <a:defRPr sz="726"/>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384167" y="948202"/>
            <a:ext cx="2451735" cy="412363"/>
          </a:xfrm>
          <a:prstGeom prst="rect">
            <a:avLst/>
          </a:prstGeom>
          <a:noFill/>
        </p:spPr>
        <p:txBody>
          <a:bodyPr anchor="ctr">
            <a:normAutofit/>
          </a:bodyPr>
          <a:lstStyle>
            <a:lvl1pPr algn="l">
              <a:defRPr sz="1056" b="1">
                <a:solidFill>
                  <a:srgbClr val="12ABDB"/>
                </a:solidFill>
              </a:defRPr>
            </a:lvl1pPr>
            <a:lvl2pPr>
              <a:defRPr sz="925"/>
            </a:lvl2pPr>
            <a:lvl3pPr>
              <a:defRPr sz="792"/>
            </a:lvl3pPr>
            <a:lvl4pPr>
              <a:defRPr sz="726"/>
            </a:lvl4pPr>
            <a:lvl5pPr>
              <a:defRPr sz="726"/>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636293" y="4963915"/>
            <a:ext cx="2678526" cy="331986"/>
          </a:xfrm>
          <a:prstGeom prst="rect">
            <a:avLst/>
          </a:prstGeom>
          <a:noFill/>
        </p:spPr>
        <p:txBody>
          <a:bodyPr anchor="ctr">
            <a:noAutofit/>
          </a:bodyPr>
          <a:lstStyle>
            <a:lvl1pPr algn="l">
              <a:defRPr sz="1056" b="1">
                <a:solidFill>
                  <a:schemeClr val="bg1"/>
                </a:solidFill>
              </a:defRPr>
            </a:lvl1pPr>
            <a:lvl2pPr>
              <a:defRPr sz="925"/>
            </a:lvl2pPr>
            <a:lvl3pPr>
              <a:defRPr sz="792"/>
            </a:lvl3pPr>
            <a:lvl4pPr>
              <a:defRPr sz="726"/>
            </a:lvl4pPr>
            <a:lvl5pPr>
              <a:defRPr sz="726"/>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636293" y="3601842"/>
            <a:ext cx="2678526" cy="412363"/>
          </a:xfrm>
          <a:prstGeom prst="rect">
            <a:avLst/>
          </a:prstGeom>
          <a:noFill/>
        </p:spPr>
        <p:txBody>
          <a:bodyPr anchor="ctr">
            <a:noAutofit/>
          </a:bodyPr>
          <a:lstStyle>
            <a:lvl1pPr algn="l">
              <a:spcAft>
                <a:spcPts val="0"/>
              </a:spcAft>
              <a:defRPr sz="1189" b="1">
                <a:solidFill>
                  <a:schemeClr val="bg1"/>
                </a:solidFill>
              </a:defRPr>
            </a:lvl1pPr>
            <a:lvl2pPr>
              <a:defRPr sz="925"/>
            </a:lvl2pPr>
            <a:lvl3pPr>
              <a:defRPr sz="792"/>
            </a:lvl3pPr>
            <a:lvl4pPr>
              <a:defRPr sz="726"/>
            </a:lvl4pPr>
            <a:lvl5pPr>
              <a:defRPr sz="726"/>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635442" y="4029586"/>
            <a:ext cx="2684617" cy="894840"/>
          </a:xfrm>
          <a:prstGeom prst="rect">
            <a:avLst/>
          </a:prstGeom>
        </p:spPr>
        <p:txBody>
          <a:bodyPr>
            <a:noAutofit/>
          </a:bodyPr>
          <a:lstStyle>
            <a:lvl1pPr>
              <a:lnSpc>
                <a:spcPct val="100000"/>
              </a:lnSpc>
              <a:defRPr sz="925">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635442" y="5286886"/>
            <a:ext cx="2679377" cy="713864"/>
          </a:xfrm>
          <a:prstGeom prst="rect">
            <a:avLst/>
          </a:prstGeom>
        </p:spPr>
        <p:txBody>
          <a:bodyPr>
            <a:noAutofit/>
          </a:bodyPr>
          <a:lstStyle>
            <a:lvl1pPr>
              <a:lnSpc>
                <a:spcPct val="100000"/>
              </a:lnSpc>
              <a:defRPr sz="925">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925"/>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382441" y="1370346"/>
            <a:ext cx="2451735" cy="1951038"/>
          </a:xfrm>
          <a:prstGeom prst="rect">
            <a:avLst/>
          </a:prstGeom>
        </p:spPr>
        <p:txBody>
          <a:bodyPr>
            <a:noAutofit/>
          </a:bodyPr>
          <a:lstStyle>
            <a:lvl1pPr marL="154056" marR="0" indent="-154056" algn="l" defTabSz="603647" rtl="0" eaLnBrk="1" fontAlgn="auto" latinLnBrk="0" hangingPunct="1">
              <a:lnSpc>
                <a:spcPct val="90000"/>
              </a:lnSpc>
              <a:spcBef>
                <a:spcPts val="661"/>
              </a:spcBef>
              <a:spcAft>
                <a:spcPts val="0"/>
              </a:spcAft>
              <a:buClr>
                <a:schemeClr val="accent5"/>
              </a:buClr>
              <a:buSzTx/>
              <a:buFont typeface="Wingdings" panose="05000000000000000000" pitchFamily="2" charset="2"/>
              <a:buChar char="§"/>
              <a:tabLst/>
              <a:defRPr sz="925"/>
            </a:lvl1pPr>
          </a:lstStyle>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dirty="0"/>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dirty="0"/>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dirty="0"/>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393104" y="3683544"/>
            <a:ext cx="2451735" cy="412363"/>
          </a:xfrm>
          <a:prstGeom prst="rect">
            <a:avLst/>
          </a:prstGeom>
          <a:noFill/>
        </p:spPr>
        <p:txBody>
          <a:bodyPr anchor="ctr">
            <a:normAutofit/>
          </a:bodyPr>
          <a:lstStyle>
            <a:lvl1pPr algn="l">
              <a:defRPr sz="1056" b="1">
                <a:solidFill>
                  <a:srgbClr val="12ABDB"/>
                </a:solidFill>
              </a:defRPr>
            </a:lvl1pPr>
            <a:lvl2pPr>
              <a:defRPr sz="925"/>
            </a:lvl2pPr>
            <a:lvl3pPr>
              <a:defRPr sz="792"/>
            </a:lvl3pPr>
            <a:lvl4pPr>
              <a:defRPr sz="726"/>
            </a:lvl4pPr>
            <a:lvl5pPr>
              <a:defRPr sz="726"/>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391377" y="4105691"/>
            <a:ext cx="2451735" cy="1951038"/>
          </a:xfrm>
          <a:prstGeom prst="rect">
            <a:avLst/>
          </a:prstGeom>
        </p:spPr>
        <p:txBody>
          <a:bodyPr>
            <a:noAutofit/>
          </a:bodyPr>
          <a:lstStyle>
            <a:lvl1pPr marL="188640" marR="0" indent="-188640" algn="l" defTabSz="603647" rtl="0" eaLnBrk="1" fontAlgn="auto" latinLnBrk="0" hangingPunct="1">
              <a:lnSpc>
                <a:spcPct val="90000"/>
              </a:lnSpc>
              <a:spcBef>
                <a:spcPts val="661"/>
              </a:spcBef>
              <a:spcAft>
                <a:spcPts val="0"/>
              </a:spcAft>
              <a:buClr>
                <a:schemeClr val="accent5"/>
              </a:buClr>
              <a:buSzTx/>
              <a:buFont typeface="Wingdings" panose="05000000000000000000" pitchFamily="2" charset="2"/>
              <a:buChar char="§"/>
              <a:tabLst/>
              <a:defRPr sz="925"/>
            </a:lvl1pPr>
          </a:lstStyle>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dirty="0"/>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dirty="0"/>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r>
              <a:rPr lang="en-US" dirty="0"/>
              <a:t>Click to insert bullet point</a:t>
            </a:r>
          </a:p>
          <a:p>
            <a:pPr marL="188640" marR="0" lvl="0" indent="-188640" algn="l" defTabSz="603647" rtl="0" eaLnBrk="1" fontAlgn="auto" latinLnBrk="0" hangingPunct="1">
              <a:lnSpc>
                <a:spcPct val="90000"/>
              </a:lnSpc>
              <a:spcBef>
                <a:spcPts val="661"/>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p:nvSpPr>
        <p:spPr>
          <a:xfrm>
            <a:off x="619635" y="1028252"/>
            <a:ext cx="211999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14"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70AD"/>
                </a:solidFill>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8653372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1" y="0"/>
            <a:ext cx="36073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55">
              <a:solidFill>
                <a:prstClr val="white"/>
              </a:solidFill>
            </a:endParaRPr>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p:nvPicPr>
        <p:blipFill rotWithShape="1">
          <a:blip r:embed="rId2">
            <a:extLst>
              <a:ext uri="{28A0092B-C50C-407E-A947-70E740481C1C}">
                <a14:useLocalDpi xmlns:a14="http://schemas.microsoft.com/office/drawing/2010/main" val="0"/>
              </a:ext>
            </a:extLst>
          </a:blip>
          <a:srcRect l="2839" r="32420"/>
          <a:stretch/>
        </p:blipFill>
        <p:spPr>
          <a:xfrm>
            <a:off x="3456204" y="-2148"/>
            <a:ext cx="6449796"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31490" y="3068960"/>
            <a:ext cx="5440601" cy="3375382"/>
          </a:xfrm>
          <a:prstGeom prst="rect">
            <a:avLst/>
          </a:prstGeom>
        </p:spPr>
        <p:txBody>
          <a:bodyPr>
            <a:noAutofit/>
          </a:bodyPr>
          <a:lstStyle>
            <a:lvl1pPr>
              <a:lnSpc>
                <a:spcPts val="1320"/>
              </a:lnSpc>
              <a:spcAft>
                <a:spcPts val="1189"/>
              </a:spcAft>
              <a:defRPr sz="1056">
                <a:solidFill>
                  <a:schemeClr val="bg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31491" y="2002973"/>
            <a:ext cx="816126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1981"/>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p:nvSpPr>
        <p:spPr>
          <a:xfrm>
            <a:off x="9469755" y="6555758"/>
            <a:ext cx="301686" cy="173574"/>
          </a:xfrm>
          <a:prstGeom prst="rect">
            <a:avLst/>
          </a:prstGeom>
        </p:spPr>
        <p:txBody>
          <a:bodyPr wrap="none">
            <a:spAutoFit/>
          </a:bodyPr>
          <a:lstStyle/>
          <a:p>
            <a:pPr algn="r"/>
            <a:fld id="{0502E5A9-B53C-401E-A0E0-4A359BB0A9E5}" type="slidenum">
              <a:rPr lang="en-US" sz="528" smtClean="0">
                <a:solidFill>
                  <a:prstClr val="white"/>
                </a:solidFill>
                <a:cs typeface="Arial" panose="020B0604020202020204" pitchFamily="34" charset="0"/>
              </a:rPr>
              <a:pPr algn="r"/>
              <a:t>‹#›</a:t>
            </a:fld>
            <a:endParaRPr lang="en-US" sz="528" dirty="0">
              <a:solidFill>
                <a:prstClr val="white"/>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prstClr val="white"/>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prstClr val="white"/>
                </a:solidFill>
                <a:cs typeface="Arial" panose="020B0604020202020204" pitchFamily="34" charset="0"/>
              </a:rPr>
              <a:t>Presentation Title | Author | Date</a:t>
            </a:r>
          </a:p>
        </p:txBody>
      </p:sp>
    </p:spTree>
    <p:extLst>
      <p:ext uri="{BB962C8B-B14F-4D97-AF65-F5344CB8AC3E}">
        <p14:creationId xmlns:p14="http://schemas.microsoft.com/office/powerpoint/2010/main" val="2135206487"/>
      </p:ext>
    </p:extLst>
  </p:cSld>
  <p:clrMapOvr>
    <a:masterClrMapping/>
  </p:clrMapOvr>
  <p:extLst mod="1">
    <p:ext uri="{DCECCB84-F9BA-43D5-87BE-67443E8EF086}">
      <p15:sldGuideLst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263" name="think-cell Slide" r:id="rId5" imgW="360" imgH="360" progId="">
                  <p:embed/>
                </p:oleObj>
              </mc:Choice>
              <mc:Fallback>
                <p:oleObj name="think-cell Slide" r:id="rId5" imgW="360" imgH="360" progId="">
                  <p:embed/>
                  <p:pic>
                    <p:nvPicPr>
                      <p:cNvPr id="0" name="Picture 2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31491" y="2010609"/>
            <a:ext cx="4504135" cy="4442581"/>
          </a:xfrm>
          <a:prstGeom prst="rect">
            <a:avLst/>
          </a:prstGeom>
        </p:spPr>
        <p:txBody>
          <a:bodyPr>
            <a:noAutofit/>
          </a:bodyPr>
          <a:lstStyle>
            <a:lvl1pPr>
              <a:lnSpc>
                <a:spcPct val="100000"/>
              </a:lnSpc>
              <a:defRPr sz="925">
                <a:solidFill>
                  <a:schemeClr val="tx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5070379" y="2010606"/>
            <a:ext cx="4482111" cy="4441372"/>
          </a:xfrm>
          <a:prstGeom prst="rect">
            <a:avLst/>
          </a:prstGeom>
        </p:spPr>
        <p:txBody>
          <a:bodyPr>
            <a:noAutofit/>
          </a:bodyPr>
          <a:lstStyle>
            <a:lvl1pPr>
              <a:lnSpc>
                <a:spcPct val="100000"/>
              </a:lnSpc>
              <a:defRPr sz="925">
                <a:solidFill>
                  <a:schemeClr val="tx1"/>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31491" y="1420990"/>
            <a:ext cx="4504135" cy="438494"/>
          </a:xfrm>
          <a:prstGeom prst="rect">
            <a:avLst/>
          </a:prstGeom>
        </p:spPr>
        <p:txBody>
          <a:bodyPr>
            <a:noAutofit/>
          </a:bodyPr>
          <a:lstStyle>
            <a:lvl1pPr>
              <a:lnSpc>
                <a:spcPts val="1453"/>
              </a:lnSpc>
              <a:defRPr sz="1189" b="0">
                <a:solidFill>
                  <a:srgbClr val="12ABDB"/>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5070379" y="1420990"/>
            <a:ext cx="4482111" cy="438494"/>
          </a:xfrm>
          <a:prstGeom prst="rect">
            <a:avLst/>
          </a:prstGeom>
        </p:spPr>
        <p:txBody>
          <a:bodyPr>
            <a:noAutofit/>
          </a:bodyPr>
          <a:lstStyle>
            <a:lvl1pPr>
              <a:lnSpc>
                <a:spcPts val="1453"/>
              </a:lnSpc>
              <a:defRPr sz="1189" b="0">
                <a:solidFill>
                  <a:srgbClr val="12ABDB"/>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31490" y="404813"/>
            <a:ext cx="8892484"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1981"/>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0130355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p:nvSpPr>
        <p:spPr>
          <a:xfrm>
            <a:off x="0" y="4077072"/>
            <a:ext cx="9906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dirty="0">
              <a:solidFill>
                <a:prstClr val="white"/>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46522" y="1423340"/>
            <a:ext cx="2897505" cy="412363"/>
          </a:xfrm>
          <a:prstGeom prst="rect">
            <a:avLst/>
          </a:prstGeom>
          <a:noFill/>
        </p:spPr>
        <p:txBody>
          <a:bodyPr anchor="ctr">
            <a:noAutofit/>
          </a:bodyPr>
          <a:lstStyle>
            <a:lvl1pPr algn="l">
              <a:defRPr sz="1189" b="0">
                <a:solidFill>
                  <a:srgbClr val="12ABDB"/>
                </a:solidFill>
              </a:defRPr>
            </a:lvl1pPr>
            <a:lvl2pPr>
              <a:defRPr sz="925"/>
            </a:lvl2pPr>
            <a:lvl3pPr>
              <a:defRPr sz="792"/>
            </a:lvl3pPr>
            <a:lvl4pPr>
              <a:defRPr sz="726"/>
            </a:lvl4pPr>
            <a:lvl5pPr>
              <a:defRPr sz="726"/>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677006" y="1423340"/>
            <a:ext cx="2897505" cy="412363"/>
          </a:xfrm>
          <a:prstGeom prst="rect">
            <a:avLst/>
          </a:prstGeom>
          <a:noFill/>
        </p:spPr>
        <p:txBody>
          <a:bodyPr anchor="ctr">
            <a:noAutofit/>
          </a:bodyPr>
          <a:lstStyle>
            <a:lvl1pPr algn="l">
              <a:defRPr sz="1189" b="0">
                <a:solidFill>
                  <a:srgbClr val="12ABDB"/>
                </a:solidFill>
              </a:defRPr>
            </a:lvl1pPr>
            <a:lvl2pPr>
              <a:defRPr sz="925"/>
            </a:lvl2pPr>
            <a:lvl3pPr>
              <a:defRPr sz="792"/>
            </a:lvl3pPr>
            <a:lvl4pPr>
              <a:defRPr sz="726"/>
            </a:lvl4pPr>
            <a:lvl5pPr>
              <a:defRPr sz="726"/>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511765" y="1423340"/>
            <a:ext cx="2897505" cy="412363"/>
          </a:xfrm>
          <a:prstGeom prst="rect">
            <a:avLst/>
          </a:prstGeom>
          <a:noFill/>
        </p:spPr>
        <p:txBody>
          <a:bodyPr anchor="ctr">
            <a:noAutofit/>
          </a:bodyPr>
          <a:lstStyle>
            <a:lvl1pPr algn="l">
              <a:defRPr sz="1189" b="0">
                <a:solidFill>
                  <a:srgbClr val="12ABDB"/>
                </a:solidFill>
              </a:defRPr>
            </a:lvl1pPr>
            <a:lvl2pPr>
              <a:defRPr sz="925"/>
            </a:lvl2pPr>
            <a:lvl3pPr>
              <a:defRPr sz="792"/>
            </a:lvl3pPr>
            <a:lvl4pPr>
              <a:defRPr sz="726"/>
            </a:lvl4pPr>
            <a:lvl5pPr>
              <a:defRPr sz="726"/>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31491" y="4231999"/>
            <a:ext cx="924302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46522" y="1866558"/>
            <a:ext cx="2897505" cy="1994493"/>
          </a:xfrm>
          <a:prstGeom prst="rect">
            <a:avLst/>
          </a:prstGeom>
        </p:spPr>
        <p:txBody>
          <a:bodyPr>
            <a:noAutofit/>
          </a:bodyPr>
          <a:lstStyle>
            <a:lvl1pPr>
              <a:lnSpc>
                <a:spcPts val="1056"/>
              </a:lnSpc>
              <a:defRPr sz="925">
                <a:solidFill>
                  <a:schemeClr val="tx1"/>
                </a:solidFill>
              </a:defRPr>
            </a:lvl1pPr>
            <a:lvl2pPr marL="114232" indent="-111087">
              <a:lnSpc>
                <a:spcPts val="925"/>
              </a:lnSpc>
              <a:defRPr sz="792">
                <a:solidFill>
                  <a:schemeClr val="tx1"/>
                </a:solidFill>
              </a:defRPr>
            </a:lvl2pPr>
            <a:lvl3pPr marL="229512" indent="-115280">
              <a:lnSpc>
                <a:spcPts val="925"/>
              </a:lnSpc>
              <a:defRPr sz="792">
                <a:solidFill>
                  <a:schemeClr val="tx1"/>
                </a:solidFill>
              </a:defRPr>
            </a:lvl3pPr>
            <a:lvl4pPr marL="336408" indent="-106896">
              <a:lnSpc>
                <a:spcPts val="792"/>
              </a:lnSpc>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511765" y="1866558"/>
            <a:ext cx="2897505" cy="1994493"/>
          </a:xfrm>
          <a:prstGeom prst="rect">
            <a:avLst/>
          </a:prstGeom>
        </p:spPr>
        <p:txBody>
          <a:bodyPr>
            <a:noAutofit/>
          </a:bodyPr>
          <a:lstStyle>
            <a:lvl1pPr>
              <a:lnSpc>
                <a:spcPts val="1056"/>
              </a:lnSpc>
              <a:defRPr sz="925">
                <a:solidFill>
                  <a:schemeClr val="tx1"/>
                </a:solidFill>
              </a:defRPr>
            </a:lvl1pPr>
            <a:lvl2pPr marL="114232" indent="-111087">
              <a:lnSpc>
                <a:spcPts val="925"/>
              </a:lnSpc>
              <a:defRPr sz="792">
                <a:solidFill>
                  <a:schemeClr val="tx1"/>
                </a:solidFill>
              </a:defRPr>
            </a:lvl2pPr>
            <a:lvl3pPr marL="229512" indent="-115280">
              <a:lnSpc>
                <a:spcPts val="925"/>
              </a:lnSpc>
              <a:defRPr sz="792">
                <a:solidFill>
                  <a:schemeClr val="tx1"/>
                </a:solidFill>
              </a:defRPr>
            </a:lvl3pPr>
            <a:lvl4pPr marL="336408" indent="-106896">
              <a:lnSpc>
                <a:spcPts val="792"/>
              </a:lnSpc>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677006" y="1866558"/>
            <a:ext cx="2897505" cy="1994493"/>
          </a:xfrm>
          <a:prstGeom prst="rect">
            <a:avLst/>
          </a:prstGeom>
        </p:spPr>
        <p:txBody>
          <a:bodyPr>
            <a:noAutofit/>
          </a:bodyPr>
          <a:lstStyle>
            <a:lvl1pPr>
              <a:lnSpc>
                <a:spcPts val="1056"/>
              </a:lnSpc>
              <a:defRPr sz="925">
                <a:solidFill>
                  <a:schemeClr val="tx1"/>
                </a:solidFill>
              </a:defRPr>
            </a:lvl1pPr>
            <a:lvl2pPr marL="114232" indent="-111087">
              <a:lnSpc>
                <a:spcPts val="925"/>
              </a:lnSpc>
              <a:defRPr sz="792">
                <a:solidFill>
                  <a:schemeClr val="tx1"/>
                </a:solidFill>
              </a:defRPr>
            </a:lvl2pPr>
            <a:lvl3pPr marL="229512" indent="-115280">
              <a:lnSpc>
                <a:spcPts val="925"/>
              </a:lnSpc>
              <a:defRPr sz="792">
                <a:solidFill>
                  <a:schemeClr val="tx1"/>
                </a:solidFill>
              </a:defRPr>
            </a:lvl3pPr>
            <a:lvl4pPr marL="336408" indent="-106896">
              <a:lnSpc>
                <a:spcPts val="792"/>
              </a:lnSpc>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46522" y="4674190"/>
            <a:ext cx="9227989" cy="1799211"/>
          </a:xfrm>
          <a:prstGeom prst="rect">
            <a:avLst/>
          </a:prstGeom>
        </p:spPr>
        <p:txBody>
          <a:bodyPr>
            <a:noAutofit/>
          </a:bodyPr>
          <a:lstStyle>
            <a:lvl1pPr>
              <a:lnSpc>
                <a:spcPts val="1056"/>
              </a:lnSpc>
              <a:defRPr sz="925">
                <a:solidFill>
                  <a:schemeClr val="tx1"/>
                </a:solidFill>
              </a:defRPr>
            </a:lvl1pPr>
            <a:lvl2pPr marL="114232" indent="-111087">
              <a:lnSpc>
                <a:spcPts val="925"/>
              </a:lnSpc>
              <a:defRPr sz="792">
                <a:solidFill>
                  <a:schemeClr val="tx1"/>
                </a:solidFill>
              </a:defRPr>
            </a:lvl2pPr>
            <a:lvl3pPr marL="229512" indent="-115280">
              <a:lnSpc>
                <a:spcPts val="925"/>
              </a:lnSpc>
              <a:defRPr sz="792">
                <a:solidFill>
                  <a:schemeClr val="tx1"/>
                </a:solidFill>
              </a:defRPr>
            </a:lvl3pPr>
            <a:lvl4pPr marL="336408" indent="-106896">
              <a:lnSpc>
                <a:spcPts val="792"/>
              </a:lnSpc>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747039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619119" y="1556793"/>
            <a:ext cx="7955393" cy="1368152"/>
          </a:xfrm>
          <a:prstGeom prst="rect">
            <a:avLst/>
          </a:prstGeom>
        </p:spPr>
        <p:txBody>
          <a:bodyPr anchor="ctr">
            <a:noAutofit/>
          </a:bodyPr>
          <a:lstStyle>
            <a:lvl1pPr>
              <a:lnSpc>
                <a:spcPts val="1453"/>
              </a:lnSpc>
              <a:defRPr sz="1189">
                <a:solidFill>
                  <a:schemeClr val="tx1"/>
                </a:solidFill>
              </a:defRPr>
            </a:lvl1pPr>
            <a:lvl2pPr marL="153008" indent="-149864">
              <a:lnSpc>
                <a:spcPts val="1189"/>
              </a:lnSpc>
              <a:defRPr sz="1056">
                <a:solidFill>
                  <a:schemeClr val="tx1"/>
                </a:solidFill>
              </a:defRPr>
            </a:lvl2pPr>
            <a:lvl3pPr marL="306015" indent="-153008">
              <a:lnSpc>
                <a:spcPts val="1056"/>
              </a:lnSpc>
              <a:defRPr sz="925">
                <a:solidFill>
                  <a:schemeClr val="tx1"/>
                </a:solidFill>
              </a:defRPr>
            </a:lvl3pPr>
            <a:lvl4pPr marL="450639" indent="-144623">
              <a:lnSpc>
                <a:spcPts val="925"/>
              </a:lnSpc>
              <a:defRPr sz="792">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619119" y="3320915"/>
            <a:ext cx="7955393" cy="1368152"/>
          </a:xfrm>
          <a:prstGeom prst="rect">
            <a:avLst/>
          </a:prstGeom>
        </p:spPr>
        <p:txBody>
          <a:bodyPr anchor="ctr">
            <a:noAutofit/>
          </a:bodyPr>
          <a:lstStyle>
            <a:lvl1pPr>
              <a:lnSpc>
                <a:spcPts val="1453"/>
              </a:lnSpc>
              <a:defRPr sz="1189">
                <a:solidFill>
                  <a:schemeClr val="tx1"/>
                </a:solidFill>
              </a:defRPr>
            </a:lvl1pPr>
            <a:lvl2pPr marL="153008" indent="-149864">
              <a:lnSpc>
                <a:spcPts val="1189"/>
              </a:lnSpc>
              <a:defRPr sz="1056">
                <a:solidFill>
                  <a:schemeClr val="tx1"/>
                </a:solidFill>
              </a:defRPr>
            </a:lvl2pPr>
            <a:lvl3pPr marL="306015" indent="-153008">
              <a:lnSpc>
                <a:spcPts val="1056"/>
              </a:lnSpc>
              <a:defRPr sz="925">
                <a:solidFill>
                  <a:schemeClr val="tx1"/>
                </a:solidFill>
              </a:defRPr>
            </a:lvl3pPr>
            <a:lvl4pPr marL="450639" indent="-144623">
              <a:lnSpc>
                <a:spcPts val="925"/>
              </a:lnSpc>
              <a:defRPr sz="792">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619119" y="5085036"/>
            <a:ext cx="7955393" cy="1368152"/>
          </a:xfrm>
          <a:prstGeom prst="rect">
            <a:avLst/>
          </a:prstGeom>
        </p:spPr>
        <p:txBody>
          <a:bodyPr anchor="ctr">
            <a:noAutofit/>
          </a:bodyPr>
          <a:lstStyle>
            <a:lvl1pPr>
              <a:lnSpc>
                <a:spcPts val="1453"/>
              </a:lnSpc>
              <a:defRPr sz="1189">
                <a:solidFill>
                  <a:schemeClr val="tx1"/>
                </a:solidFill>
              </a:defRPr>
            </a:lvl1pPr>
            <a:lvl2pPr marL="153008" indent="-149864">
              <a:lnSpc>
                <a:spcPts val="1189"/>
              </a:lnSpc>
              <a:defRPr sz="1056">
                <a:solidFill>
                  <a:schemeClr val="tx1"/>
                </a:solidFill>
              </a:defRPr>
            </a:lvl2pPr>
            <a:lvl3pPr marL="306015" indent="-153008">
              <a:lnSpc>
                <a:spcPts val="1056"/>
              </a:lnSpc>
              <a:defRPr sz="925">
                <a:solidFill>
                  <a:schemeClr val="tx1"/>
                </a:solidFill>
              </a:defRPr>
            </a:lvl3pPr>
            <a:lvl4pPr marL="450639" indent="-144623">
              <a:lnSpc>
                <a:spcPts val="925"/>
              </a:lnSpc>
              <a:defRPr sz="792">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p:nvGrpSpPr>
        <p:grpSpPr bwMode="auto">
          <a:xfrm>
            <a:off x="306092" y="3487371"/>
            <a:ext cx="1044838"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p:nvGrpSpPr>
        <p:grpSpPr bwMode="auto">
          <a:xfrm>
            <a:off x="306092" y="1642923"/>
            <a:ext cx="1039391"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p:nvGrpSpPr>
        <p:grpSpPr bwMode="auto">
          <a:xfrm>
            <a:off x="306092" y="5168264"/>
            <a:ext cx="1046796"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255">
                <a:solidFill>
                  <a:srgbClr val="000000"/>
                </a:solidFill>
              </a:endParaRPr>
            </a:p>
          </p:txBody>
        </p:sp>
      </p:grpSp>
    </p:spTree>
    <p:extLst>
      <p:ext uri="{BB962C8B-B14F-4D97-AF65-F5344CB8AC3E}">
        <p14:creationId xmlns:p14="http://schemas.microsoft.com/office/powerpoint/2010/main" val="38114411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p:nvSpPr>
        <p:spPr>
          <a:xfrm>
            <a:off x="0" y="1773238"/>
            <a:ext cx="9906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5363738" y="2032336"/>
            <a:ext cx="1404156" cy="1617453"/>
          </a:xfrm>
          <a:prstGeom prst="rect">
            <a:avLst/>
          </a:prstGeom>
        </p:spPr>
        <p:txBody>
          <a:bodyPr anchor="ctr"/>
          <a:lstStyle>
            <a:lvl1pPr algn="ctr">
              <a:defRPr/>
            </a:lvl1pPr>
          </a:lstStyle>
          <a:p>
            <a:r>
              <a:rPr lang="en-US"/>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740533" y="3717032"/>
            <a:ext cx="1930715" cy="720080"/>
          </a:xfrm>
          <a:prstGeom prst="rect">
            <a:avLst/>
          </a:prstGeom>
        </p:spPr>
        <p:txBody>
          <a:bodyPr>
            <a:noAutofit/>
          </a:bodyPr>
          <a:lstStyle>
            <a:lvl1pPr algn="ctr">
              <a:lnSpc>
                <a:spcPts val="925"/>
              </a:lnSpc>
              <a:spcBef>
                <a:spcPts val="397"/>
              </a:spcBef>
              <a:defRPr sz="792"/>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p:ph type="chart" sz="quarter" idx="10"/>
          </p:nvPr>
        </p:nvSpPr>
        <p:spPr>
          <a:xfrm>
            <a:off x="1003811" y="2027573"/>
            <a:ext cx="1404156" cy="1617453"/>
          </a:xfrm>
          <a:prstGeom prst="rect">
            <a:avLst/>
          </a:prstGeom>
        </p:spPr>
        <p:txBody>
          <a:bodyPr anchor="ctr"/>
          <a:lstStyle>
            <a:lvl1pPr algn="ctr">
              <a:defRPr/>
            </a:lvl1pPr>
          </a:lstStyle>
          <a:p>
            <a:r>
              <a:rPr lang="en-US"/>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p:ph type="body" sz="quarter" idx="11" hasCustomPrompt="1"/>
          </p:nvPr>
        </p:nvSpPr>
        <p:spPr>
          <a:xfrm>
            <a:off x="1383498" y="2708278"/>
            <a:ext cx="702684" cy="314325"/>
          </a:xfrm>
          <a:prstGeom prst="rect">
            <a:avLst/>
          </a:prstGeom>
        </p:spPr>
        <p:txBody>
          <a:bodyPr anchor="ctr">
            <a:noAutofit/>
          </a:bodyPr>
          <a:lstStyle>
            <a:lvl1pPr algn="ctr">
              <a:defRPr sz="1056"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p:ph type="body" sz="quarter" idx="35" hasCustomPrompt="1"/>
          </p:nvPr>
        </p:nvSpPr>
        <p:spPr>
          <a:xfrm>
            <a:off x="2920496" y="3717032"/>
            <a:ext cx="1930715" cy="720080"/>
          </a:xfrm>
          <a:prstGeom prst="rect">
            <a:avLst/>
          </a:prstGeom>
        </p:spPr>
        <p:txBody>
          <a:bodyPr>
            <a:noAutofit/>
          </a:bodyPr>
          <a:lstStyle>
            <a:lvl1pPr algn="ctr">
              <a:lnSpc>
                <a:spcPts val="925"/>
              </a:lnSpc>
              <a:spcBef>
                <a:spcPts val="397"/>
              </a:spcBef>
              <a:defRPr sz="792"/>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p:ph type="chart" sz="quarter" idx="36"/>
          </p:nvPr>
        </p:nvSpPr>
        <p:spPr>
          <a:xfrm>
            <a:off x="3183775" y="2027573"/>
            <a:ext cx="1404156" cy="1617453"/>
          </a:xfrm>
          <a:prstGeom prst="rect">
            <a:avLst/>
          </a:prstGeom>
        </p:spPr>
        <p:txBody>
          <a:bodyPr anchor="ctr"/>
          <a:lstStyle>
            <a:lvl1pPr algn="ctr">
              <a:defRPr/>
            </a:lvl1pPr>
          </a:lstStyle>
          <a:p>
            <a:r>
              <a:rPr lang="en-US"/>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p:ph type="body" sz="quarter" idx="37" hasCustomPrompt="1"/>
          </p:nvPr>
        </p:nvSpPr>
        <p:spPr>
          <a:xfrm>
            <a:off x="3558558" y="2708278"/>
            <a:ext cx="702684" cy="314325"/>
          </a:xfrm>
          <a:prstGeom prst="rect">
            <a:avLst/>
          </a:prstGeom>
        </p:spPr>
        <p:txBody>
          <a:bodyPr anchor="ctr">
            <a:noAutofit/>
          </a:bodyPr>
          <a:lstStyle>
            <a:lvl1pPr algn="ctr">
              <a:defRPr sz="1056"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p:ph type="body" sz="quarter" idx="38" hasCustomPrompt="1"/>
          </p:nvPr>
        </p:nvSpPr>
        <p:spPr>
          <a:xfrm>
            <a:off x="5100460" y="3717032"/>
            <a:ext cx="1930715" cy="720080"/>
          </a:xfrm>
          <a:prstGeom prst="rect">
            <a:avLst/>
          </a:prstGeom>
        </p:spPr>
        <p:txBody>
          <a:bodyPr>
            <a:noAutofit/>
          </a:bodyPr>
          <a:lstStyle>
            <a:lvl1pPr algn="ctr">
              <a:lnSpc>
                <a:spcPts val="925"/>
              </a:lnSpc>
              <a:spcBef>
                <a:spcPts val="397"/>
              </a:spcBef>
              <a:defRPr sz="792"/>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p:ph type="body" sz="quarter" idx="40" hasCustomPrompt="1"/>
          </p:nvPr>
        </p:nvSpPr>
        <p:spPr>
          <a:xfrm>
            <a:off x="5725495" y="2708278"/>
            <a:ext cx="702684" cy="314325"/>
          </a:xfrm>
          <a:prstGeom prst="rect">
            <a:avLst/>
          </a:prstGeom>
        </p:spPr>
        <p:txBody>
          <a:bodyPr anchor="ctr">
            <a:noAutofit/>
          </a:bodyPr>
          <a:lstStyle>
            <a:lvl1pPr algn="ctr">
              <a:defRPr sz="1056"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p:ph type="chart" sz="quarter" idx="41"/>
          </p:nvPr>
        </p:nvSpPr>
        <p:spPr>
          <a:xfrm>
            <a:off x="7543702" y="2032336"/>
            <a:ext cx="1404156" cy="1617453"/>
          </a:xfrm>
          <a:prstGeom prst="rect">
            <a:avLst/>
          </a:prstGeom>
        </p:spPr>
        <p:txBody>
          <a:bodyPr anchor="ctr"/>
          <a:lstStyle>
            <a:lvl1pPr algn="ctr">
              <a:defRPr/>
            </a:lvl1pPr>
          </a:lstStyle>
          <a:p>
            <a:r>
              <a:rPr lang="en-US"/>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p:ph type="body" sz="quarter" idx="42" hasCustomPrompt="1"/>
          </p:nvPr>
        </p:nvSpPr>
        <p:spPr>
          <a:xfrm>
            <a:off x="7280423" y="3717032"/>
            <a:ext cx="1930715" cy="720080"/>
          </a:xfrm>
          <a:prstGeom prst="rect">
            <a:avLst/>
          </a:prstGeom>
        </p:spPr>
        <p:txBody>
          <a:bodyPr>
            <a:noAutofit/>
          </a:bodyPr>
          <a:lstStyle>
            <a:lvl1pPr algn="ctr">
              <a:lnSpc>
                <a:spcPts val="925"/>
              </a:lnSpc>
              <a:spcBef>
                <a:spcPts val="397"/>
              </a:spcBef>
              <a:defRPr sz="792"/>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p:ph type="body" sz="quarter" idx="43" hasCustomPrompt="1"/>
          </p:nvPr>
        </p:nvSpPr>
        <p:spPr>
          <a:xfrm>
            <a:off x="7923389" y="2708278"/>
            <a:ext cx="702684" cy="314325"/>
          </a:xfrm>
          <a:prstGeom prst="rect">
            <a:avLst/>
          </a:prstGeom>
        </p:spPr>
        <p:txBody>
          <a:bodyPr anchor="ctr">
            <a:noAutofit/>
          </a:bodyPr>
          <a:lstStyle>
            <a:lvl1pPr algn="ctr">
              <a:defRPr sz="1056"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p:ph type="body" sz="quarter" idx="44" hasCustomPrompt="1"/>
          </p:nvPr>
        </p:nvSpPr>
        <p:spPr>
          <a:xfrm>
            <a:off x="916051" y="5308653"/>
            <a:ext cx="1345650" cy="576064"/>
          </a:xfrm>
          <a:prstGeom prst="rect">
            <a:avLst/>
          </a:prstGeom>
        </p:spPr>
        <p:txBody>
          <a:bodyPr anchor="ctr">
            <a:noAutofit/>
          </a:bodyPr>
          <a:lstStyle>
            <a:lvl1pPr algn="ctr">
              <a:lnSpc>
                <a:spcPts val="2113"/>
              </a:lnSpc>
              <a:defRPr sz="1848" b="1">
                <a:solidFill>
                  <a:srgbClr val="2B0A3D"/>
                </a:solidFill>
              </a:defRPr>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342759" y="5163115"/>
            <a:ext cx="6824522" cy="867147"/>
          </a:xfrm>
          <a:prstGeom prst="rect">
            <a:avLst/>
          </a:prstGeom>
        </p:spPr>
        <p:txBody>
          <a:bodyPr anchor="ctr">
            <a:noAutofit/>
          </a:bodyPr>
          <a:lstStyle>
            <a:lvl1pPr algn="l">
              <a:lnSpc>
                <a:spcPts val="1189"/>
              </a:lnSpc>
              <a:spcBef>
                <a:spcPts val="397"/>
              </a:spcBef>
              <a:defRPr sz="1056"/>
            </a:lvl1pPr>
            <a:lvl2pPr>
              <a:lnSpc>
                <a:spcPct val="100000"/>
              </a:lnSpc>
              <a:defRPr sz="792"/>
            </a:lvl2pPr>
            <a:lvl3pPr>
              <a:lnSpc>
                <a:spcPct val="100000"/>
              </a:lnSpc>
              <a:defRPr sz="792"/>
            </a:lvl3pPr>
            <a:lvl4pPr>
              <a:lnSpc>
                <a:spcPct val="100000"/>
              </a:lnSpc>
              <a:defRPr sz="792"/>
            </a:lvl4pPr>
            <a:lvl5pPr>
              <a:lnSpc>
                <a:spcPct val="100000"/>
              </a:lnSpc>
              <a:defRPr sz="792"/>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816951470"/>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rot="16200000">
            <a:off x="7009137" y="-1195947"/>
            <a:ext cx="1706401" cy="408732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p:nvSpPr>
        <p:spPr>
          <a:xfrm>
            <a:off x="331490" y="2423886"/>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5" name="Rectangle 4">
            <a:extLst>
              <a:ext uri="{FF2B5EF4-FFF2-40B4-BE49-F238E27FC236}">
                <a16:creationId xmlns="" xmlns:a16="http://schemas.microsoft.com/office/drawing/2014/main" id="{5D624820-6891-4116-9EE3-E6D3B41D5557}"/>
              </a:ext>
            </a:extLst>
          </p:cNvPr>
          <p:cNvSpPr/>
          <p:nvPr/>
        </p:nvSpPr>
        <p:spPr>
          <a:xfrm>
            <a:off x="3521274" y="2423886"/>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6" name="Rectangle 5">
            <a:extLst>
              <a:ext uri="{FF2B5EF4-FFF2-40B4-BE49-F238E27FC236}">
                <a16:creationId xmlns="" xmlns:a16="http://schemas.microsoft.com/office/drawing/2014/main" id="{4ED1E18D-CB5A-40D2-9E0C-21B1DC24C582}"/>
              </a:ext>
            </a:extLst>
          </p:cNvPr>
          <p:cNvSpPr/>
          <p:nvPr/>
        </p:nvSpPr>
        <p:spPr>
          <a:xfrm>
            <a:off x="6711058" y="2406300"/>
            <a:ext cx="2863453"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89075" y="3332371"/>
            <a:ext cx="2348283" cy="645047"/>
          </a:xfrm>
          <a:prstGeom prst="rect">
            <a:avLst/>
          </a:prstGeom>
          <a:noFill/>
        </p:spPr>
        <p:txBody>
          <a:bodyPr anchor="ctr">
            <a:noAutofit/>
          </a:bodyPr>
          <a:lstStyle>
            <a:lvl1pPr algn="l">
              <a:lnSpc>
                <a:spcPts val="1189"/>
              </a:lnSpc>
              <a:defRPr sz="1056" b="1">
                <a:solidFill>
                  <a:srgbClr val="12ABDB"/>
                </a:solidFill>
              </a:defRPr>
            </a:lvl1pPr>
            <a:lvl2pPr>
              <a:defRPr sz="925"/>
            </a:lvl2pPr>
            <a:lvl3pPr>
              <a:defRPr sz="792"/>
            </a:lvl3pPr>
            <a:lvl4pPr>
              <a:defRPr sz="726"/>
            </a:lvl4pPr>
            <a:lvl5pPr>
              <a:defRPr sz="726"/>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89077" y="4079992"/>
            <a:ext cx="2335303" cy="1711208"/>
          </a:xfrm>
          <a:prstGeom prst="rect">
            <a:avLst/>
          </a:prstGeom>
        </p:spPr>
        <p:txBody>
          <a:bodyPr>
            <a:noAutofit/>
          </a:bodyPr>
          <a:lstStyle>
            <a:lvl1pPr>
              <a:lnSpc>
                <a:spcPct val="100000"/>
              </a:lnSpc>
              <a:defRPr sz="925"/>
            </a:lvl1pPr>
            <a:lvl2pPr>
              <a:lnSpc>
                <a:spcPts val="925"/>
              </a:lnSpc>
              <a:defRPr sz="792"/>
            </a:lvl2pPr>
            <a:lvl3pPr>
              <a:lnSpc>
                <a:spcPts val="858"/>
              </a:lnSpc>
              <a:defRPr sz="726"/>
            </a:lvl3pPr>
            <a:lvl4pPr>
              <a:lnSpc>
                <a:spcPts val="792"/>
              </a:lnSpc>
              <a:defRPr sz="661"/>
            </a:lvl4pPr>
            <a:lvl5pPr>
              <a:lnSpc>
                <a:spcPct val="100000"/>
              </a:lnSpc>
              <a:defRPr sz="792"/>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778859" y="3332371"/>
            <a:ext cx="2348283" cy="645047"/>
          </a:xfrm>
          <a:prstGeom prst="rect">
            <a:avLst/>
          </a:prstGeom>
          <a:noFill/>
        </p:spPr>
        <p:txBody>
          <a:bodyPr anchor="ctr">
            <a:noAutofit/>
          </a:bodyPr>
          <a:lstStyle>
            <a:lvl1pPr algn="l">
              <a:lnSpc>
                <a:spcPts val="1189"/>
              </a:lnSpc>
              <a:defRPr sz="1056" b="1">
                <a:solidFill>
                  <a:srgbClr val="FF304C"/>
                </a:solidFill>
              </a:defRPr>
            </a:lvl1pPr>
            <a:lvl2pPr>
              <a:defRPr sz="925"/>
            </a:lvl2pPr>
            <a:lvl3pPr>
              <a:defRPr sz="792"/>
            </a:lvl3pPr>
            <a:lvl4pPr>
              <a:defRPr sz="726"/>
            </a:lvl4pPr>
            <a:lvl5pPr>
              <a:defRPr sz="726"/>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968643" y="3332371"/>
            <a:ext cx="2348283" cy="645047"/>
          </a:xfrm>
          <a:prstGeom prst="rect">
            <a:avLst/>
          </a:prstGeom>
          <a:noFill/>
        </p:spPr>
        <p:txBody>
          <a:bodyPr anchor="ctr">
            <a:noAutofit/>
          </a:bodyPr>
          <a:lstStyle>
            <a:lvl1pPr algn="l">
              <a:lnSpc>
                <a:spcPts val="1189"/>
              </a:lnSpc>
              <a:defRPr sz="1056" b="1">
                <a:solidFill>
                  <a:srgbClr val="2C004B"/>
                </a:solidFill>
              </a:defRPr>
            </a:lvl1pPr>
            <a:lvl2pPr>
              <a:defRPr sz="925"/>
            </a:lvl2pPr>
            <a:lvl3pPr>
              <a:defRPr sz="792"/>
            </a:lvl3pPr>
            <a:lvl4pPr>
              <a:defRPr sz="726"/>
            </a:lvl4pPr>
            <a:lvl5pPr>
              <a:defRPr sz="726"/>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904731" y="295729"/>
            <a:ext cx="2378924" cy="876300"/>
          </a:xfrm>
          <a:prstGeom prst="rect">
            <a:avLst/>
          </a:prstGeom>
        </p:spPr>
        <p:txBody>
          <a:bodyPr anchor="t">
            <a:noAutofit/>
          </a:bodyPr>
          <a:lstStyle>
            <a:lvl1pPr>
              <a:lnSpc>
                <a:spcPct val="100000"/>
              </a:lnSpc>
              <a:defRPr sz="1056" b="1"/>
            </a:lvl1pPr>
            <a:lvl2pPr>
              <a:lnSpc>
                <a:spcPct val="100000"/>
              </a:lnSpc>
              <a:defRPr sz="1056"/>
            </a:lvl2pPr>
            <a:lvl3pPr>
              <a:lnSpc>
                <a:spcPct val="100000"/>
              </a:lnSpc>
              <a:defRPr sz="1056"/>
            </a:lvl3pPr>
            <a:lvl4pPr>
              <a:lnSpc>
                <a:spcPct val="100000"/>
              </a:lnSpc>
              <a:defRPr sz="1056"/>
            </a:lvl4pPr>
            <a:lvl5pPr>
              <a:lnSpc>
                <a:spcPct val="100000"/>
              </a:lnSpc>
              <a:defRPr sz="1056"/>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81836" t="-4713" b="16530"/>
          <a:stretch/>
        </p:blipFill>
        <p:spPr>
          <a:xfrm>
            <a:off x="9336779" y="164829"/>
            <a:ext cx="344789"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526275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791840" y="4079992"/>
            <a:ext cx="2335303" cy="1711208"/>
          </a:xfrm>
          <a:prstGeom prst="rect">
            <a:avLst/>
          </a:prstGeom>
        </p:spPr>
        <p:txBody>
          <a:bodyPr>
            <a:noAutofit/>
          </a:bodyPr>
          <a:lstStyle>
            <a:lvl1pPr>
              <a:lnSpc>
                <a:spcPct val="100000"/>
              </a:lnSpc>
              <a:defRPr sz="925"/>
            </a:lvl1pPr>
            <a:lvl2pPr>
              <a:lnSpc>
                <a:spcPts val="925"/>
              </a:lnSpc>
              <a:buClr>
                <a:schemeClr val="accent4"/>
              </a:buClr>
              <a:defRPr sz="792"/>
            </a:lvl2pPr>
            <a:lvl3pPr>
              <a:lnSpc>
                <a:spcPts val="858"/>
              </a:lnSpc>
              <a:buClr>
                <a:schemeClr val="accent4"/>
              </a:buClr>
              <a:defRPr sz="726"/>
            </a:lvl3pPr>
            <a:lvl4pPr>
              <a:lnSpc>
                <a:spcPts val="792"/>
              </a:lnSpc>
              <a:buClr>
                <a:schemeClr val="accent4"/>
              </a:buClr>
              <a:defRPr sz="661"/>
            </a:lvl4pPr>
            <a:lvl5pPr>
              <a:lnSpc>
                <a:spcPct val="100000"/>
              </a:lnSpc>
              <a:defRPr sz="792"/>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981624" y="4079992"/>
            <a:ext cx="2335303" cy="1711208"/>
          </a:xfrm>
          <a:prstGeom prst="rect">
            <a:avLst/>
          </a:prstGeom>
        </p:spPr>
        <p:txBody>
          <a:bodyPr>
            <a:noAutofit/>
          </a:bodyPr>
          <a:lstStyle>
            <a:lvl1pPr>
              <a:lnSpc>
                <a:spcPct val="100000"/>
              </a:lnSpc>
              <a:defRPr sz="925"/>
            </a:lvl1pPr>
            <a:lvl2pPr>
              <a:lnSpc>
                <a:spcPts val="925"/>
              </a:lnSpc>
              <a:buClr>
                <a:schemeClr val="accent3"/>
              </a:buClr>
              <a:defRPr sz="792"/>
            </a:lvl2pPr>
            <a:lvl3pPr>
              <a:lnSpc>
                <a:spcPts val="858"/>
              </a:lnSpc>
              <a:buClr>
                <a:schemeClr val="accent3"/>
              </a:buClr>
              <a:defRPr sz="726"/>
            </a:lvl3pPr>
            <a:lvl4pPr>
              <a:lnSpc>
                <a:spcPts val="792"/>
              </a:lnSpc>
              <a:buClr>
                <a:schemeClr val="accent3"/>
              </a:buClr>
              <a:defRPr sz="661"/>
            </a:lvl4pPr>
            <a:lvl5pPr>
              <a:lnSpc>
                <a:spcPct val="100000"/>
              </a:lnSpc>
              <a:defRPr sz="792"/>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32065690"/>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p:nvSpPr>
        <p:spPr>
          <a:xfrm>
            <a:off x="4520421" y="4734098"/>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42" name="Oval 20">
            <a:extLst>
              <a:ext uri="{FF2B5EF4-FFF2-40B4-BE49-F238E27FC236}">
                <a16:creationId xmlns="" xmlns:a16="http://schemas.microsoft.com/office/drawing/2014/main" id="{80DEC651-0810-4FD4-A2CA-C54974433D45}"/>
              </a:ext>
            </a:extLst>
          </p:cNvPr>
          <p:cNvSpPr/>
          <p:nvPr/>
        </p:nvSpPr>
        <p:spPr>
          <a:xfrm>
            <a:off x="4520421" y="2944152"/>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43" name="Oval 20">
            <a:extLst>
              <a:ext uri="{FF2B5EF4-FFF2-40B4-BE49-F238E27FC236}">
                <a16:creationId xmlns="" xmlns:a16="http://schemas.microsoft.com/office/drawing/2014/main" id="{4F0142AD-298C-4A60-9F24-035D4F3F07D0}"/>
              </a:ext>
            </a:extLst>
          </p:cNvPr>
          <p:cNvSpPr/>
          <p:nvPr/>
        </p:nvSpPr>
        <p:spPr>
          <a:xfrm>
            <a:off x="4481869" y="1186059"/>
            <a:ext cx="978262"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13" name="Rectangle 12">
            <a:extLst>
              <a:ext uri="{FF2B5EF4-FFF2-40B4-BE49-F238E27FC236}">
                <a16:creationId xmlns="" xmlns:a16="http://schemas.microsoft.com/office/drawing/2014/main" id="{9455EBB8-DB3C-45D2-B02F-0B36A58E555B}"/>
              </a:ext>
            </a:extLst>
          </p:cNvPr>
          <p:cNvSpPr/>
          <p:nvPr/>
        </p:nvSpPr>
        <p:spPr>
          <a:xfrm>
            <a:off x="1" y="0"/>
            <a:ext cx="3858805"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854853" y="-585508"/>
            <a:ext cx="4694967" cy="3590091"/>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642525" y="1525460"/>
            <a:ext cx="701401" cy="482705"/>
          </a:xfrm>
          <a:prstGeom prst="rect">
            <a:avLst/>
          </a:prstGeom>
          <a:noFill/>
        </p:spPr>
        <p:txBody>
          <a:bodyPr anchor="ctr">
            <a:noAutofit/>
          </a:bodyPr>
          <a:lstStyle>
            <a:lvl1pPr algn="ctr">
              <a:lnSpc>
                <a:spcPts val="1981"/>
              </a:lnSpc>
              <a:defRPr sz="1717" b="0">
                <a:solidFill>
                  <a:srgbClr val="2C004B"/>
                </a:solidFill>
              </a:defRPr>
            </a:lvl1pPr>
            <a:lvl2pPr>
              <a:defRPr sz="925"/>
            </a:lvl2pPr>
            <a:lvl3pPr>
              <a:defRPr sz="792"/>
            </a:lvl3pPr>
            <a:lvl4pPr>
              <a:defRPr sz="726"/>
            </a:lvl4pPr>
            <a:lvl5pPr>
              <a:defRPr sz="726"/>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642525" y="3284123"/>
            <a:ext cx="701401" cy="482705"/>
          </a:xfrm>
          <a:prstGeom prst="rect">
            <a:avLst/>
          </a:prstGeom>
          <a:noFill/>
        </p:spPr>
        <p:txBody>
          <a:bodyPr anchor="ctr">
            <a:noAutofit/>
          </a:bodyPr>
          <a:lstStyle>
            <a:lvl1pPr algn="ctr">
              <a:lnSpc>
                <a:spcPts val="1981"/>
              </a:lnSpc>
              <a:defRPr sz="1717" b="0">
                <a:solidFill>
                  <a:srgbClr val="2C004B"/>
                </a:solidFill>
              </a:defRPr>
            </a:lvl1pPr>
            <a:lvl2pPr>
              <a:defRPr sz="925"/>
            </a:lvl2pPr>
            <a:lvl3pPr>
              <a:defRPr sz="792"/>
            </a:lvl3pPr>
            <a:lvl4pPr>
              <a:defRPr sz="726"/>
            </a:lvl4pPr>
            <a:lvl5pPr>
              <a:defRPr sz="726"/>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642525" y="5061945"/>
            <a:ext cx="701401" cy="482705"/>
          </a:xfrm>
          <a:prstGeom prst="rect">
            <a:avLst/>
          </a:prstGeom>
          <a:noFill/>
        </p:spPr>
        <p:txBody>
          <a:bodyPr anchor="ctr">
            <a:noAutofit/>
          </a:bodyPr>
          <a:lstStyle>
            <a:lvl1pPr algn="ctr">
              <a:lnSpc>
                <a:spcPts val="1981"/>
              </a:lnSpc>
              <a:defRPr sz="1717" b="0">
                <a:solidFill>
                  <a:srgbClr val="2C004B"/>
                </a:solidFill>
              </a:defRPr>
            </a:lvl1pPr>
            <a:lvl2pPr>
              <a:defRPr sz="925"/>
            </a:lvl2pPr>
            <a:lvl3pPr>
              <a:defRPr sz="792"/>
            </a:lvl3pPr>
            <a:lvl4pPr>
              <a:defRPr sz="726"/>
            </a:lvl4pPr>
            <a:lvl5pPr>
              <a:defRPr sz="726"/>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46707" y="3367132"/>
            <a:ext cx="2982546" cy="2993216"/>
          </a:xfrm>
          <a:prstGeom prst="rect">
            <a:avLst/>
          </a:prstGeom>
        </p:spPr>
        <p:txBody>
          <a:bodyPr>
            <a:noAutofit/>
          </a:bodyPr>
          <a:lstStyle>
            <a:lvl1pPr>
              <a:lnSpc>
                <a:spcPts val="1453"/>
              </a:lnSpc>
              <a:defRPr sz="1189"/>
            </a:lvl1pPr>
            <a:lvl2pPr>
              <a:lnSpc>
                <a:spcPts val="1189"/>
              </a:lnSpc>
              <a:buClr>
                <a:schemeClr val="accent3"/>
              </a:buClr>
              <a:defRPr sz="1056"/>
            </a:lvl2pPr>
            <a:lvl3pPr>
              <a:lnSpc>
                <a:spcPts val="1056"/>
              </a:lnSpc>
              <a:buClr>
                <a:schemeClr val="accent3"/>
              </a:buClr>
              <a:defRPr sz="925"/>
            </a:lvl3pPr>
            <a:lvl4pPr>
              <a:lnSpc>
                <a:spcPts val="925"/>
              </a:lnSpc>
              <a:buClr>
                <a:schemeClr val="accent3"/>
              </a:buClr>
              <a:defRPr sz="792"/>
            </a:lvl4pPr>
            <a:lvl5pPr>
              <a:lnSpc>
                <a:spcPct val="100000"/>
              </a:lnSpc>
              <a:defRPr sz="792"/>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5"/>
            <a:ext cx="216423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1981"/>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620786" y="825195"/>
            <a:ext cx="3953725" cy="412363"/>
          </a:xfrm>
          <a:prstGeom prst="rect">
            <a:avLst/>
          </a:prstGeom>
          <a:noFill/>
        </p:spPr>
        <p:txBody>
          <a:bodyPr anchor="ctr">
            <a:noAutofit/>
          </a:bodyPr>
          <a:lstStyle>
            <a:lvl1pPr algn="l">
              <a:defRPr sz="1189" b="0">
                <a:solidFill>
                  <a:schemeClr val="tx2"/>
                </a:solidFill>
              </a:defRPr>
            </a:lvl1pPr>
            <a:lvl2pPr>
              <a:defRPr sz="925"/>
            </a:lvl2pPr>
            <a:lvl3pPr>
              <a:defRPr sz="792"/>
            </a:lvl3pPr>
            <a:lvl4pPr>
              <a:defRPr sz="726"/>
            </a:lvl4pPr>
            <a:lvl5pPr>
              <a:defRPr sz="726"/>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620786" y="1268416"/>
            <a:ext cx="3953725" cy="996793"/>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3"/>
              </a:buClr>
              <a:defRPr sz="792">
                <a:solidFill>
                  <a:schemeClr val="tx1"/>
                </a:solidFill>
              </a:defRPr>
            </a:lvl2pPr>
            <a:lvl3pPr marL="229512" indent="-115280">
              <a:lnSpc>
                <a:spcPts val="925"/>
              </a:lnSpc>
              <a:buClr>
                <a:schemeClr val="accent3"/>
              </a:buClr>
              <a:defRPr sz="792">
                <a:solidFill>
                  <a:schemeClr val="tx1"/>
                </a:solidFill>
              </a:defRPr>
            </a:lvl3pPr>
            <a:lvl4pPr marL="336408" indent="-106896">
              <a:lnSpc>
                <a:spcPts val="792"/>
              </a:lnSpc>
              <a:buClr>
                <a:schemeClr val="accent3"/>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620786" y="2583861"/>
            <a:ext cx="3953725" cy="412363"/>
          </a:xfrm>
          <a:prstGeom prst="rect">
            <a:avLst/>
          </a:prstGeom>
          <a:noFill/>
        </p:spPr>
        <p:txBody>
          <a:bodyPr anchor="ctr">
            <a:noAutofit/>
          </a:bodyPr>
          <a:lstStyle>
            <a:lvl1pPr algn="l">
              <a:defRPr sz="1189" b="0">
                <a:solidFill>
                  <a:schemeClr val="tx2"/>
                </a:solidFill>
              </a:defRPr>
            </a:lvl1pPr>
            <a:lvl2pPr>
              <a:defRPr sz="925"/>
            </a:lvl2pPr>
            <a:lvl3pPr>
              <a:defRPr sz="792"/>
            </a:lvl3pPr>
            <a:lvl4pPr>
              <a:defRPr sz="726"/>
            </a:lvl4pPr>
            <a:lvl5pPr>
              <a:defRPr sz="726"/>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620786" y="3027079"/>
            <a:ext cx="3953725" cy="996793"/>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3"/>
              </a:buClr>
              <a:defRPr sz="792">
                <a:solidFill>
                  <a:schemeClr val="tx1"/>
                </a:solidFill>
              </a:defRPr>
            </a:lvl2pPr>
            <a:lvl3pPr marL="229512" indent="-115280">
              <a:lnSpc>
                <a:spcPts val="925"/>
              </a:lnSpc>
              <a:buClr>
                <a:schemeClr val="accent3"/>
              </a:buClr>
              <a:defRPr sz="792">
                <a:solidFill>
                  <a:schemeClr val="tx1"/>
                </a:solidFill>
              </a:defRPr>
            </a:lvl3pPr>
            <a:lvl4pPr marL="336408" indent="-106896">
              <a:lnSpc>
                <a:spcPts val="792"/>
              </a:lnSpc>
              <a:buClr>
                <a:schemeClr val="accent3"/>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620786" y="4361683"/>
            <a:ext cx="3953725" cy="412363"/>
          </a:xfrm>
          <a:prstGeom prst="rect">
            <a:avLst/>
          </a:prstGeom>
          <a:noFill/>
        </p:spPr>
        <p:txBody>
          <a:bodyPr anchor="ctr">
            <a:noAutofit/>
          </a:bodyPr>
          <a:lstStyle>
            <a:lvl1pPr algn="l">
              <a:defRPr sz="1189" b="0">
                <a:solidFill>
                  <a:schemeClr val="tx2"/>
                </a:solidFill>
              </a:defRPr>
            </a:lvl1pPr>
            <a:lvl2pPr>
              <a:defRPr sz="925"/>
            </a:lvl2pPr>
            <a:lvl3pPr>
              <a:defRPr sz="792"/>
            </a:lvl3pPr>
            <a:lvl4pPr>
              <a:defRPr sz="726"/>
            </a:lvl4pPr>
            <a:lvl5pPr>
              <a:defRPr sz="726"/>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620786" y="4804901"/>
            <a:ext cx="3953725" cy="996793"/>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3"/>
              </a:buClr>
              <a:defRPr sz="792">
                <a:solidFill>
                  <a:schemeClr val="tx1"/>
                </a:solidFill>
              </a:defRPr>
            </a:lvl2pPr>
            <a:lvl3pPr marL="229512" indent="-115280">
              <a:lnSpc>
                <a:spcPts val="925"/>
              </a:lnSpc>
              <a:buClr>
                <a:schemeClr val="accent3"/>
              </a:buClr>
              <a:defRPr sz="792">
                <a:solidFill>
                  <a:schemeClr val="tx1"/>
                </a:solidFill>
              </a:defRPr>
            </a:lvl3pPr>
            <a:lvl4pPr marL="336408" indent="-106896">
              <a:lnSpc>
                <a:spcPts val="792"/>
              </a:lnSpc>
              <a:buClr>
                <a:schemeClr val="accent3"/>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p:nvSpPr>
        <p:spPr>
          <a:xfrm>
            <a:off x="7767766"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104923761"/>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507095" y="1903416"/>
            <a:ext cx="1180207"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5244847" y="1903416"/>
            <a:ext cx="1180207"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507095" y="4379456"/>
            <a:ext cx="1180207"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5244847" y="4379456"/>
            <a:ext cx="1180207"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793649" y="1903416"/>
            <a:ext cx="3041976" cy="1671637"/>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1"/>
              </a:buClr>
              <a:defRPr sz="792">
                <a:solidFill>
                  <a:schemeClr val="tx1"/>
                </a:solidFill>
              </a:defRPr>
            </a:lvl2pPr>
            <a:lvl3pPr marL="229512" indent="-115280">
              <a:lnSpc>
                <a:spcPts val="925"/>
              </a:lnSpc>
              <a:buClr>
                <a:schemeClr val="accent1"/>
              </a:buClr>
              <a:defRPr sz="792">
                <a:solidFill>
                  <a:schemeClr val="tx1"/>
                </a:solidFill>
              </a:defRPr>
            </a:lvl3pPr>
            <a:lvl4pPr marL="336408" indent="-106896">
              <a:lnSpc>
                <a:spcPts val="792"/>
              </a:lnSpc>
              <a:buClr>
                <a:schemeClr val="accent1"/>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532535" y="1903416"/>
            <a:ext cx="3041976" cy="1671637"/>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1"/>
              </a:buClr>
              <a:defRPr sz="792">
                <a:solidFill>
                  <a:schemeClr val="tx1"/>
                </a:solidFill>
              </a:defRPr>
            </a:lvl2pPr>
            <a:lvl3pPr marL="229512" indent="-115280">
              <a:lnSpc>
                <a:spcPts val="925"/>
              </a:lnSpc>
              <a:buClr>
                <a:schemeClr val="accent1"/>
              </a:buClr>
              <a:defRPr sz="792">
                <a:solidFill>
                  <a:schemeClr val="tx1"/>
                </a:solidFill>
              </a:defRPr>
            </a:lvl3pPr>
            <a:lvl4pPr marL="336408" indent="-106896">
              <a:lnSpc>
                <a:spcPts val="792"/>
              </a:lnSpc>
              <a:buClr>
                <a:schemeClr val="accent1"/>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793649" y="4379456"/>
            <a:ext cx="3041976" cy="1671637"/>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1"/>
              </a:buClr>
              <a:defRPr sz="792">
                <a:solidFill>
                  <a:schemeClr val="tx1"/>
                </a:solidFill>
              </a:defRPr>
            </a:lvl2pPr>
            <a:lvl3pPr marL="229512" indent="-115280">
              <a:lnSpc>
                <a:spcPts val="925"/>
              </a:lnSpc>
              <a:buClr>
                <a:schemeClr val="accent1"/>
              </a:buClr>
              <a:defRPr sz="792">
                <a:solidFill>
                  <a:schemeClr val="tx1"/>
                </a:solidFill>
              </a:defRPr>
            </a:lvl3pPr>
            <a:lvl4pPr marL="336408" indent="-106896">
              <a:lnSpc>
                <a:spcPts val="792"/>
              </a:lnSpc>
              <a:buClr>
                <a:schemeClr val="accent1"/>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532535" y="4379456"/>
            <a:ext cx="3041976" cy="1671637"/>
          </a:xfrm>
          <a:prstGeom prst="rect">
            <a:avLst/>
          </a:prstGeom>
        </p:spPr>
        <p:txBody>
          <a:bodyPr>
            <a:noAutofit/>
          </a:bodyPr>
          <a:lstStyle>
            <a:lvl1pPr>
              <a:lnSpc>
                <a:spcPts val="1056"/>
              </a:lnSpc>
              <a:defRPr sz="925">
                <a:solidFill>
                  <a:schemeClr val="tx1"/>
                </a:solidFill>
              </a:defRPr>
            </a:lvl1pPr>
            <a:lvl2pPr marL="114232" indent="-111087">
              <a:lnSpc>
                <a:spcPts val="925"/>
              </a:lnSpc>
              <a:buClr>
                <a:schemeClr val="accent1"/>
              </a:buClr>
              <a:defRPr sz="792">
                <a:solidFill>
                  <a:schemeClr val="tx1"/>
                </a:solidFill>
              </a:defRPr>
            </a:lvl2pPr>
            <a:lvl3pPr marL="229512" indent="-115280">
              <a:lnSpc>
                <a:spcPts val="925"/>
              </a:lnSpc>
              <a:buClr>
                <a:schemeClr val="accent1"/>
              </a:buClr>
              <a:defRPr sz="792">
                <a:solidFill>
                  <a:schemeClr val="tx1"/>
                </a:solidFill>
              </a:defRPr>
            </a:lvl3pPr>
            <a:lvl4pPr marL="336408" indent="-106896">
              <a:lnSpc>
                <a:spcPts val="792"/>
              </a:lnSpc>
              <a:buClr>
                <a:schemeClr val="accent1"/>
              </a:buClr>
              <a:defRPr sz="726">
                <a:solidFill>
                  <a:schemeClr val="tx1"/>
                </a:solidFill>
              </a:defRPr>
            </a:lvl4pPr>
            <a:lvl5pPr>
              <a:lnSpc>
                <a:spcPct val="100000"/>
              </a:lnSpc>
              <a:defRPr sz="792">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5068299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5393469" y="662162"/>
            <a:ext cx="3967981" cy="412363"/>
          </a:xfrm>
          <a:prstGeom prst="rect">
            <a:avLst/>
          </a:prstGeom>
          <a:noFill/>
        </p:spPr>
        <p:txBody>
          <a:bodyPr anchor="ctr">
            <a:noAutofit/>
          </a:bodyPr>
          <a:lstStyle>
            <a:lvl1pPr algn="l">
              <a:lnSpc>
                <a:spcPts val="1981"/>
              </a:lnSpc>
              <a:defRPr sz="1717" b="0">
                <a:solidFill>
                  <a:srgbClr val="12ABDB"/>
                </a:solidFill>
              </a:defRPr>
            </a:lvl1pPr>
            <a:lvl2pPr>
              <a:defRPr sz="925"/>
            </a:lvl2pPr>
            <a:lvl3pPr>
              <a:defRPr sz="792"/>
            </a:lvl3pPr>
            <a:lvl4pPr>
              <a:defRPr sz="726"/>
            </a:lvl4pPr>
            <a:lvl5pPr>
              <a:defRPr sz="726"/>
            </a:lvl5pPr>
          </a:lstStyle>
          <a:p>
            <a:pPr lvl="0"/>
            <a:r>
              <a:rPr lang="en-US"/>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5393469" y="4374300"/>
            <a:ext cx="3967981" cy="412363"/>
          </a:xfrm>
          <a:prstGeom prst="rect">
            <a:avLst/>
          </a:prstGeom>
          <a:noFill/>
        </p:spPr>
        <p:txBody>
          <a:bodyPr anchor="ctr">
            <a:noAutofit/>
          </a:bodyPr>
          <a:lstStyle>
            <a:lvl1pPr algn="l">
              <a:lnSpc>
                <a:spcPts val="1981"/>
              </a:lnSpc>
              <a:defRPr sz="1717" b="0">
                <a:solidFill>
                  <a:srgbClr val="12ABDB"/>
                </a:solidFill>
              </a:defRPr>
            </a:lvl1pPr>
            <a:lvl2pPr>
              <a:defRPr sz="925"/>
            </a:lvl2pPr>
            <a:lvl3pPr>
              <a:defRPr sz="792"/>
            </a:lvl3pPr>
            <a:lvl4pPr>
              <a:defRPr sz="726"/>
            </a:lvl4pPr>
            <a:lvl5pPr>
              <a:defRPr sz="726"/>
            </a:lvl5pPr>
          </a:lstStyle>
          <a:p>
            <a:pPr lvl="0"/>
            <a:r>
              <a:rPr lang="en-US"/>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5393467" y="4810702"/>
            <a:ext cx="3967982" cy="1717101"/>
          </a:xfrm>
          <a:prstGeom prst="rect">
            <a:avLst/>
          </a:prstGeom>
        </p:spPr>
        <p:txBody>
          <a:bodyPr>
            <a:noAutofit/>
          </a:bodyPr>
          <a:lstStyle>
            <a:lvl1pPr>
              <a:lnSpc>
                <a:spcPts val="1056"/>
              </a:lnSpc>
              <a:defRPr sz="925"/>
            </a:lvl1pPr>
            <a:lvl2pPr marL="114232" indent="-111087">
              <a:lnSpc>
                <a:spcPts val="925"/>
              </a:lnSpc>
              <a:defRPr sz="792"/>
            </a:lvl2pPr>
            <a:lvl3pPr marL="229512" indent="-115280">
              <a:lnSpc>
                <a:spcPts val="792"/>
              </a:lnSpc>
              <a:defRPr sz="726"/>
            </a:lvl3pPr>
            <a:lvl4pPr marL="267240" indent="-76504">
              <a:lnSpc>
                <a:spcPts val="726"/>
              </a:lnSpc>
              <a:defRPr sz="661"/>
            </a:lvl4pPr>
            <a:lvl5pPr>
              <a:lnSpc>
                <a:spcPct val="100000"/>
              </a:lnSpc>
              <a:defRPr sz="792"/>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5393468" y="1265729"/>
            <a:ext cx="1610089" cy="1058371"/>
          </a:xfrm>
          <a:prstGeom prst="rect">
            <a:avLst/>
          </a:prstGeom>
        </p:spPr>
        <p:txBody>
          <a:bodyPr>
            <a:noAutofit/>
          </a:bodyPr>
          <a:lstStyle>
            <a:lvl1pPr>
              <a:lnSpc>
                <a:spcPts val="925"/>
              </a:lnSpc>
              <a:defRPr sz="792"/>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696891" y="1265729"/>
            <a:ext cx="1610089" cy="1058371"/>
          </a:xfrm>
          <a:prstGeom prst="rect">
            <a:avLst/>
          </a:prstGeom>
        </p:spPr>
        <p:txBody>
          <a:bodyPr>
            <a:noAutofit/>
          </a:bodyPr>
          <a:lstStyle>
            <a:lvl1pPr>
              <a:lnSpc>
                <a:spcPts val="925"/>
              </a:lnSpc>
              <a:defRPr sz="792"/>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5393468" y="2455547"/>
            <a:ext cx="1610089" cy="1058371"/>
          </a:xfrm>
          <a:prstGeom prst="rect">
            <a:avLst/>
          </a:prstGeom>
        </p:spPr>
        <p:txBody>
          <a:bodyPr>
            <a:noAutofit/>
          </a:bodyPr>
          <a:lstStyle>
            <a:lvl1pPr>
              <a:lnSpc>
                <a:spcPts val="925"/>
              </a:lnSpc>
              <a:defRPr sz="792"/>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696891" y="2455547"/>
            <a:ext cx="1610089" cy="1058371"/>
          </a:xfrm>
          <a:prstGeom prst="rect">
            <a:avLst/>
          </a:prstGeom>
        </p:spPr>
        <p:txBody>
          <a:bodyPr>
            <a:noAutofit/>
          </a:bodyPr>
          <a:lstStyle>
            <a:lvl1pPr>
              <a:lnSpc>
                <a:spcPts val="925"/>
              </a:lnSpc>
              <a:defRPr sz="792"/>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p:nvSpPr>
        <p:spPr bwMode="auto">
          <a:xfrm>
            <a:off x="1" y="0"/>
            <a:ext cx="5130340"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noAutofit/>
          </a:bodyPr>
          <a:lstStyle/>
          <a:p>
            <a:endParaRPr lang="pt-PT" sz="1255">
              <a:solidFill>
                <a:srgbClr val="000000"/>
              </a:solidFill>
            </a:endParaRPr>
          </a:p>
        </p:txBody>
      </p:sp>
      <p:sp>
        <p:nvSpPr>
          <p:cNvPr id="23" name="Freeform 26">
            <a:extLst>
              <a:ext uri="{FF2B5EF4-FFF2-40B4-BE49-F238E27FC236}">
                <a16:creationId xmlns="" xmlns:a16="http://schemas.microsoft.com/office/drawing/2014/main" id="{B017E329-98D6-4441-B449-FBAD88FAA377}"/>
              </a:ext>
            </a:extLst>
          </p:cNvPr>
          <p:cNvSpPr>
            <a:spLocks/>
          </p:cNvSpPr>
          <p:nvPr/>
        </p:nvSpPr>
        <p:spPr bwMode="auto">
          <a:xfrm>
            <a:off x="4621831" y="4703085"/>
            <a:ext cx="336650"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endParaRPr lang="pt-PT" sz="1255" b="1">
              <a:solidFill>
                <a:srgbClr val="000000"/>
              </a:solidFill>
            </a:endParaRPr>
          </a:p>
        </p:txBody>
      </p:sp>
      <p:sp>
        <p:nvSpPr>
          <p:cNvPr id="24" name="Freeform 27">
            <a:extLst>
              <a:ext uri="{FF2B5EF4-FFF2-40B4-BE49-F238E27FC236}">
                <a16:creationId xmlns="" xmlns:a16="http://schemas.microsoft.com/office/drawing/2014/main" id="{8015E310-A729-4C80-936F-71D663EE6DA7}"/>
              </a:ext>
            </a:extLst>
          </p:cNvPr>
          <p:cNvSpPr>
            <a:spLocks/>
          </p:cNvSpPr>
          <p:nvPr/>
        </p:nvSpPr>
        <p:spPr bwMode="auto">
          <a:xfrm>
            <a:off x="4445894" y="4458435"/>
            <a:ext cx="51258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365" tIns="30183" rIns="60365" bIns="30183" numCol="1" anchor="t" anchorCtr="0" compatLnSpc="1">
            <a:prstTxWarp prst="textNoShape">
              <a:avLst/>
            </a:prstTxWarp>
          </a:bodyPr>
          <a:lstStyle/>
          <a:p>
            <a:endParaRPr lang="pt-PT" sz="1255" b="1">
              <a:solidFill>
                <a:srgbClr val="000000"/>
              </a:solidFill>
            </a:endParaRPr>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35314" y="4869077"/>
            <a:ext cx="2717071" cy="1088820"/>
          </a:xfrm>
          <a:prstGeom prst="rect">
            <a:avLst/>
          </a:prstGeom>
        </p:spPr>
        <p:txBody>
          <a:bodyPr anchor="b">
            <a:noAutofit/>
          </a:bodyPr>
          <a:lstStyle>
            <a:lvl1pPr>
              <a:lnSpc>
                <a:spcPts val="1056"/>
              </a:lnSpc>
              <a:spcAft>
                <a:spcPts val="0"/>
              </a:spcAft>
              <a:defRPr sz="925">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prstClr val="white"/>
                </a:solidFill>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16868695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9060"/>
          <a:stretch/>
        </p:blipFill>
        <p:spPr>
          <a:xfrm flipH="1">
            <a:off x="0" y="0"/>
            <a:ext cx="5466628"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31491" y="2439343"/>
            <a:ext cx="4013895" cy="1008112"/>
          </a:xfrm>
          <a:prstGeom prst="rect">
            <a:avLst/>
          </a:prstGeom>
        </p:spPr>
        <p:txBody>
          <a:bodyPr anchor="t">
            <a:noAutofit/>
          </a:bodyPr>
          <a:lstStyle>
            <a:lvl1pPr algn="l">
              <a:lnSpc>
                <a:spcPts val="1189"/>
              </a:lnSpc>
              <a:spcAft>
                <a:spcPts val="397"/>
              </a:spcAft>
              <a:defRPr sz="1056">
                <a:solidFill>
                  <a:schemeClr val="bg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6415664" y="1404921"/>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6415664" y="5918247"/>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6415664" y="5015581"/>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6415664" y="4112916"/>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6415664" y="3210251"/>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6415664" y="2307586"/>
            <a:ext cx="3158848" cy="524886"/>
          </a:xfrm>
          <a:prstGeom prst="rect">
            <a:avLst/>
          </a:prstGeom>
        </p:spPr>
        <p:txBody>
          <a:bodyPr anchor="ctr">
            <a:noAutofit/>
          </a:bodyPr>
          <a:lstStyle>
            <a:lvl1pPr algn="l">
              <a:lnSpc>
                <a:spcPts val="1056"/>
              </a:lnSpc>
              <a:defRPr sz="925">
                <a:solidFill>
                  <a:schemeClr val="tx1"/>
                </a:solidFill>
              </a:defRPr>
            </a:lvl1pPr>
            <a:lvl2pPr>
              <a:lnSpc>
                <a:spcPct val="100000"/>
              </a:lnSpc>
              <a:defRPr sz="925"/>
            </a:lvl2pPr>
            <a:lvl3pPr>
              <a:lnSpc>
                <a:spcPct val="100000"/>
              </a:lnSpc>
              <a:defRPr sz="925"/>
            </a:lvl3pPr>
            <a:lvl4pPr>
              <a:lnSpc>
                <a:spcPct val="100000"/>
              </a:lnSpc>
              <a:defRPr sz="925"/>
            </a:lvl4pPr>
            <a:lvl5pPr>
              <a:lnSpc>
                <a:spcPct val="100000"/>
              </a:lnSpc>
              <a:defRPr sz="792"/>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1447298"/>
            <a:ext cx="4445990"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1981"/>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918682562"/>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p:nvSpPr>
        <p:spPr>
          <a:xfrm>
            <a:off x="810961" y="2708998"/>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16" name="Rectangle 15">
            <a:extLst>
              <a:ext uri="{FF2B5EF4-FFF2-40B4-BE49-F238E27FC236}">
                <a16:creationId xmlns="" xmlns:a16="http://schemas.microsoft.com/office/drawing/2014/main" id="{07A11129-008D-4898-86B9-B6C83562FA3A}"/>
              </a:ext>
            </a:extLst>
          </p:cNvPr>
          <p:cNvSpPr/>
          <p:nvPr/>
        </p:nvSpPr>
        <p:spPr>
          <a:xfrm>
            <a:off x="3738529" y="2744282"/>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17" name="Rectangle 16">
            <a:extLst>
              <a:ext uri="{FF2B5EF4-FFF2-40B4-BE49-F238E27FC236}">
                <a16:creationId xmlns="" xmlns:a16="http://schemas.microsoft.com/office/drawing/2014/main" id="{92D1F7AF-5F53-4627-A1CF-B58FCC387FCC}"/>
              </a:ext>
            </a:extLst>
          </p:cNvPr>
          <p:cNvSpPr/>
          <p:nvPr/>
        </p:nvSpPr>
        <p:spPr>
          <a:xfrm>
            <a:off x="6666095" y="2744282"/>
            <a:ext cx="2451735"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12" name="Oval 20">
            <a:extLst>
              <a:ext uri="{FF2B5EF4-FFF2-40B4-BE49-F238E27FC236}">
                <a16:creationId xmlns="" xmlns:a16="http://schemas.microsoft.com/office/drawing/2014/main" id="{C5DBDB28-88AB-4F14-9F73-9D7C1E6EE4B1}"/>
              </a:ext>
            </a:extLst>
          </p:cNvPr>
          <p:cNvSpPr/>
          <p:nvPr/>
        </p:nvSpPr>
        <p:spPr>
          <a:xfrm>
            <a:off x="7048304" y="1772819"/>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13" name="Oval 20">
            <a:extLst>
              <a:ext uri="{FF2B5EF4-FFF2-40B4-BE49-F238E27FC236}">
                <a16:creationId xmlns="" xmlns:a16="http://schemas.microsoft.com/office/drawing/2014/main" id="{2F532516-8DF9-44A4-935A-3131E96D437E}"/>
              </a:ext>
            </a:extLst>
          </p:cNvPr>
          <p:cNvSpPr/>
          <p:nvPr/>
        </p:nvSpPr>
        <p:spPr>
          <a:xfrm>
            <a:off x="4120737" y="1772819"/>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55">
              <a:solidFill>
                <a:prstClr val="white"/>
              </a:solidFill>
            </a:endParaRPr>
          </a:p>
        </p:txBody>
      </p:sp>
      <p:sp>
        <p:nvSpPr>
          <p:cNvPr id="14" name="Oval 20">
            <a:extLst>
              <a:ext uri="{FF2B5EF4-FFF2-40B4-BE49-F238E27FC236}">
                <a16:creationId xmlns="" xmlns:a16="http://schemas.microsoft.com/office/drawing/2014/main" id="{41ACABC2-6590-4E4B-9507-376785C34C7E}"/>
              </a:ext>
            </a:extLst>
          </p:cNvPr>
          <p:cNvSpPr/>
          <p:nvPr/>
        </p:nvSpPr>
        <p:spPr>
          <a:xfrm>
            <a:off x="1193170" y="1772819"/>
            <a:ext cx="1687321"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48" b="1">
              <a:solidFill>
                <a:prstClr val="white"/>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364175" y="2492378"/>
            <a:ext cx="1345307" cy="576263"/>
          </a:xfrm>
          <a:prstGeom prst="rect">
            <a:avLst/>
          </a:prstGeom>
        </p:spPr>
        <p:txBody>
          <a:bodyPr anchor="ctr">
            <a:noAutofit/>
          </a:bodyPr>
          <a:lstStyle>
            <a:lvl1pPr algn="ctr">
              <a:lnSpc>
                <a:spcPts val="1981"/>
              </a:lnSpc>
              <a:defRPr sz="1717"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4291743" y="2492899"/>
            <a:ext cx="1345307" cy="576263"/>
          </a:xfrm>
          <a:prstGeom prst="rect">
            <a:avLst/>
          </a:prstGeom>
        </p:spPr>
        <p:txBody>
          <a:bodyPr anchor="ctr">
            <a:noAutofit/>
          </a:bodyPr>
          <a:lstStyle>
            <a:lvl1pPr algn="ctr">
              <a:lnSpc>
                <a:spcPts val="1981"/>
              </a:lnSpc>
              <a:defRPr sz="1717"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7219309" y="2465858"/>
            <a:ext cx="1345307" cy="576263"/>
          </a:xfrm>
          <a:prstGeom prst="rect">
            <a:avLst/>
          </a:prstGeom>
        </p:spPr>
        <p:txBody>
          <a:bodyPr anchor="ctr">
            <a:noAutofit/>
          </a:bodyPr>
          <a:lstStyle>
            <a:lvl1pPr algn="ctr">
              <a:lnSpc>
                <a:spcPts val="1981"/>
              </a:lnSpc>
              <a:defRPr sz="1717"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924983" y="4005263"/>
            <a:ext cx="2223691" cy="647700"/>
          </a:xfrm>
          <a:prstGeom prst="rect">
            <a:avLst/>
          </a:prstGeom>
        </p:spPr>
        <p:txBody>
          <a:bodyPr/>
          <a:lstStyle>
            <a:lvl1pPr algn="ctr">
              <a:defRPr/>
            </a:lvl1pPr>
            <a:lvl2pPr marL="301823"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852551" y="4005064"/>
            <a:ext cx="2223691" cy="647700"/>
          </a:xfrm>
          <a:prstGeom prst="rect">
            <a:avLst/>
          </a:prstGeom>
        </p:spPr>
        <p:txBody>
          <a:bodyPr/>
          <a:lstStyle>
            <a:lvl1pPr algn="ctr">
              <a:defRPr/>
            </a:lvl1pPr>
            <a:lvl2pPr marL="301823"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780117" y="4005064"/>
            <a:ext cx="2223691" cy="647700"/>
          </a:xfrm>
          <a:prstGeom prst="rect">
            <a:avLst/>
          </a:prstGeom>
        </p:spPr>
        <p:txBody>
          <a:bodyPr/>
          <a:lstStyle>
            <a:lvl1pPr algn="ctr">
              <a:defRPr/>
            </a:lvl1pPr>
            <a:lvl2pPr marL="301823"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780117" y="4941891"/>
            <a:ext cx="2223691" cy="935037"/>
          </a:xfrm>
          <a:prstGeom prst="rect">
            <a:avLst/>
          </a:prstGeom>
        </p:spPr>
        <p:txBody>
          <a:bodyPr>
            <a:normAutofit/>
          </a:bodyPr>
          <a:lstStyle>
            <a:lvl1pPr>
              <a:defRPr sz="925"/>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852551" y="4919318"/>
            <a:ext cx="2223691" cy="935037"/>
          </a:xfrm>
          <a:prstGeom prst="rect">
            <a:avLst/>
          </a:prstGeom>
        </p:spPr>
        <p:txBody>
          <a:bodyPr>
            <a:normAutofit/>
          </a:bodyPr>
          <a:lstStyle>
            <a:lvl1pPr>
              <a:defRPr sz="925"/>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924983" y="4919318"/>
            <a:ext cx="2223691" cy="935037"/>
          </a:xfrm>
          <a:prstGeom prst="rect">
            <a:avLst/>
          </a:prstGeom>
        </p:spPr>
        <p:txBody>
          <a:bodyPr>
            <a:normAutofit/>
          </a:bodyPr>
          <a:lstStyle>
            <a:lvl1pPr>
              <a:defRPr sz="925"/>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1490" y="404813"/>
            <a:ext cx="8950991" cy="863600"/>
          </a:xfrm>
          <a:prstGeom prst="rect">
            <a:avLst/>
          </a:prstGeom>
        </p:spPr>
        <p:txBody>
          <a:bodyPr vert="horz" lIns="0" tIns="0" rIns="0" bIns="0" rtlCol="0" anchor="t">
            <a:normAutofit/>
          </a:bodyPr>
          <a:lstStyle>
            <a:lvl1pPr>
              <a:defRPr lang="pt-PT" dirty="0"/>
            </a:lvl1pPr>
          </a:lstStyle>
          <a:p>
            <a:pPr lvl="0">
              <a:lnSpc>
                <a:spcPts val="1981"/>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p:nvSpPr>
        <p:spPr>
          <a:xfrm>
            <a:off x="9469754" y="6555758"/>
            <a:ext cx="301686" cy="173574"/>
          </a:xfrm>
          <a:prstGeom prst="rect">
            <a:avLst/>
          </a:prstGeom>
        </p:spPr>
        <p:txBody>
          <a:bodyPr wrap="none">
            <a:spAutoFit/>
          </a:bodyPr>
          <a:lstStyle/>
          <a:p>
            <a:pPr algn="r"/>
            <a:fld id="{0502E5A9-B53C-401E-A0E0-4A359BB0A9E5}" type="slidenum">
              <a:rPr lang="en-US" sz="528" smtClean="0">
                <a:solidFill>
                  <a:prstClr val="black">
                    <a:lumMod val="50000"/>
                    <a:lumOff val="50000"/>
                  </a:prstClr>
                </a:solidFill>
                <a:cs typeface="Arial" panose="020B0604020202020204" pitchFamily="34" charset="0"/>
              </a:rPr>
              <a:pPr algn="r"/>
              <a:t>‹#›</a:t>
            </a:fld>
            <a:endParaRPr lang="en-US" sz="528"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66798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p:nvSpPr>
        <p:spPr>
          <a:xfrm>
            <a:off x="331492" y="6555971"/>
            <a:ext cx="2298568" cy="219456"/>
          </a:xfrm>
          <a:prstGeom prst="rect">
            <a:avLst/>
          </a:prstGeom>
        </p:spPr>
        <p:txBody>
          <a:bodyPr wrap="square" lIns="0" tIns="0" rIns="0" bIns="0" anchor="ctr" anchorCtr="0">
            <a:noAutofit/>
          </a:bodyPr>
          <a:lstStyle/>
          <a:p>
            <a:pPr defTabSz="603647">
              <a:lnSpc>
                <a:spcPct val="85000"/>
              </a:lnSpc>
              <a:defRPr/>
            </a:pPr>
            <a:r>
              <a:rPr lang="en-US" sz="528"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771745" y="6555758"/>
            <a:ext cx="1806745" cy="219456"/>
          </a:xfrm>
          <a:prstGeom prst="rect">
            <a:avLst/>
          </a:prstGeom>
        </p:spPr>
        <p:txBody>
          <a:bodyPr wrap="none" lIns="0" tIns="0" rIns="0" bIns="0" anchor="ctr">
            <a:noAutofit/>
          </a:bodyPr>
          <a:lstStyle/>
          <a:p>
            <a:r>
              <a:rPr lang="en-US" sz="528"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43546360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vmlDrawing" Target="../drawings/vmlDrawing55.v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theme" Target="../theme/theme10.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image" Target="../media/image27.emf"/><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oleObject" Target="../embeddings/oleObject67.bin"/><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tags" Target="../tags/tag33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11.tiff"/><Relationship Id="rId26" Type="http://schemas.openxmlformats.org/officeDocument/2006/relationships/hyperlink" Target="http://www.youtube.com/capgemini" TargetMode="External"/><Relationship Id="rId3" Type="http://schemas.openxmlformats.org/officeDocument/2006/relationships/theme" Target="../theme/theme2.xml"/><Relationship Id="rId21" Type="http://schemas.openxmlformats.org/officeDocument/2006/relationships/image" Target="../media/image12.png"/><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1.emf"/><Relationship Id="rId25" Type="http://schemas.openxmlformats.org/officeDocument/2006/relationships/image" Target="../media/image14.png"/><Relationship Id="rId2" Type="http://schemas.openxmlformats.org/officeDocument/2006/relationships/slideLayout" Target="../slideLayouts/slideLayout17.xml"/><Relationship Id="rId16" Type="http://schemas.openxmlformats.org/officeDocument/2006/relationships/oleObject" Target="../embeddings/oleObject12.bin"/><Relationship Id="rId20" Type="http://schemas.openxmlformats.org/officeDocument/2006/relationships/hyperlink" Target="http://www.facebook.com/Capgemini" TargetMode="External"/><Relationship Id="rId29" Type="http://schemas.openxmlformats.org/officeDocument/2006/relationships/image" Target="../media/image16.gif"/><Relationship Id="rId1" Type="http://schemas.openxmlformats.org/officeDocument/2006/relationships/slideLayout" Target="../slideLayouts/slideLayout16.x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hyperlink" Target="http://www.twitter.com/capgemini" TargetMode="Externa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image" Target="../media/image13.png"/><Relationship Id="rId28" Type="http://schemas.openxmlformats.org/officeDocument/2006/relationships/hyperlink" Target="http://www.slideshare.net/capgemini" TargetMode="External"/><Relationship Id="rId10" Type="http://schemas.openxmlformats.org/officeDocument/2006/relationships/tags" Target="../tags/tag55.xml"/><Relationship Id="rId19" Type="http://schemas.openxmlformats.org/officeDocument/2006/relationships/image" Target="../media/image4.emf"/><Relationship Id="rId4" Type="http://schemas.openxmlformats.org/officeDocument/2006/relationships/vmlDrawing" Target="../drawings/vmlDrawing12.v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hyperlink" Target="http://www.linkedin.com/company/capgemini" TargetMode="External"/><Relationship Id="rId27" Type="http://schemas.openxmlformats.org/officeDocument/2006/relationships/image" Target="../media/image15.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5.bin"/><Relationship Id="rId5" Type="http://schemas.openxmlformats.org/officeDocument/2006/relationships/tags" Target="../tags/tag68.xml"/><Relationship Id="rId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slideLayout" Target="../slideLayouts/slideLayout22.xml"/><Relationship Id="rId21" Type="http://schemas.openxmlformats.org/officeDocument/2006/relationships/tags" Target="../tags/tag83.xml"/><Relationship Id="rId7" Type="http://schemas.openxmlformats.org/officeDocument/2006/relationships/slideLayout" Target="../slideLayouts/slideLayout26.xml"/><Relationship Id="rId12" Type="http://schemas.openxmlformats.org/officeDocument/2006/relationships/vmlDrawing" Target="../drawings/vmlDrawing18.vml"/><Relationship Id="rId17" Type="http://schemas.openxmlformats.org/officeDocument/2006/relationships/tags" Target="../tags/tag79.xml"/><Relationship Id="rId2" Type="http://schemas.openxmlformats.org/officeDocument/2006/relationships/slideLayout" Target="../slideLayouts/slideLayout21.xml"/><Relationship Id="rId16" Type="http://schemas.openxmlformats.org/officeDocument/2006/relationships/tags" Target="../tags/tag78.xml"/><Relationship Id="rId20" Type="http://schemas.openxmlformats.org/officeDocument/2006/relationships/tags" Target="../tags/tag8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4.xml"/><Relationship Id="rId15" Type="http://schemas.openxmlformats.org/officeDocument/2006/relationships/tags" Target="../tags/tag77.xml"/><Relationship Id="rId23" Type="http://schemas.openxmlformats.org/officeDocument/2006/relationships/image" Target="../media/image1.emf"/><Relationship Id="rId10" Type="http://schemas.openxmlformats.org/officeDocument/2006/relationships/slideLayout" Target="../slideLayouts/slideLayout29.xml"/><Relationship Id="rId19" Type="http://schemas.openxmlformats.org/officeDocument/2006/relationships/tags" Target="../tags/tag81.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76.xml"/><Relationship Id="rId22" Type="http://schemas.openxmlformats.org/officeDocument/2006/relationships/oleObject" Target="../embeddings/oleObject1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119.xml"/><Relationship Id="rId18" Type="http://schemas.openxmlformats.org/officeDocument/2006/relationships/tags" Target="../tags/tag124.xml"/><Relationship Id="rId3" Type="http://schemas.openxmlformats.org/officeDocument/2006/relationships/slideLayout" Target="../slideLayouts/slideLayout32.xml"/><Relationship Id="rId21" Type="http://schemas.openxmlformats.org/officeDocument/2006/relationships/tags" Target="../tags/tag127.xml"/><Relationship Id="rId7" Type="http://schemas.openxmlformats.org/officeDocument/2006/relationships/slideLayout" Target="../slideLayouts/slideLayout36.xml"/><Relationship Id="rId12" Type="http://schemas.openxmlformats.org/officeDocument/2006/relationships/vmlDrawing" Target="../drawings/vmlDrawing26.vml"/><Relationship Id="rId17" Type="http://schemas.openxmlformats.org/officeDocument/2006/relationships/tags" Target="../tags/tag123.xml"/><Relationship Id="rId2" Type="http://schemas.openxmlformats.org/officeDocument/2006/relationships/slideLayout" Target="../slideLayouts/slideLayout31.xml"/><Relationship Id="rId16" Type="http://schemas.openxmlformats.org/officeDocument/2006/relationships/tags" Target="../tags/tag122.xml"/><Relationship Id="rId20" Type="http://schemas.openxmlformats.org/officeDocument/2006/relationships/tags" Target="../tags/tag126.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5.xml"/><Relationship Id="rId24" Type="http://schemas.openxmlformats.org/officeDocument/2006/relationships/image" Target="../media/image2.png"/><Relationship Id="rId5" Type="http://schemas.openxmlformats.org/officeDocument/2006/relationships/slideLayout" Target="../slideLayouts/slideLayout34.xml"/><Relationship Id="rId15" Type="http://schemas.openxmlformats.org/officeDocument/2006/relationships/tags" Target="../tags/tag121.xml"/><Relationship Id="rId23" Type="http://schemas.openxmlformats.org/officeDocument/2006/relationships/image" Target="../media/image1.emf"/><Relationship Id="rId10" Type="http://schemas.openxmlformats.org/officeDocument/2006/relationships/slideLayout" Target="../slideLayouts/slideLayout39.xml"/><Relationship Id="rId19" Type="http://schemas.openxmlformats.org/officeDocument/2006/relationships/tags" Target="../tags/tag125.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120.xml"/><Relationship Id="rId22" Type="http://schemas.openxmlformats.org/officeDocument/2006/relationships/oleObject" Target="../embeddings/oleObject26.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195.xml"/><Relationship Id="rId26" Type="http://schemas.openxmlformats.org/officeDocument/2006/relationships/image" Target="../media/image1.emf"/><Relationship Id="rId3" Type="http://schemas.openxmlformats.org/officeDocument/2006/relationships/slideLayout" Target="../slideLayouts/slideLayout42.xml"/><Relationship Id="rId21" Type="http://schemas.openxmlformats.org/officeDocument/2006/relationships/tags" Target="../tags/tag198.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194.xml"/><Relationship Id="rId25" Type="http://schemas.openxmlformats.org/officeDocument/2006/relationships/oleObject" Target="../embeddings/oleObject41.bin"/><Relationship Id="rId2" Type="http://schemas.openxmlformats.org/officeDocument/2006/relationships/slideLayout" Target="../slideLayouts/slideLayout41.xml"/><Relationship Id="rId16" Type="http://schemas.openxmlformats.org/officeDocument/2006/relationships/tags" Target="../tags/tag193.xml"/><Relationship Id="rId20" Type="http://schemas.openxmlformats.org/officeDocument/2006/relationships/tags" Target="../tags/tag197.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ags" Target="../tags/tag201.xml"/><Relationship Id="rId5" Type="http://schemas.openxmlformats.org/officeDocument/2006/relationships/slideLayout" Target="../slideLayouts/slideLayout44.xml"/><Relationship Id="rId15" Type="http://schemas.openxmlformats.org/officeDocument/2006/relationships/vmlDrawing" Target="../drawings/vmlDrawing36.vml"/><Relationship Id="rId23" Type="http://schemas.openxmlformats.org/officeDocument/2006/relationships/tags" Target="../tags/tag200.xml"/><Relationship Id="rId10" Type="http://schemas.openxmlformats.org/officeDocument/2006/relationships/slideLayout" Target="../slideLayouts/slideLayout49.xml"/><Relationship Id="rId19" Type="http://schemas.openxmlformats.org/officeDocument/2006/relationships/tags" Target="../tags/tag196.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6.xml"/><Relationship Id="rId22" Type="http://schemas.openxmlformats.org/officeDocument/2006/relationships/tags" Target="../tags/tag199.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18" Type="http://schemas.openxmlformats.org/officeDocument/2006/relationships/image" Target="../media/image18.png"/><Relationship Id="rId26" Type="http://schemas.openxmlformats.org/officeDocument/2006/relationships/hyperlink" Target="http://www.youtube.com/capgemini" TargetMode="External"/><Relationship Id="rId3" Type="http://schemas.openxmlformats.org/officeDocument/2006/relationships/theme" Target="../theme/theme7.xml"/><Relationship Id="rId21" Type="http://schemas.openxmlformats.org/officeDocument/2006/relationships/image" Target="../media/image12.png"/><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image" Target="../media/image1.emf"/><Relationship Id="rId25" Type="http://schemas.openxmlformats.org/officeDocument/2006/relationships/image" Target="../media/image14.png"/><Relationship Id="rId2" Type="http://schemas.openxmlformats.org/officeDocument/2006/relationships/slideLayout" Target="../slideLayouts/slideLayout54.xml"/><Relationship Id="rId16" Type="http://schemas.openxmlformats.org/officeDocument/2006/relationships/oleObject" Target="../embeddings/oleObject57.bin"/><Relationship Id="rId20" Type="http://schemas.openxmlformats.org/officeDocument/2006/relationships/hyperlink" Target="http://www.facebook.com/Capgemini" TargetMode="External"/><Relationship Id="rId29" Type="http://schemas.openxmlformats.org/officeDocument/2006/relationships/image" Target="../media/image16.gif"/><Relationship Id="rId1" Type="http://schemas.openxmlformats.org/officeDocument/2006/relationships/slideLayout" Target="../slideLayouts/slideLayout53.xml"/><Relationship Id="rId6" Type="http://schemas.openxmlformats.org/officeDocument/2006/relationships/tags" Target="../tags/tag280.xml"/><Relationship Id="rId11" Type="http://schemas.openxmlformats.org/officeDocument/2006/relationships/tags" Target="../tags/tag285.xml"/><Relationship Id="rId24" Type="http://schemas.openxmlformats.org/officeDocument/2006/relationships/hyperlink" Target="http://www.twitter.com/capgemini" TargetMode="External"/><Relationship Id="rId5" Type="http://schemas.openxmlformats.org/officeDocument/2006/relationships/tags" Target="../tags/tag279.xml"/><Relationship Id="rId15" Type="http://schemas.openxmlformats.org/officeDocument/2006/relationships/tags" Target="../tags/tag289.xml"/><Relationship Id="rId23" Type="http://schemas.openxmlformats.org/officeDocument/2006/relationships/image" Target="../media/image13.png"/><Relationship Id="rId28" Type="http://schemas.openxmlformats.org/officeDocument/2006/relationships/hyperlink" Target="http://www.slideshare.net/capgemini" TargetMode="External"/><Relationship Id="rId10" Type="http://schemas.openxmlformats.org/officeDocument/2006/relationships/tags" Target="../tags/tag284.xml"/><Relationship Id="rId19" Type="http://schemas.openxmlformats.org/officeDocument/2006/relationships/image" Target="../media/image4.emf"/><Relationship Id="rId4" Type="http://schemas.openxmlformats.org/officeDocument/2006/relationships/vmlDrawing" Target="../drawings/vmlDrawing47.vml"/><Relationship Id="rId9" Type="http://schemas.openxmlformats.org/officeDocument/2006/relationships/tags" Target="../tags/tag283.xml"/><Relationship Id="rId14" Type="http://schemas.openxmlformats.org/officeDocument/2006/relationships/tags" Target="../tags/tag288.xml"/><Relationship Id="rId22" Type="http://schemas.openxmlformats.org/officeDocument/2006/relationships/hyperlink" Target="http://www.linkedin.com/company/capgemini" TargetMode="External"/><Relationship Id="rId27" Type="http://schemas.openxmlformats.org/officeDocument/2006/relationships/image" Target="../media/image1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image" Target="../media/image2.sv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image" Target="../media/image19.png"/><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theme" Target="../theme/theme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image" Target="../media/image20.svg"/><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455" name="think-cell Slide" r:id="rId26" imgW="360" imgH="360" progId="">
                  <p:embed/>
                </p:oleObj>
              </mc:Choice>
              <mc:Fallback>
                <p:oleObj name="think-cell Slide" r:id="rId26" imgW="360" imgH="360" progId="">
                  <p:embed/>
                  <p:pic>
                    <p:nvPicPr>
                      <p:cNvPr id="0" name="Picture 285"/>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2"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956749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latin typeface="+mj-lt"/>
            </a:endParaRPr>
          </a:p>
        </p:txBody>
      </p:sp>
      <p:sp>
        <p:nvSpPr>
          <p:cNvPr id="12" name="Rectangle 11"/>
          <p:cNvSpPr>
            <a:spLocks noChangeArrowheads="1"/>
          </p:cNvSpPr>
          <p:nvPr>
            <p:custDataLst>
              <p:tags r:id="rId23"/>
            </p:custDataLst>
          </p:nvPr>
        </p:nvSpPr>
        <p:spPr bwMode="auto">
          <a:xfrm>
            <a:off x="6741831" y="6623405"/>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24"/>
            </p:custDataLst>
          </p:nvPr>
        </p:nvPicPr>
        <p:blipFill>
          <a:blip r:embed="rId28"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5"/>
            </p:custDataLst>
          </p:nvPr>
        </p:nvCxnSpPr>
        <p:spPr>
          <a:xfrm flipH="1">
            <a:off x="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3733800" y="6457890"/>
            <a:ext cx="2953501" cy="276999"/>
          </a:xfrm>
          <a:prstGeom prst="rect">
            <a:avLst/>
          </a:prstGeom>
        </p:spPr>
        <p:txBody>
          <a:bodyPr wrap="none">
            <a:spAutoFit/>
          </a:bodyPr>
          <a:lstStyle/>
          <a:p>
            <a:r>
              <a:rPr lang="en-US" sz="1200" b="1" dirty="0" smtClean="0">
                <a:solidFill>
                  <a:srgbClr val="FF0000"/>
                </a:solidFill>
              </a:rPr>
              <a:t>CONFIDENTIAL – Please do</a:t>
            </a:r>
            <a:r>
              <a:rPr lang="en-US" sz="1200" b="1" baseline="0" dirty="0" smtClean="0">
                <a:solidFill>
                  <a:srgbClr val="FF0000"/>
                </a:solidFill>
              </a:rPr>
              <a:t> not share</a:t>
            </a:r>
            <a:endParaRPr lang="en-US" sz="1200" dirty="0"/>
          </a:p>
        </p:txBody>
      </p:sp>
      <p:sp>
        <p:nvSpPr>
          <p:cNvPr id="17" name="Rectangle 16"/>
          <p:cNvSpPr/>
          <p:nvPr userDrawn="1"/>
        </p:nvSpPr>
        <p:spPr>
          <a:xfrm>
            <a:off x="7315200" y="6477000"/>
            <a:ext cx="1782860" cy="200055"/>
          </a:xfrm>
          <a:prstGeom prst="rect">
            <a:avLst/>
          </a:prstGeom>
        </p:spPr>
        <p:txBody>
          <a:bodyPr wrap="none">
            <a:spAutoFit/>
          </a:bodyPr>
          <a:lstStyle/>
          <a:p>
            <a:r>
              <a:rPr lang="it-IT" sz="700" dirty="0" smtClean="0">
                <a:solidFill>
                  <a:schemeClr val="tx2"/>
                </a:solidFill>
              </a:rPr>
              <a:t>NH203_Data Provisioning in SAP HANA</a:t>
            </a:r>
            <a:endParaRPr lang="en-US" sz="700" dirty="0">
              <a:solidFill>
                <a:schemeClr val="tx2"/>
              </a:solidFill>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64" r:id="rId9"/>
    <p:sldLayoutId id="2147483934" r:id="rId10"/>
    <p:sldLayoutId id="2147483978" r:id="rId11"/>
    <p:sldLayoutId id="2147483981" r:id="rId12"/>
    <p:sldLayoutId id="2147483998" r:id="rId13"/>
    <p:sldLayoutId id="2147484000" r:id="rId14"/>
    <p:sldLayoutId id="2147484012" r:id="rId15"/>
  </p:sldLayoutIdLst>
  <p:timing>
    <p:tnLst>
      <p:par>
        <p:cTn id="1" dur="indefinite" restart="never" nodeType="tmRoot"/>
      </p:par>
    </p:tnLst>
  </p:timing>
  <p:hf sldNum="0" hdr="0" ftr="0"/>
  <p:txStyles>
    <p:titleStyle>
      <a:lvl1pPr algn="l" defTabSz="914342" rtl="0" eaLnBrk="1" latinLnBrk="0" hangingPunct="1">
        <a:lnSpc>
          <a:spcPct val="85000"/>
        </a:lnSpc>
        <a:spcBef>
          <a:spcPct val="0"/>
        </a:spcBef>
        <a:buNone/>
        <a:defRPr sz="3200" b="1"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spid="_x0000_s340994"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9344645" y="171573"/>
            <a:ext cx="340792"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defTabSz="742950"/>
              <a:endParaRPr lang="en-GB" sz="1463" dirty="0">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defTabSz="742950"/>
              <a:endParaRPr lang="en-GB" sz="1463" dirty="0">
                <a:solidFill>
                  <a:prstClr val="black"/>
                </a:solidFill>
              </a:endParaRPr>
            </a:p>
          </p:txBody>
        </p:sp>
      </p:grpSp>
      <p:sp>
        <p:nvSpPr>
          <p:cNvPr id="7" name="Retângulo 43">
            <a:extLst>
              <a:ext uri="{FF2B5EF4-FFF2-40B4-BE49-F238E27FC236}">
                <a16:creationId xmlns="" xmlns:a16="http://schemas.microsoft.com/office/drawing/2014/main" id="{25FC8637-25BD-4C09-AF25-56B4243DAB3D}"/>
              </a:ext>
            </a:extLst>
          </p:cNvPr>
          <p:cNvSpPr/>
          <p:nvPr/>
        </p:nvSpPr>
        <p:spPr>
          <a:xfrm>
            <a:off x="9545626" y="6662204"/>
            <a:ext cx="145874" cy="100027"/>
          </a:xfrm>
          <a:prstGeom prst="rect">
            <a:avLst/>
          </a:prstGeom>
        </p:spPr>
        <p:txBody>
          <a:bodyPr wrap="none" lIns="0" tIns="0" rIns="0" bIns="0" anchor="ctr" anchorCtr="0">
            <a:spAutoFit/>
          </a:bodyPr>
          <a:lstStyle/>
          <a:p>
            <a:pPr algn="r" defTabSz="742950"/>
            <a:fld id="{0502E5A9-B53C-401E-A0E0-4A359BB0A9E5}" type="slidenum">
              <a:rPr lang="en-US" sz="650" smtClean="0">
                <a:solidFill>
                  <a:srgbClr val="FFFFFF">
                    <a:lumMod val="65000"/>
                  </a:srgbClr>
                </a:solidFill>
                <a:cs typeface="Verdana" panose="020B0604030504040204" pitchFamily="34" charset="0"/>
              </a:rPr>
              <a:pPr algn="r" defTabSz="742950"/>
              <a:t>‹#›</a:t>
            </a:fld>
            <a:endParaRPr lang="en-US" sz="650" dirty="0">
              <a:solidFill>
                <a:srgbClr val="FFFFFF">
                  <a:lumMod val="65000"/>
                </a:srgbClr>
              </a:solidFill>
              <a:cs typeface="Verdana" panose="020B060403050404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p:nvSpPr>
        <p:spPr>
          <a:xfrm>
            <a:off x="7326494" y="6650662"/>
            <a:ext cx="2164741"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sz="650" dirty="0">
                <a:solidFill>
                  <a:srgbClr val="FFFFFF">
                    <a:lumMod val="65000"/>
                  </a:srgbClr>
                </a:solidFill>
              </a:rPr>
              <a:t>© Capgemini 2017. All rights reserved </a:t>
            </a:r>
            <a:r>
              <a:rPr lang="en-US" sz="650" dirty="0">
                <a:solidFill>
                  <a:srgbClr val="12ABDB"/>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p:nvSpPr>
        <p:spPr>
          <a:xfrm>
            <a:off x="184720" y="6650662"/>
            <a:ext cx="3832176"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50" dirty="0">
                <a:solidFill>
                  <a:srgbClr val="FFFFFF">
                    <a:lumMod val="65000"/>
                  </a:srgbClr>
                </a:solidFill>
              </a:rPr>
              <a:t>Capgemini presentation to </a:t>
            </a:r>
            <a:r>
              <a:rPr lang="en-GB" sz="650" dirty="0">
                <a:solidFill>
                  <a:srgbClr val="FFFFFF">
                    <a:lumMod val="65000"/>
                  </a:srgbClr>
                </a:solidFill>
              </a:rPr>
              <a:t>Mölnlycke Health Care</a:t>
            </a:r>
            <a:r>
              <a:rPr lang="en-US" sz="650" dirty="0">
                <a:solidFill>
                  <a:srgbClr val="FFFFFF">
                    <a:lumMod val="65000"/>
                  </a:srgbClr>
                </a:solidFill>
              </a:rPr>
              <a:t>| December 2017</a:t>
            </a:r>
          </a:p>
        </p:txBody>
      </p:sp>
      <p:sp>
        <p:nvSpPr>
          <p:cNvPr id="4" name="Espace réservé du texte 3"/>
          <p:cNvSpPr>
            <a:spLocks noGrp="1"/>
          </p:cNvSpPr>
          <p:nvPr>
            <p:ph type="body" idx="1"/>
          </p:nvPr>
        </p:nvSpPr>
        <p:spPr>
          <a:xfrm>
            <a:off x="184720" y="1815353"/>
            <a:ext cx="950625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84721" y="0"/>
            <a:ext cx="9039254" cy="1104900"/>
          </a:xfrm>
          <a:prstGeom prst="rect">
            <a:avLst/>
          </a:prstGeom>
        </p:spPr>
        <p:txBody>
          <a:bodyPr vert="horz" lIns="0" tIns="0" rIns="0" bIns="0" rtlCol="0" anchor="ctr">
            <a:noAutofit/>
          </a:bodyPr>
          <a:lstStyle/>
          <a:p>
            <a:pPr marL="0" marR="0" lvl="0" indent="0" algn="l" defTabSz="74295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612846203"/>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Lst>
  <p:hf sldNum="0" hdr="0" ftr="0" dt="0"/>
  <p:txStyles>
    <p:titleStyle>
      <a:lvl1pPr marL="0" marR="0" indent="0" algn="l" defTabSz="742950" rtl="0" eaLnBrk="1" fontAlgn="auto" latinLnBrk="0" hangingPunct="1">
        <a:lnSpc>
          <a:spcPct val="100000"/>
        </a:lnSpc>
        <a:spcBef>
          <a:spcPct val="0"/>
        </a:spcBef>
        <a:spcAft>
          <a:spcPts val="0"/>
        </a:spcAft>
        <a:buClrTx/>
        <a:buSzTx/>
        <a:buFontTx/>
        <a:buNone/>
        <a:tabLst/>
        <a:defRPr kumimoji="0" lang="en-US" sz="2438"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709">
          <p15:clr>
            <a:srgbClr val="F26B43"/>
          </p15:clr>
        </p15:guide>
        <p15:guide id="4294967295" pos="7506">
          <p15:clr>
            <a:srgbClr val="F26B43"/>
          </p15:clr>
        </p15:guide>
        <p15:guide id="4294967295" orient="horz" pos="4088">
          <p15:clr>
            <a:srgbClr val="F26B43"/>
          </p15:clr>
        </p15:guide>
        <p15:guide id="4294967295" pos="143">
          <p15:clr>
            <a:srgbClr val="F26B43"/>
          </p15:clr>
        </p15:guide>
        <p15:guide id="429496729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527" name="think-cell Slide" r:id="rId16" imgW="360" imgH="360" progId="">
                  <p:embed/>
                </p:oleObj>
              </mc:Choice>
              <mc:Fallback>
                <p:oleObj name="think-cell Slide" r:id="rId16" imgW="360" imgH="360" progId="">
                  <p:embed/>
                  <p:pic>
                    <p:nvPicPr>
                      <p:cNvPr id="0" name="Picture 28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8" cstate="email"/>
          <a:stretch>
            <a:fillRect/>
          </a:stretch>
        </p:blipFill>
        <p:spPr>
          <a:xfrm>
            <a:off x="690570"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8" y="6379670"/>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9242223" y="5932547"/>
            <a:ext cx="28131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431" name="think-cell Slide" r:id="rId6" imgW="360" imgH="360" progId="">
                  <p:embed/>
                </p:oleObj>
              </mc:Choice>
              <mc:Fallback>
                <p:oleObj name="think-cell Slide" r:id="rId6" imgW="360" imgH="360" progId="">
                  <p:embed/>
                  <p:pic>
                    <p:nvPicPr>
                      <p:cNvPr id="0" name="Picture 28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95320" name="think-cell Slide" r:id="rId22" imgW="360" imgH="360" progId="">
                  <p:embed/>
                </p:oleObj>
              </mc:Choice>
              <mc:Fallback>
                <p:oleObj name="think-cell Slide" r:id="rId22" imgW="360" imgH="360" progId="">
                  <p:embed/>
                  <p:pic>
                    <p:nvPicPr>
                      <p:cNvPr id="0" name="Picture 286"/>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9"/>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Presentation Title | Date</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3" r:id="rId9"/>
    <p:sldLayoutId id="2147483996" r:id="rId10"/>
  </p:sldLayoutIdLst>
  <p:timing>
    <p:tnLst>
      <p:par>
        <p:cTn id="1" dur="indefinite" restart="never" nodeType="tmRoot"/>
      </p:par>
    </p:tnLst>
  </p:timing>
  <p:hf sldNum="0" hdr="0" ftr="0"/>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506" name="Object 2" hidden="1"/>
          <p:cNvGraphicFramePr>
            <a:graphicFrameLocks noChangeAspect="1"/>
          </p:cNvGraphicFramePr>
          <p:nvPr>
            <p:custDataLst>
              <p:tags r:id="rId13"/>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09654" name="think-cell Slide" r:id="rId22" imgW="360" imgH="360" progId="">
                  <p:embed/>
                </p:oleObj>
              </mc:Choice>
              <mc:Fallback>
                <p:oleObj name="think-cell Slide" r:id="rId22" imgW="360" imgH="360" progId="">
                  <p:embed/>
                  <p:pic>
                    <p:nvPicPr>
                      <p:cNvPr id="0" name="Picture 284"/>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508" name="Title Placeholder 1"/>
          <p:cNvSpPr>
            <a:spLocks noGrp="1"/>
          </p:cNvSpPr>
          <p:nvPr>
            <p:ph type="title"/>
            <p:custDataLst>
              <p:tags r:id="rId14"/>
            </p:custDataLst>
          </p:nvPr>
        </p:nvSpPr>
        <p:spPr bwMode="auto">
          <a:xfrm>
            <a:off x="0" y="1"/>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21509" name="Text Placeholder 2"/>
          <p:cNvSpPr>
            <a:spLocks noGrp="1"/>
          </p:cNvSpPr>
          <p:nvPr>
            <p:ph type="body" idx="1"/>
            <p:custDataLst>
              <p:tags r:id="rId15"/>
            </p:custDataLst>
          </p:nvPr>
        </p:nvSpPr>
        <p:spPr bwMode="auto">
          <a:xfrm>
            <a:off x="323321" y="1501775"/>
            <a:ext cx="9438217"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6931" y="6661264"/>
            <a:ext cx="110607" cy="107722"/>
          </a:xfrm>
          <a:prstGeom prst="rect">
            <a:avLst/>
          </a:prstGeom>
          <a:noFill/>
        </p:spPr>
        <p:txBody>
          <a:bodyPr wrap="none" lIns="0" tIns="0" rIns="0" bIns="0" anchor="ctr">
            <a:spAutoFit/>
          </a:bodyPr>
          <a:lstStyle/>
          <a:p>
            <a:pPr algn="ctr" defTabSz="914400">
              <a:defRPr/>
            </a:pPr>
            <a:fld id="{7A392A93-78EF-4324-9D6B-20336715BF17}" type="slidenum">
              <a:rPr lang="en-US" sz="700">
                <a:solidFill>
                  <a:srgbClr val="998C85"/>
                </a:solidFill>
                <a:cs typeface="Arial" pitchFamily="34" charset="0"/>
              </a:rPr>
              <a:pPr algn="ctr" defTabSz="914400">
                <a:defRPr/>
              </a:pPr>
              <a:t>‹#›</a:t>
            </a:fld>
            <a:endParaRPr lang="en-US" sz="700" dirty="0">
              <a:solidFill>
                <a:srgbClr val="998C85"/>
              </a:solidFill>
              <a:cs typeface="Arial" pitchFamily="34" charset="0"/>
            </a:endParaRPr>
          </a:p>
        </p:txBody>
      </p:sp>
      <p:sp>
        <p:nvSpPr>
          <p:cNvPr id="9" name="Freeform 4"/>
          <p:cNvSpPr>
            <a:spLocks/>
          </p:cNvSpPr>
          <p:nvPr>
            <p:custDataLst>
              <p:tags r:id="rId17"/>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14400">
              <a:defRPr/>
            </a:pPr>
            <a:endParaRPr lang="fr-FR" sz="1800" dirty="0">
              <a:solidFill>
                <a:srgbClr val="263147"/>
              </a:solidFill>
              <a:cs typeface="Arial" pitchFamily="34" charset="0"/>
            </a:endParaRPr>
          </a:p>
        </p:txBody>
      </p:sp>
      <p:sp>
        <p:nvSpPr>
          <p:cNvPr id="12" name="Rectangle 11"/>
          <p:cNvSpPr>
            <a:spLocks noChangeArrowheads="1"/>
          </p:cNvSpPr>
          <p:nvPr>
            <p:custDataLst>
              <p:tags r:id="rId18"/>
            </p:custDataLst>
          </p:nvPr>
        </p:nvSpPr>
        <p:spPr bwMode="auto">
          <a:xfrm>
            <a:off x="6741584" y="6623050"/>
            <a:ext cx="2660518"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3" name="Rectangle 12"/>
          <p:cNvSpPr/>
          <p:nvPr>
            <p:custDataLst>
              <p:tags r:id="rId19"/>
            </p:custDataLst>
          </p:nvPr>
        </p:nvSpPr>
        <p:spPr>
          <a:xfrm>
            <a:off x="7487973" y="6427788"/>
            <a:ext cx="1914129" cy="195262"/>
          </a:xfrm>
          <a:prstGeom prst="rect">
            <a:avLst/>
          </a:prstGeom>
        </p:spPr>
        <p:txBody>
          <a:bodyPr wrap="none" lIns="35997" tIns="35997" rIns="35997" bIns="35997" anchor="b"/>
          <a:lstStyle/>
          <a:p>
            <a:pPr algn="r" defTabSz="914400">
              <a:defRPr/>
            </a:pPr>
            <a:r>
              <a:rPr lang="en-US" sz="700" dirty="0">
                <a:solidFill>
                  <a:srgbClr val="998C85"/>
                </a:solidFill>
                <a:cs typeface="Arial" pitchFamily="34" charset="0"/>
              </a:rPr>
              <a:t>Presentation Title | Date</a:t>
            </a:r>
          </a:p>
        </p:txBody>
      </p:sp>
      <p:pic>
        <p:nvPicPr>
          <p:cNvPr id="2151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221" y="6443664"/>
            <a:ext cx="1312202"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Lst>
  <p:timing>
    <p:tnLst>
      <p:par>
        <p:cTn id="1" dur="indefinite" restart="never" nodeType="tmRoot"/>
      </p:par>
    </p:tnLst>
  </p:timing>
  <p:hf sldNum="0" hdr="0" ftr="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16"/>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19501"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7"/>
            </p:custDataLst>
          </p:nvPr>
        </p:nvSpPr>
        <p:spPr bwMode="auto">
          <a:xfrm>
            <a:off x="0" y="1"/>
            <a:ext cx="9906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8"/>
            </p:custDataLst>
          </p:nvPr>
        </p:nvSpPr>
        <p:spPr bwMode="auto">
          <a:xfrm>
            <a:off x="323321" y="1501775"/>
            <a:ext cx="9438217"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1" name="TextBox 10"/>
          <p:cNvSpPr txBox="1"/>
          <p:nvPr>
            <p:custDataLst>
              <p:tags r:id="rId19"/>
            </p:custDataLst>
          </p:nvPr>
        </p:nvSpPr>
        <p:spPr>
          <a:xfrm>
            <a:off x="9566931" y="6661264"/>
            <a:ext cx="110607" cy="107722"/>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B2EF0CC7-B77E-41C1-9123-EF1CB25681DB}" type="slidenum">
              <a:rPr lang="en-US" altLang="en-US" sz="700" smtClean="0">
                <a:solidFill>
                  <a:srgbClr val="998C85"/>
                </a:solidFill>
              </a:rPr>
              <a:pPr algn="ctr" eaLnBrk="1" hangingPunct="1">
                <a:defRPr/>
              </a:pPr>
              <a:t>‹#›</a:t>
            </a:fld>
            <a:endParaRPr lang="en-US" altLang="en-US" sz="700" smtClean="0">
              <a:solidFill>
                <a:srgbClr val="998C85"/>
              </a:solidFill>
            </a:endParaRPr>
          </a:p>
        </p:txBody>
      </p:sp>
      <p:sp>
        <p:nvSpPr>
          <p:cNvPr id="9" name="Freeform 4"/>
          <p:cNvSpPr>
            <a:spLocks/>
          </p:cNvSpPr>
          <p:nvPr>
            <p:custDataLst>
              <p:tags r:id="rId20"/>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fontAlgn="auto" hangingPunct="1">
              <a:spcBef>
                <a:spcPts val="0"/>
              </a:spcBef>
              <a:spcAft>
                <a:spcPts val="0"/>
              </a:spcAft>
              <a:defRPr/>
            </a:pPr>
            <a:endParaRPr lang="fr-FR" sz="1900" dirty="0">
              <a:solidFill>
                <a:srgbClr val="263147"/>
              </a:solidFill>
              <a:latin typeface="+mn-lt"/>
              <a:cs typeface="+mn-cs"/>
            </a:endParaRPr>
          </a:p>
        </p:txBody>
      </p:sp>
      <p:sp>
        <p:nvSpPr>
          <p:cNvPr id="1031" name="Rectangle 11"/>
          <p:cNvSpPr>
            <a:spLocks noChangeArrowheads="1"/>
          </p:cNvSpPr>
          <p:nvPr>
            <p:custDataLst>
              <p:tags r:id="rId21"/>
            </p:custDataLst>
          </p:nvPr>
        </p:nvSpPr>
        <p:spPr bwMode="auto">
          <a:xfrm>
            <a:off x="6741584" y="6623050"/>
            <a:ext cx="266051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a:defRPr>
                <a:solidFill>
                  <a:schemeClr val="tx1"/>
                </a:solidFill>
                <a:latin typeface="Arial" panose="020B0604020202020204" pitchFamily="34" charset="0"/>
                <a:cs typeface="Arial" panose="020B0604020202020204" pitchFamily="34" charset="0"/>
              </a:defRPr>
            </a:lvl1pPr>
            <a:lvl2pPr marL="742950" indent="-285750" defTabSz="995363">
              <a:defRPr>
                <a:solidFill>
                  <a:schemeClr val="tx1"/>
                </a:solidFill>
                <a:latin typeface="Arial" panose="020B0604020202020204" pitchFamily="34" charset="0"/>
                <a:cs typeface="Arial" panose="020B0604020202020204" pitchFamily="34" charset="0"/>
              </a:defRPr>
            </a:lvl2pPr>
            <a:lvl3pPr marL="1143000" indent="-228600" defTabSz="995363">
              <a:defRPr>
                <a:solidFill>
                  <a:schemeClr val="tx1"/>
                </a:solidFill>
                <a:latin typeface="Arial" panose="020B0604020202020204" pitchFamily="34" charset="0"/>
                <a:cs typeface="Arial" panose="020B0604020202020204" pitchFamily="34" charset="0"/>
              </a:defRPr>
            </a:lvl3pPr>
            <a:lvl4pPr marL="1600200" indent="-228600" defTabSz="995363">
              <a:defRPr>
                <a:solidFill>
                  <a:schemeClr val="tx1"/>
                </a:solidFill>
                <a:latin typeface="Arial" panose="020B0604020202020204" pitchFamily="34" charset="0"/>
                <a:cs typeface="Arial" panose="020B0604020202020204" pitchFamily="34" charset="0"/>
              </a:defRPr>
            </a:lvl4pPr>
            <a:lvl5pPr marL="2057400" indent="-228600" defTabSz="995363">
              <a:defRPr>
                <a:solidFill>
                  <a:schemeClr val="tx1"/>
                </a:solidFill>
                <a:latin typeface="Arial" panose="020B0604020202020204" pitchFamily="34" charset="0"/>
                <a:cs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90000"/>
              </a:lnSpc>
              <a:spcBef>
                <a:spcPct val="10000"/>
              </a:spcBef>
              <a:defRPr/>
            </a:pPr>
            <a:r>
              <a:rPr lang="en-US" altLang="en-US" sz="70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2"/>
            </p:custDataLst>
          </p:nvPr>
        </p:nvSpPr>
        <p:spPr bwMode="auto">
          <a:xfrm>
            <a:off x="7487973" y="6427788"/>
            <a:ext cx="1914129"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998C85"/>
                </a:solidFill>
              </a:rPr>
              <a:t>Presentation Title | Date</a:t>
            </a:r>
          </a:p>
        </p:txBody>
      </p:sp>
      <p:pic>
        <p:nvPicPr>
          <p:cNvPr id="1033" name="Picture 103" descr="C:\Users\UserSim\Desktop\Capgemini\Capgemini_logo_cmyk.png"/>
          <p:cNvPicPr>
            <a:picLocks noChangeAspect="1" noChangeArrowheads="1"/>
          </p:cNvPicPr>
          <p:nvPr>
            <p:custDataLst>
              <p:tags r:id="rId23"/>
            </p:custDataLst>
          </p:nvPr>
        </p:nvPicPr>
        <p:blipFill>
          <a:blip r:embed="rId27">
            <a:extLst>
              <a:ext uri="{28A0092B-C50C-407E-A947-70E740481C1C}">
                <a14:useLocalDpi xmlns:a14="http://schemas.microsoft.com/office/drawing/2010/main" val="0"/>
              </a:ext>
            </a:extLst>
          </a:blip>
          <a:srcRect/>
          <a:stretch>
            <a:fillRect/>
          </a:stretch>
        </p:blipFill>
        <p:spPr bwMode="auto">
          <a:xfrm>
            <a:off x="158221" y="6443664"/>
            <a:ext cx="1312202"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4"/>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7315200" y="6477000"/>
            <a:ext cx="1782860" cy="200055"/>
          </a:xfrm>
          <a:prstGeom prst="rect">
            <a:avLst/>
          </a:prstGeom>
        </p:spPr>
        <p:txBody>
          <a:bodyPr wrap="none">
            <a:spAutoFit/>
          </a:bodyPr>
          <a:lstStyle/>
          <a:p>
            <a:r>
              <a:rPr lang="it-IT" sz="700" dirty="0" smtClean="0">
                <a:solidFill>
                  <a:schemeClr val="tx2"/>
                </a:solidFill>
              </a:rPr>
              <a:t>NH203_Data Provisioning in SAP HANA</a:t>
            </a:r>
            <a:endParaRPr lang="en-US" sz="700" dirty="0">
              <a:solidFill>
                <a:schemeClr val="tx2"/>
              </a:solidFill>
            </a:endParaRPr>
          </a:p>
        </p:txBody>
      </p:sp>
    </p:spTree>
    <p:extLst>
      <p:ext uri="{BB962C8B-B14F-4D97-AF65-F5344CB8AC3E}">
        <p14:creationId xmlns:p14="http://schemas.microsoft.com/office/powerpoint/2010/main" val="18965692"/>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9" r:id="rId13"/>
  </p:sldLayoutIdLst>
  <p:timing>
    <p:tnLst>
      <p:par>
        <p:cTn id="1" dur="indefinite" restart="never" nodeType="tmRoot"/>
      </p:par>
    </p:tnLst>
  </p:timing>
  <p:hf sldNum="0" hdr="0" ftr="0"/>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anose="05000000000000000000"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anose="05000000000000000000"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anose="020B0604020202020204"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anose="020B0604020202020204"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anose="020B0604020202020204"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5"/>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330765"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7" name="Rectangle 7"/>
          <p:cNvSpPr/>
          <p:nvPr>
            <p:custDataLst>
              <p:tags r:id="rId6"/>
            </p:custDataLst>
          </p:nvPr>
        </p:nvSpPr>
        <p:spPr bwMode="auto">
          <a:xfrm flipV="1">
            <a:off x="-1720" y="1677988"/>
            <a:ext cx="9907720"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eaLnBrk="1" fontAlgn="auto" hangingPunct="1">
              <a:spcBef>
                <a:spcPts val="0"/>
              </a:spcBef>
              <a:spcAft>
                <a:spcPts val="0"/>
              </a:spcAft>
              <a:defRPr/>
            </a:pPr>
            <a:endParaRPr lang="en-US" sz="1000" dirty="0">
              <a:solidFill>
                <a:prstClr val="white"/>
              </a:solidFill>
              <a:latin typeface="Arial"/>
              <a:cs typeface="Arial"/>
            </a:endParaRPr>
          </a:p>
        </p:txBody>
      </p:sp>
      <p:pic>
        <p:nvPicPr>
          <p:cNvPr id="2052" name="Image 10" descr="Capgemini_logo_lr.tif"/>
          <p:cNvPicPr>
            <a:picLocks noChangeAspect="1"/>
          </p:cNvPicPr>
          <p:nvPr>
            <p:custDataLst>
              <p:tags r:id="rId7"/>
            </p:custDataLst>
          </p:nvPr>
        </p:nvPicPr>
        <p:blipFill>
          <a:blip r:embed="rId18">
            <a:extLst>
              <a:ext uri="{28A0092B-C50C-407E-A947-70E740481C1C}">
                <a14:useLocalDpi xmlns:a14="http://schemas.microsoft.com/office/drawing/2010/main" val="0"/>
              </a:ext>
            </a:extLst>
          </a:blip>
          <a:srcRect/>
          <a:stretch>
            <a:fillRect/>
          </a:stretch>
        </p:blipFill>
        <p:spPr bwMode="auto">
          <a:xfrm>
            <a:off x="691357" y="930275"/>
            <a:ext cx="3154098"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104" descr="C:\Users\UserSim\Desktop\Capgemini\moto.emf"/>
          <p:cNvPicPr>
            <a:picLocks noChangeAspect="1" noChangeArrowheads="1"/>
          </p:cNvPicPr>
          <p:nvPr>
            <p:custDataLst>
              <p:tags r:id="rId8"/>
            </p:custDataLst>
          </p:nvPr>
        </p:nvPicPr>
        <p:blipFill>
          <a:blip r:embed="rId19">
            <a:extLst>
              <a:ext uri="{28A0092B-C50C-407E-A947-70E740481C1C}">
                <a14:useLocalDpi xmlns:a14="http://schemas.microsoft.com/office/drawing/2010/main" val="0"/>
              </a:ext>
            </a:extLst>
          </a:blip>
          <a:srcRect/>
          <a:stretch>
            <a:fillRect/>
          </a:stretch>
        </p:blipFill>
        <p:spPr bwMode="auto">
          <a:xfrm>
            <a:off x="5491296" y="1173163"/>
            <a:ext cx="3645958"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Rectangle 12"/>
          <p:cNvSpPr>
            <a:spLocks noChangeArrowheads="1"/>
          </p:cNvSpPr>
          <p:nvPr>
            <p:custDataLst>
              <p:tags r:id="rId9"/>
            </p:custDataLst>
          </p:nvPr>
        </p:nvSpPr>
        <p:spPr bwMode="auto">
          <a:xfrm>
            <a:off x="5523971" y="6380164"/>
            <a:ext cx="4382029"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9" tIns="33059" rIns="330588" bIns="33059"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700" smtClean="0">
                <a:solidFill>
                  <a:srgbClr val="FFFFFF"/>
                </a:solidFill>
              </a:rPr>
              <a:t>The information contained in this presentation is proprietary.</a:t>
            </a:r>
          </a:p>
          <a:p>
            <a:pPr algn="r" eaLnBrk="1" hangingPunct="1">
              <a:defRPr/>
            </a:pPr>
            <a:r>
              <a:rPr lang="en-US" altLang="en-US" sz="700" smtClean="0">
                <a:solidFill>
                  <a:srgbClr val="FFFFFF"/>
                </a:solidFill>
              </a:rPr>
              <a:t>© 2012 Capgemini. All rights reserved.</a:t>
            </a:r>
          </a:p>
        </p:txBody>
      </p:sp>
      <p:sp>
        <p:nvSpPr>
          <p:cNvPr id="2055" name="Rectangle 14"/>
          <p:cNvSpPr>
            <a:spLocks noChangeArrowheads="1"/>
          </p:cNvSpPr>
          <p:nvPr>
            <p:custDataLst>
              <p:tags r:id="rId10"/>
            </p:custDataLst>
          </p:nvPr>
        </p:nvSpPr>
        <p:spPr bwMode="auto">
          <a:xfrm>
            <a:off x="6982879" y="5458345"/>
            <a:ext cx="2923122" cy="38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0" bIns="3600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altLang="en-US" sz="2000" b="1" smtClean="0">
                <a:solidFill>
                  <a:srgbClr val="FFFFFF"/>
                </a:solidFill>
              </a:rPr>
              <a:t>www.capgemini.com</a:t>
            </a:r>
          </a:p>
        </p:txBody>
      </p:sp>
      <p:pic>
        <p:nvPicPr>
          <p:cNvPr id="2056" name="Picture 3" descr="C:\Users\UserSim\Desktop\DS_icons\128x128 shadows\facebook.png">
            <a:hlinkClick r:id="rId20"/>
          </p:cNvPr>
          <p:cNvPicPr>
            <a:picLocks noChangeAspect="1" noChangeArrowheads="1"/>
          </p:cNvPicPr>
          <p:nvPr>
            <p:custDataLst>
              <p:tags r:id="rId11"/>
            </p:custDataLst>
          </p:nvPr>
        </p:nvPicPr>
        <p:blipFill>
          <a:blip r:embed="rId21">
            <a:extLst>
              <a:ext uri="{28A0092B-C50C-407E-A947-70E740481C1C}">
                <a14:useLocalDpi xmlns:a14="http://schemas.microsoft.com/office/drawing/2010/main" val="0"/>
              </a:ext>
            </a:extLst>
          </a:blip>
          <a:srcRect/>
          <a:stretch>
            <a:fillRect/>
          </a:stretch>
        </p:blipFill>
        <p:spPr bwMode="auto">
          <a:xfrm>
            <a:off x="7938559" y="5932489"/>
            <a:ext cx="278606"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Picture 4" descr="C:\Users\UserSim\Desktop\DS_icons\128x128 shadows\linkedin.png">
            <a:hlinkClick r:id="rId22"/>
          </p:cNvPr>
          <p:cNvPicPr>
            <a:picLocks noChangeAspect="1" noChangeArrowheads="1"/>
          </p:cNvPicPr>
          <p:nvPr>
            <p:custDataLst>
              <p:tags r:id="rId12"/>
            </p:custDataLst>
          </p:nvPr>
        </p:nvPicPr>
        <p:blipFill>
          <a:blip r:embed="rId23">
            <a:extLst>
              <a:ext uri="{28A0092B-C50C-407E-A947-70E740481C1C}">
                <a14:useLocalDpi xmlns:a14="http://schemas.microsoft.com/office/drawing/2010/main" val="0"/>
              </a:ext>
            </a:extLst>
          </a:blip>
          <a:srcRect/>
          <a:stretch>
            <a:fillRect/>
          </a:stretch>
        </p:blipFill>
        <p:spPr bwMode="auto">
          <a:xfrm>
            <a:off x="8273918"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 name="Picture 5" descr="C:\Users\UserSim\Desktop\DS_icons\128x128 shadows\twitter.png">
            <a:hlinkClick r:id="rId24"/>
          </p:cNvPr>
          <p:cNvPicPr>
            <a:picLocks noChangeAspect="1" noChangeArrowheads="1"/>
          </p:cNvPicPr>
          <p:nvPr>
            <p:custDataLst>
              <p:tags r:id="rId13"/>
            </p:custDataLst>
          </p:nvPr>
        </p:nvPicPr>
        <p:blipFill>
          <a:blip r:embed="rId25">
            <a:extLst>
              <a:ext uri="{28A0092B-C50C-407E-A947-70E740481C1C}">
                <a14:useLocalDpi xmlns:a14="http://schemas.microsoft.com/office/drawing/2010/main" val="0"/>
              </a:ext>
            </a:extLst>
          </a:blip>
          <a:srcRect/>
          <a:stretch>
            <a:fillRect/>
          </a:stretch>
        </p:blipFill>
        <p:spPr bwMode="auto">
          <a:xfrm>
            <a:off x="8903362"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9" name="Picture 6" descr="C:\Users\UserSim\Desktop\DS_icons\128x128 shadows\youtube.png">
            <a:hlinkClick r:id="rId26"/>
          </p:cNvPr>
          <p:cNvPicPr>
            <a:picLocks noChangeAspect="1" noChangeArrowheads="1"/>
          </p:cNvPicPr>
          <p:nvPr>
            <p:custDataLst>
              <p:tags r:id="rId14"/>
            </p:custDataLst>
          </p:nvPr>
        </p:nvPicPr>
        <p:blipFill>
          <a:blip r:embed="rId27">
            <a:extLst>
              <a:ext uri="{28A0092B-C50C-407E-A947-70E740481C1C}">
                <a14:useLocalDpi xmlns:a14="http://schemas.microsoft.com/office/drawing/2010/main" val="0"/>
              </a:ext>
            </a:extLst>
          </a:blip>
          <a:srcRect/>
          <a:stretch>
            <a:fillRect/>
          </a:stretch>
        </p:blipFill>
        <p:spPr bwMode="auto">
          <a:xfrm>
            <a:off x="9242160"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74341385"/>
      </p:ext>
    </p:extLst>
  </p:cSld>
  <p:clrMap bg1="lt1" tx1="dk1" bg2="lt2" tx2="dk2" accent1="accent1" accent2="accent2" accent3="accent3" accent4="accent4" accent5="accent5" accent6="accent6" hlink="hlink" folHlink="folHlink"/>
  <p:sldLayoutIdLst>
    <p:sldLayoutId id="2147484027" r:id="rId1"/>
    <p:sldLayoutId id="2147484028" r:id="rId2"/>
  </p:sldLayoutIdLst>
  <p:hf sldNum="0" hdr="0" ftr="0"/>
  <p:txStyles>
    <p:titleStyle>
      <a:lvl1pPr algn="ctr" defTabSz="838200" rtl="0" eaLnBrk="1" fontAlgn="base" hangingPunct="1">
        <a:spcBef>
          <a:spcPct val="0"/>
        </a:spcBef>
        <a:spcAft>
          <a:spcPct val="0"/>
        </a:spcAft>
        <a:defRPr sz="4000" kern="1200">
          <a:solidFill>
            <a:schemeClr val="tx1"/>
          </a:solidFill>
          <a:latin typeface="+mj-lt"/>
          <a:ea typeface="+mj-ea"/>
          <a:cs typeface="+mj-cs"/>
        </a:defRPr>
      </a:lvl1pPr>
      <a:lvl2pPr algn="ctr" defTabSz="838200" rtl="0" eaLnBrk="1" fontAlgn="base" hangingPunct="1">
        <a:spcBef>
          <a:spcPct val="0"/>
        </a:spcBef>
        <a:spcAft>
          <a:spcPct val="0"/>
        </a:spcAft>
        <a:defRPr sz="4000">
          <a:solidFill>
            <a:schemeClr val="tx1"/>
          </a:solidFill>
          <a:latin typeface="Calibri" pitchFamily="34" charset="0"/>
        </a:defRPr>
      </a:lvl2pPr>
      <a:lvl3pPr algn="ctr" defTabSz="838200" rtl="0" eaLnBrk="1" fontAlgn="base" hangingPunct="1">
        <a:spcBef>
          <a:spcPct val="0"/>
        </a:spcBef>
        <a:spcAft>
          <a:spcPct val="0"/>
        </a:spcAft>
        <a:defRPr sz="4000">
          <a:solidFill>
            <a:schemeClr val="tx1"/>
          </a:solidFill>
          <a:latin typeface="Calibri" pitchFamily="34" charset="0"/>
        </a:defRPr>
      </a:lvl3pPr>
      <a:lvl4pPr algn="ctr" defTabSz="838200" rtl="0" eaLnBrk="1" fontAlgn="base" hangingPunct="1">
        <a:spcBef>
          <a:spcPct val="0"/>
        </a:spcBef>
        <a:spcAft>
          <a:spcPct val="0"/>
        </a:spcAft>
        <a:defRPr sz="4000">
          <a:solidFill>
            <a:schemeClr val="tx1"/>
          </a:solidFill>
          <a:latin typeface="Calibri" pitchFamily="34" charset="0"/>
        </a:defRPr>
      </a:lvl4pPr>
      <a:lvl5pPr algn="ctr" defTabSz="838200" rtl="0" eaLnBrk="1" fontAlgn="base" hangingPunct="1">
        <a:spcBef>
          <a:spcPct val="0"/>
        </a:spcBef>
        <a:spcAft>
          <a:spcPct val="0"/>
        </a:spcAft>
        <a:defRPr sz="4000">
          <a:solidFill>
            <a:schemeClr val="tx1"/>
          </a:solidFill>
          <a:latin typeface="Calibri" pitchFamily="34" charset="0"/>
        </a:defRPr>
      </a:lvl5pPr>
      <a:lvl6pPr marL="457200" algn="ctr" defTabSz="838200" rtl="0" eaLnBrk="1" fontAlgn="base" hangingPunct="1">
        <a:spcBef>
          <a:spcPct val="0"/>
        </a:spcBef>
        <a:spcAft>
          <a:spcPct val="0"/>
        </a:spcAft>
        <a:defRPr sz="4000">
          <a:solidFill>
            <a:schemeClr val="tx1"/>
          </a:solidFill>
          <a:latin typeface="Calibri" pitchFamily="34" charset="0"/>
        </a:defRPr>
      </a:lvl6pPr>
      <a:lvl7pPr marL="914400" algn="ctr" defTabSz="838200" rtl="0" eaLnBrk="1" fontAlgn="base" hangingPunct="1">
        <a:spcBef>
          <a:spcPct val="0"/>
        </a:spcBef>
        <a:spcAft>
          <a:spcPct val="0"/>
        </a:spcAft>
        <a:defRPr sz="4000">
          <a:solidFill>
            <a:schemeClr val="tx1"/>
          </a:solidFill>
          <a:latin typeface="Calibri" pitchFamily="34" charset="0"/>
        </a:defRPr>
      </a:lvl7pPr>
      <a:lvl8pPr marL="1371600" algn="ctr" defTabSz="838200" rtl="0" eaLnBrk="1" fontAlgn="base" hangingPunct="1">
        <a:spcBef>
          <a:spcPct val="0"/>
        </a:spcBef>
        <a:spcAft>
          <a:spcPct val="0"/>
        </a:spcAft>
        <a:defRPr sz="4000">
          <a:solidFill>
            <a:schemeClr val="tx1"/>
          </a:solidFill>
          <a:latin typeface="Calibri" pitchFamily="34" charset="0"/>
        </a:defRPr>
      </a:lvl8pPr>
      <a:lvl9pPr marL="1828800" algn="ctr" defTabSz="838200" rtl="0" eaLnBrk="1" fontAlgn="base" hangingPunct="1">
        <a:spcBef>
          <a:spcPct val="0"/>
        </a:spcBef>
        <a:spcAft>
          <a:spcPct val="0"/>
        </a:spcAft>
        <a:defRPr sz="4000">
          <a:solidFill>
            <a:schemeClr val="tx1"/>
          </a:solidFill>
          <a:latin typeface="Calibri" pitchFamily="34" charset="0"/>
        </a:defRPr>
      </a:lvl9pPr>
    </p:titleStyle>
    <p:bodyStyle>
      <a:lvl1pPr marL="314325" indent="-314325" algn="l" defTabSz="838200" rtl="0" eaLnBrk="1" fontAlgn="base" hangingPunct="1">
        <a:spcBef>
          <a:spcPct val="20000"/>
        </a:spcBef>
        <a:spcAft>
          <a:spcPct val="0"/>
        </a:spcAft>
        <a:buFont typeface="Arial" panose="020B0604020202020204" pitchFamily="34" charset="0"/>
        <a:buChar char="•"/>
        <a:defRPr sz="2900" kern="1200">
          <a:solidFill>
            <a:schemeClr val="tx1"/>
          </a:solidFill>
          <a:latin typeface="+mn-lt"/>
          <a:ea typeface="+mn-ea"/>
          <a:cs typeface="+mn-cs"/>
        </a:defRPr>
      </a:lvl1pPr>
      <a:lvl2pPr marL="681038" indent="-261938" algn="l" defTabSz="838200" rtl="0" eaLnBrk="1" fontAlgn="base" hangingPunct="1">
        <a:spcBef>
          <a:spcPct val="20000"/>
        </a:spcBef>
        <a:spcAft>
          <a:spcPct val="0"/>
        </a:spcAft>
        <a:buFont typeface="Arial" panose="020B0604020202020204" pitchFamily="34" charset="0"/>
        <a:buChar char="–"/>
        <a:defRPr sz="2600" kern="1200">
          <a:solidFill>
            <a:schemeClr val="tx1"/>
          </a:solidFill>
          <a:latin typeface="+mn-lt"/>
          <a:ea typeface="+mn-ea"/>
          <a:cs typeface="+mn-cs"/>
        </a:defRPr>
      </a:lvl2pPr>
      <a:lvl3pPr marL="1049338" indent="-209550" algn="l" defTabSz="838200" rtl="0" eaLnBrk="1" fontAlgn="base" hangingPunct="1">
        <a:spcBef>
          <a:spcPct val="20000"/>
        </a:spcBef>
        <a:spcAft>
          <a:spcPct val="0"/>
        </a:spcAft>
        <a:buFont typeface="Arial" panose="020B0604020202020204" pitchFamily="34" charset="0"/>
        <a:buChar char="•"/>
        <a:defRPr sz="2200" kern="1200">
          <a:solidFill>
            <a:schemeClr val="tx1"/>
          </a:solidFill>
          <a:latin typeface="+mn-lt"/>
          <a:ea typeface="+mn-ea"/>
          <a:cs typeface="+mn-cs"/>
        </a:defRPr>
      </a:lvl3pPr>
      <a:lvl4pPr marL="1468438" indent="-209550" algn="l" defTabSz="838200" rtl="0" eaLnBrk="1" fontAlgn="base" hangingPunct="1">
        <a:spcBef>
          <a:spcPct val="20000"/>
        </a:spcBef>
        <a:spcAft>
          <a:spcPct val="0"/>
        </a:spcAft>
        <a:buFont typeface="Arial" panose="020B0604020202020204" pitchFamily="34" charset="0"/>
        <a:buChar char="–"/>
        <a:defRPr kern="1200">
          <a:solidFill>
            <a:schemeClr val="tx1"/>
          </a:solidFill>
          <a:latin typeface="+mn-lt"/>
          <a:ea typeface="+mn-ea"/>
          <a:cs typeface="+mn-cs"/>
        </a:defRPr>
      </a:lvl4pPr>
      <a:lvl5pPr marL="1889125" indent="-209550" algn="l" defTabSz="838200" rtl="0" eaLnBrk="1" fontAlgn="base" hangingPunct="1">
        <a:spcBef>
          <a:spcPct val="20000"/>
        </a:spcBef>
        <a:spcAft>
          <a:spcPct val="0"/>
        </a:spcAft>
        <a:buFont typeface="Arial" panose="020B0604020202020204"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31490" y="404814"/>
            <a:ext cx="8950991" cy="863601"/>
          </a:xfrm>
          <a:prstGeom prst="rect">
            <a:avLst/>
          </a:prstGeom>
        </p:spPr>
        <p:txBody>
          <a:bodyPr vert="horz" lIns="0" tIns="0" rIns="0" bIns="0" rtlCol="0" anchor="t">
            <a:normAutofit/>
          </a:bodyPr>
          <a:lstStyle/>
          <a:p>
            <a:pPr lvl="0">
              <a:lnSpc>
                <a:spcPts val="2438"/>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8">
            <a:extLst>
              <a:ext uri="{96DAC541-7B7A-43D3-8B79-37D633B846F1}">
                <asvg:svgBlip xmlns="" xmlns:asvg="http://schemas.microsoft.com/office/drawing/2016/SVG/main" r:embed="rId29"/>
              </a:ext>
            </a:extLst>
          </a:blip>
          <a:srcRect l="81836" t="-4713" b="16530"/>
          <a:stretch/>
        </p:blipFill>
        <p:spPr>
          <a:xfrm>
            <a:off x="9382582" y="188640"/>
            <a:ext cx="344789"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35617" y="1412876"/>
            <a:ext cx="9238893"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0153651" y="1590548"/>
            <a:ext cx="483494"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apgemini Blue</a:t>
            </a:r>
          </a:p>
          <a:p>
            <a:pPr marL="139303"/>
            <a:r>
              <a:rPr lang="en-US" sz="488" dirty="0"/>
              <a:t>R 0</a:t>
            </a:r>
          </a:p>
          <a:p>
            <a:pPr marL="139303"/>
            <a:r>
              <a:rPr lang="en-US" sz="488" dirty="0"/>
              <a:t>G 112</a:t>
            </a:r>
          </a:p>
          <a:p>
            <a:pPr marL="139303"/>
            <a:r>
              <a:rPr lang="en-US" sz="488" dirty="0"/>
              <a:t>B 173</a:t>
            </a:r>
          </a:p>
        </p:txBody>
      </p:sp>
      <p:sp>
        <p:nvSpPr>
          <p:cNvPr id="6" name="Rectangle 5"/>
          <p:cNvSpPr/>
          <p:nvPr/>
        </p:nvSpPr>
        <p:spPr>
          <a:xfrm>
            <a:off x="10637145" y="1590548"/>
            <a:ext cx="483494"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Vibrant</a:t>
            </a:r>
            <a:br>
              <a:rPr lang="en-US" sz="488" b="1" dirty="0"/>
            </a:br>
            <a:r>
              <a:rPr lang="en-US" sz="488" b="1" dirty="0"/>
              <a:t>Blue</a:t>
            </a:r>
          </a:p>
          <a:p>
            <a:pPr marL="139303"/>
            <a:r>
              <a:rPr lang="en-US" sz="488" dirty="0"/>
              <a:t>R 18</a:t>
            </a:r>
          </a:p>
          <a:p>
            <a:pPr marL="139303"/>
            <a:r>
              <a:rPr lang="en-US" sz="488" dirty="0"/>
              <a:t>G 171</a:t>
            </a:r>
          </a:p>
          <a:p>
            <a:pPr marL="139303"/>
            <a:r>
              <a:rPr lang="en-US" sz="488" dirty="0"/>
              <a:t>B 219</a:t>
            </a:r>
          </a:p>
        </p:txBody>
      </p:sp>
      <p:sp>
        <p:nvSpPr>
          <p:cNvPr id="7" name="Rectangle 6"/>
          <p:cNvSpPr/>
          <p:nvPr/>
        </p:nvSpPr>
        <p:spPr>
          <a:xfrm>
            <a:off x="11120640" y="1590548"/>
            <a:ext cx="483494"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eep</a:t>
            </a:r>
            <a:br>
              <a:rPr lang="en-US" sz="488" b="1" dirty="0"/>
            </a:br>
            <a:r>
              <a:rPr lang="en-US" sz="488" b="1" dirty="0"/>
              <a:t>Purple</a:t>
            </a:r>
          </a:p>
          <a:p>
            <a:pPr marL="139303"/>
            <a:r>
              <a:rPr lang="en-US" sz="488" dirty="0"/>
              <a:t>R 43</a:t>
            </a:r>
          </a:p>
          <a:p>
            <a:pPr marL="139303"/>
            <a:r>
              <a:rPr lang="en-US" sz="488" dirty="0"/>
              <a:t>G 10</a:t>
            </a:r>
          </a:p>
          <a:p>
            <a:pPr marL="139303"/>
            <a:r>
              <a:rPr lang="en-US" sz="488" dirty="0"/>
              <a:t>B 61</a:t>
            </a:r>
          </a:p>
        </p:txBody>
      </p:sp>
      <p:sp>
        <p:nvSpPr>
          <p:cNvPr id="8" name="Rectangle 7"/>
          <p:cNvSpPr/>
          <p:nvPr/>
        </p:nvSpPr>
        <p:spPr>
          <a:xfrm>
            <a:off x="11604134" y="1590548"/>
            <a:ext cx="483494"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Tech</a:t>
            </a:r>
            <a:br>
              <a:rPr lang="en-US" sz="488" b="1" dirty="0"/>
            </a:br>
            <a:r>
              <a:rPr lang="en-US" sz="488" b="1" dirty="0"/>
              <a:t>Red</a:t>
            </a:r>
          </a:p>
          <a:p>
            <a:pPr marL="139303"/>
            <a:r>
              <a:rPr lang="en-US" sz="488" dirty="0"/>
              <a:t>R 255</a:t>
            </a:r>
          </a:p>
          <a:p>
            <a:pPr marL="139303"/>
            <a:r>
              <a:rPr lang="en-US" sz="488" dirty="0"/>
              <a:t>G 48</a:t>
            </a:r>
          </a:p>
          <a:p>
            <a:pPr marL="139303"/>
            <a:r>
              <a:rPr lang="en-US" sz="488" dirty="0"/>
              <a:t>B 76</a:t>
            </a:r>
          </a:p>
        </p:txBody>
      </p:sp>
      <p:sp>
        <p:nvSpPr>
          <p:cNvPr id="10" name="Rectangle 9"/>
          <p:cNvSpPr/>
          <p:nvPr/>
        </p:nvSpPr>
        <p:spPr>
          <a:xfrm>
            <a:off x="12087629" y="1590548"/>
            <a:ext cx="483494"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Zest</a:t>
            </a:r>
            <a:br>
              <a:rPr lang="en-US" sz="488" b="1" dirty="0"/>
            </a:br>
            <a:r>
              <a:rPr lang="en-US" sz="488" b="1" dirty="0"/>
              <a:t>Green</a:t>
            </a:r>
          </a:p>
          <a:p>
            <a:pPr marL="139303"/>
            <a:r>
              <a:rPr lang="en-US" sz="488" dirty="0"/>
              <a:t>R 149</a:t>
            </a:r>
          </a:p>
          <a:p>
            <a:pPr marL="139303"/>
            <a:r>
              <a:rPr lang="en-US" sz="488" dirty="0"/>
              <a:t>G 230</a:t>
            </a:r>
          </a:p>
          <a:p>
            <a:pPr marL="139303"/>
            <a:r>
              <a:rPr lang="en-US" sz="488" dirty="0"/>
              <a:t>B 22</a:t>
            </a:r>
          </a:p>
        </p:txBody>
      </p:sp>
      <p:sp>
        <p:nvSpPr>
          <p:cNvPr id="11" name="Rectangle 10"/>
          <p:cNvSpPr/>
          <p:nvPr/>
        </p:nvSpPr>
        <p:spPr>
          <a:xfrm>
            <a:off x="10153651" y="2468608"/>
            <a:ext cx="483494"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Capgemini Blue</a:t>
            </a:r>
            <a:r>
              <a:rPr lang="en-US" sz="488" dirty="0"/>
              <a:t> (-50%)</a:t>
            </a:r>
          </a:p>
          <a:p>
            <a:pPr marL="139303"/>
            <a:r>
              <a:rPr lang="en-US" sz="488" dirty="0"/>
              <a:t>R 128</a:t>
            </a:r>
          </a:p>
          <a:p>
            <a:pPr marL="139303"/>
            <a:r>
              <a:rPr lang="en-US" sz="488" dirty="0"/>
              <a:t>G 184</a:t>
            </a:r>
          </a:p>
          <a:p>
            <a:pPr marL="139303"/>
            <a:r>
              <a:rPr lang="en-US" sz="488" dirty="0"/>
              <a:t>B 214</a:t>
            </a:r>
          </a:p>
        </p:txBody>
      </p:sp>
      <p:sp>
        <p:nvSpPr>
          <p:cNvPr id="12" name="Rectangle 11"/>
          <p:cNvSpPr/>
          <p:nvPr/>
        </p:nvSpPr>
        <p:spPr>
          <a:xfrm>
            <a:off x="10637145" y="2468608"/>
            <a:ext cx="483494"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7725">
              <a:spcAft>
                <a:spcPts val="325"/>
              </a:spcAft>
            </a:pPr>
            <a:r>
              <a:rPr lang="en-US" sz="488" b="1" dirty="0"/>
              <a:t>Vibrant</a:t>
            </a:r>
            <a:br>
              <a:rPr lang="en-US" sz="488" b="1" dirty="0"/>
            </a:br>
            <a:r>
              <a:rPr lang="en-US" sz="488" b="1" dirty="0"/>
              <a:t>Blue</a:t>
            </a:r>
            <a:r>
              <a:rPr lang="en-US" sz="488" dirty="0"/>
              <a:t> (-50%)</a:t>
            </a:r>
          </a:p>
          <a:p>
            <a:pPr marL="139303"/>
            <a:r>
              <a:rPr lang="en-US" sz="488" dirty="0"/>
              <a:t>R 136</a:t>
            </a:r>
          </a:p>
          <a:p>
            <a:pPr marL="139303"/>
            <a:r>
              <a:rPr lang="en-US" sz="488" dirty="0"/>
              <a:t>G 213</a:t>
            </a:r>
          </a:p>
          <a:p>
            <a:pPr marL="139303"/>
            <a:r>
              <a:rPr lang="en-US" sz="488" dirty="0"/>
              <a:t>B 237</a:t>
            </a:r>
          </a:p>
        </p:txBody>
      </p:sp>
      <p:sp>
        <p:nvSpPr>
          <p:cNvPr id="14" name="Rectangle 13"/>
          <p:cNvSpPr/>
          <p:nvPr/>
        </p:nvSpPr>
        <p:spPr>
          <a:xfrm>
            <a:off x="11120640" y="2468608"/>
            <a:ext cx="483494"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Purple</a:t>
            </a:r>
          </a:p>
          <a:p>
            <a:pPr marL="139303"/>
            <a:r>
              <a:rPr lang="en-US" sz="488" dirty="0"/>
              <a:t>R 109</a:t>
            </a:r>
          </a:p>
          <a:p>
            <a:pPr marL="139303"/>
            <a:r>
              <a:rPr lang="en-US" sz="488" dirty="0"/>
              <a:t>G 100</a:t>
            </a:r>
          </a:p>
          <a:p>
            <a:pPr marL="139303"/>
            <a:r>
              <a:rPr lang="en-US" sz="488" dirty="0"/>
              <a:t>B 204</a:t>
            </a:r>
          </a:p>
        </p:txBody>
      </p:sp>
      <p:sp>
        <p:nvSpPr>
          <p:cNvPr id="15" name="Rectangle 14"/>
          <p:cNvSpPr/>
          <p:nvPr/>
        </p:nvSpPr>
        <p:spPr>
          <a:xfrm>
            <a:off x="11604134" y="2468608"/>
            <a:ext cx="483494"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Orange</a:t>
            </a:r>
          </a:p>
          <a:p>
            <a:pPr marL="139303"/>
            <a:r>
              <a:rPr lang="en-US" sz="488" dirty="0"/>
              <a:t>R 255</a:t>
            </a:r>
          </a:p>
          <a:p>
            <a:pPr marL="139303"/>
            <a:r>
              <a:rPr lang="en-US" sz="488" dirty="0"/>
              <a:t>G 99</a:t>
            </a:r>
          </a:p>
          <a:p>
            <a:pPr marL="139303"/>
            <a:r>
              <a:rPr lang="en-US" sz="488" dirty="0"/>
              <a:t>B 39</a:t>
            </a:r>
          </a:p>
        </p:txBody>
      </p:sp>
      <p:sp>
        <p:nvSpPr>
          <p:cNvPr id="16" name="Rectangle 15"/>
          <p:cNvSpPr/>
          <p:nvPr/>
        </p:nvSpPr>
        <p:spPr>
          <a:xfrm>
            <a:off x="12087629" y="2468608"/>
            <a:ext cx="483494"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Green</a:t>
            </a:r>
          </a:p>
          <a:p>
            <a:pPr marL="139303"/>
            <a:r>
              <a:rPr lang="en-US" sz="488" dirty="0"/>
              <a:t>R 200</a:t>
            </a:r>
          </a:p>
          <a:p>
            <a:pPr marL="139303"/>
            <a:r>
              <a:rPr lang="en-US" sz="488" dirty="0"/>
              <a:t>G 255</a:t>
            </a:r>
          </a:p>
          <a:p>
            <a:pPr marL="139303"/>
            <a:r>
              <a:rPr lang="en-US" sz="488" dirty="0"/>
              <a:t>B 22</a:t>
            </a:r>
          </a:p>
        </p:txBody>
      </p:sp>
      <p:sp>
        <p:nvSpPr>
          <p:cNvPr id="17" name="Rectangle 16"/>
          <p:cNvSpPr/>
          <p:nvPr/>
        </p:nvSpPr>
        <p:spPr>
          <a:xfrm>
            <a:off x="11120640" y="3089931"/>
            <a:ext cx="483494"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urple</a:t>
            </a:r>
          </a:p>
          <a:p>
            <a:pPr marL="139303"/>
            <a:r>
              <a:rPr lang="en-US" sz="488" dirty="0"/>
              <a:t>R 126</a:t>
            </a:r>
          </a:p>
          <a:p>
            <a:pPr marL="139303"/>
            <a:r>
              <a:rPr lang="en-US" sz="488" dirty="0"/>
              <a:t>G 57</a:t>
            </a:r>
          </a:p>
          <a:p>
            <a:pPr marL="139303"/>
            <a:r>
              <a:rPr lang="en-US" sz="488" dirty="0"/>
              <a:t>B 186</a:t>
            </a:r>
          </a:p>
        </p:txBody>
      </p:sp>
      <p:sp>
        <p:nvSpPr>
          <p:cNvPr id="18" name="Rectangle 17"/>
          <p:cNvSpPr/>
          <p:nvPr/>
        </p:nvSpPr>
        <p:spPr>
          <a:xfrm>
            <a:off x="12087629" y="3089931"/>
            <a:ext cx="483494"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Green</a:t>
            </a:r>
          </a:p>
          <a:p>
            <a:pPr marL="139303"/>
            <a:r>
              <a:rPr lang="en-US" sz="488" dirty="0"/>
              <a:t>R 0</a:t>
            </a:r>
          </a:p>
          <a:p>
            <a:pPr marL="139303"/>
            <a:r>
              <a:rPr lang="en-US" sz="488" dirty="0"/>
              <a:t>G 195</a:t>
            </a:r>
          </a:p>
          <a:p>
            <a:pPr marL="139303"/>
            <a:r>
              <a:rPr lang="en-US" sz="488" dirty="0"/>
              <a:t>B 123</a:t>
            </a:r>
          </a:p>
        </p:txBody>
      </p:sp>
      <p:sp>
        <p:nvSpPr>
          <p:cNvPr id="19" name="Rectangle 18"/>
          <p:cNvSpPr/>
          <p:nvPr/>
        </p:nvSpPr>
        <p:spPr>
          <a:xfrm>
            <a:off x="12087629" y="4948918"/>
            <a:ext cx="483494"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Green</a:t>
            </a:r>
          </a:p>
          <a:p>
            <a:pPr marL="139303"/>
            <a:r>
              <a:rPr lang="en-US" sz="488" dirty="0"/>
              <a:t>R 21</a:t>
            </a:r>
          </a:p>
          <a:p>
            <a:pPr marL="139303"/>
            <a:r>
              <a:rPr lang="en-US" sz="488" dirty="0"/>
              <a:t>G 99</a:t>
            </a:r>
          </a:p>
          <a:p>
            <a:pPr marL="139303"/>
            <a:r>
              <a:rPr lang="en-US" sz="488" dirty="0"/>
              <a:t>B 107</a:t>
            </a:r>
          </a:p>
        </p:txBody>
      </p:sp>
      <p:sp>
        <p:nvSpPr>
          <p:cNvPr id="20" name="Rectangle 19"/>
          <p:cNvSpPr/>
          <p:nvPr/>
        </p:nvSpPr>
        <p:spPr>
          <a:xfrm>
            <a:off x="12087629" y="4330086"/>
            <a:ext cx="483494"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Aqua</a:t>
            </a:r>
          </a:p>
          <a:p>
            <a:pPr marL="139303"/>
            <a:r>
              <a:rPr lang="en-US" sz="488" dirty="0"/>
              <a:t>R 15</a:t>
            </a:r>
          </a:p>
          <a:p>
            <a:pPr marL="139303"/>
            <a:r>
              <a:rPr lang="en-US" sz="488" dirty="0"/>
              <a:t>G 153</a:t>
            </a:r>
          </a:p>
          <a:p>
            <a:pPr marL="139303"/>
            <a:r>
              <a:rPr lang="en-US" sz="488" dirty="0"/>
              <a:t>B 156</a:t>
            </a:r>
          </a:p>
        </p:txBody>
      </p:sp>
      <p:sp>
        <p:nvSpPr>
          <p:cNvPr id="21" name="Rectangle 20"/>
          <p:cNvSpPr/>
          <p:nvPr/>
        </p:nvSpPr>
        <p:spPr>
          <a:xfrm>
            <a:off x="12087629" y="3711254"/>
            <a:ext cx="483494"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Bright</a:t>
            </a:r>
            <a:br>
              <a:rPr lang="en-US" sz="488" b="1" dirty="0"/>
            </a:br>
            <a:r>
              <a:rPr lang="en-US" sz="488" b="1" dirty="0"/>
              <a:t>Aqua</a:t>
            </a:r>
          </a:p>
          <a:p>
            <a:pPr marL="139303"/>
            <a:r>
              <a:rPr lang="en-US" sz="488" dirty="0"/>
              <a:t>R 1</a:t>
            </a:r>
          </a:p>
          <a:p>
            <a:pPr marL="139303"/>
            <a:r>
              <a:rPr lang="en-US" sz="488" dirty="0"/>
              <a:t>G 209</a:t>
            </a:r>
          </a:p>
          <a:p>
            <a:pPr marL="139303"/>
            <a:r>
              <a:rPr lang="en-US" sz="488" dirty="0"/>
              <a:t>B 208</a:t>
            </a:r>
          </a:p>
        </p:txBody>
      </p:sp>
      <p:sp>
        <p:nvSpPr>
          <p:cNvPr id="22" name="Rectangle 21"/>
          <p:cNvSpPr/>
          <p:nvPr/>
        </p:nvSpPr>
        <p:spPr>
          <a:xfrm>
            <a:off x="11604134" y="3089931"/>
            <a:ext cx="483494"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Peach</a:t>
            </a:r>
          </a:p>
          <a:p>
            <a:pPr marL="139303"/>
            <a:r>
              <a:rPr lang="en-US" sz="488" dirty="0"/>
              <a:t>R 255</a:t>
            </a:r>
          </a:p>
          <a:p>
            <a:pPr marL="139303"/>
            <a:r>
              <a:rPr lang="en-US" sz="488" dirty="0"/>
              <a:t>G 126</a:t>
            </a:r>
          </a:p>
          <a:p>
            <a:pPr marL="139303"/>
            <a:r>
              <a:rPr lang="en-US" sz="488" dirty="0"/>
              <a:t>B 131</a:t>
            </a:r>
          </a:p>
        </p:txBody>
      </p:sp>
      <p:sp>
        <p:nvSpPr>
          <p:cNvPr id="23" name="Rectangle 22"/>
          <p:cNvSpPr/>
          <p:nvPr/>
        </p:nvSpPr>
        <p:spPr>
          <a:xfrm>
            <a:off x="11604134" y="3711254"/>
            <a:ext cx="483494"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Light</a:t>
            </a:r>
            <a:br>
              <a:rPr lang="en-US" sz="488" b="1" dirty="0"/>
            </a:br>
            <a:r>
              <a:rPr lang="en-US" sz="488" b="1" dirty="0"/>
              <a:t>Claret</a:t>
            </a:r>
          </a:p>
          <a:p>
            <a:pPr marL="139303"/>
            <a:r>
              <a:rPr lang="en-US" sz="488" dirty="0"/>
              <a:t>R 203</a:t>
            </a:r>
          </a:p>
          <a:p>
            <a:pPr marL="139303"/>
            <a:r>
              <a:rPr lang="en-US" sz="488" dirty="0"/>
              <a:t>G 41</a:t>
            </a:r>
          </a:p>
          <a:p>
            <a:pPr marL="139303"/>
            <a:r>
              <a:rPr lang="en-US" sz="488" dirty="0"/>
              <a:t>B 128</a:t>
            </a:r>
          </a:p>
        </p:txBody>
      </p:sp>
      <p:sp>
        <p:nvSpPr>
          <p:cNvPr id="24" name="Rectangle 23"/>
          <p:cNvSpPr/>
          <p:nvPr/>
        </p:nvSpPr>
        <p:spPr>
          <a:xfrm>
            <a:off x="11604134" y="4330086"/>
            <a:ext cx="483494"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Claret</a:t>
            </a:r>
          </a:p>
          <a:p>
            <a:pPr marL="139303"/>
            <a:r>
              <a:rPr lang="en-US" sz="488" dirty="0"/>
              <a:t>R 134</a:t>
            </a:r>
          </a:p>
          <a:p>
            <a:pPr marL="139303"/>
            <a:r>
              <a:rPr lang="en-US" sz="488" dirty="0"/>
              <a:t>G 8</a:t>
            </a:r>
          </a:p>
          <a:p>
            <a:pPr marL="139303"/>
            <a:r>
              <a:rPr lang="en-US" sz="488" dirty="0"/>
              <a:t>B 100</a:t>
            </a:r>
          </a:p>
        </p:txBody>
      </p:sp>
      <p:sp>
        <p:nvSpPr>
          <p:cNvPr id="25" name="Rectangle 24"/>
          <p:cNvSpPr/>
          <p:nvPr/>
        </p:nvSpPr>
        <p:spPr>
          <a:xfrm>
            <a:off x="10153651" y="1420365"/>
            <a:ext cx="461665"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Primary</a:t>
            </a:r>
          </a:p>
        </p:txBody>
      </p:sp>
      <p:sp>
        <p:nvSpPr>
          <p:cNvPr id="26" name="Rectangle 25"/>
          <p:cNvSpPr/>
          <p:nvPr/>
        </p:nvSpPr>
        <p:spPr>
          <a:xfrm>
            <a:off x="10153651" y="2299795"/>
            <a:ext cx="681277"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Infographic</a:t>
            </a:r>
          </a:p>
        </p:txBody>
      </p:sp>
      <p:sp>
        <p:nvSpPr>
          <p:cNvPr id="27" name="Rectangle 26"/>
          <p:cNvSpPr/>
          <p:nvPr/>
        </p:nvSpPr>
        <p:spPr>
          <a:xfrm>
            <a:off x="11120640" y="1420365"/>
            <a:ext cx="609141" cy="125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13" b="1" dirty="0">
                <a:solidFill>
                  <a:schemeClr val="tx2"/>
                </a:solidFill>
              </a:rPr>
              <a:t>Secondary</a:t>
            </a:r>
          </a:p>
        </p:txBody>
      </p:sp>
      <p:sp>
        <p:nvSpPr>
          <p:cNvPr id="28" name="Rectangle 27"/>
          <p:cNvSpPr/>
          <p:nvPr/>
        </p:nvSpPr>
        <p:spPr>
          <a:xfrm>
            <a:off x="11120640" y="3711254"/>
            <a:ext cx="483494"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25"/>
              </a:spcAft>
            </a:pPr>
            <a:r>
              <a:rPr lang="en-US" sz="488" b="1" dirty="0"/>
              <a:t>Dark</a:t>
            </a:r>
            <a:br>
              <a:rPr lang="en-US" sz="488" b="1" dirty="0"/>
            </a:br>
            <a:r>
              <a:rPr lang="en-US" sz="488" b="1" dirty="0"/>
              <a:t>Purple</a:t>
            </a:r>
          </a:p>
          <a:p>
            <a:pPr marL="139303"/>
            <a:r>
              <a:rPr lang="en-US" sz="488" dirty="0"/>
              <a:t>R 71</a:t>
            </a:r>
          </a:p>
          <a:p>
            <a:pPr marL="139303"/>
            <a:r>
              <a:rPr lang="en-US" sz="488" dirty="0"/>
              <a:t>G 1</a:t>
            </a:r>
          </a:p>
          <a:p>
            <a:pPr marL="139303"/>
            <a:r>
              <a:rPr lang="en-US" sz="488" dirty="0"/>
              <a:t>B 167</a:t>
            </a:r>
          </a:p>
        </p:txBody>
      </p:sp>
    </p:spTree>
    <p:extLst>
      <p:ext uri="{BB962C8B-B14F-4D97-AF65-F5344CB8AC3E}">
        <p14:creationId xmlns:p14="http://schemas.microsoft.com/office/powerpoint/2010/main" val="2973032271"/>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6" r:id="rId24"/>
    <p:sldLayoutId id="2147484057" r:id="rId25"/>
    <p:sldLayoutId id="2147484060" r:id="rId26"/>
  </p:sldLayoutIdLst>
  <p:hf sldNum="0" hdr="0" ftr="0"/>
  <p:txStyles>
    <p:titleStyle>
      <a:lvl1pPr algn="l" defTabSz="742950" rtl="0" eaLnBrk="1" latinLnBrk="0" hangingPunct="1">
        <a:lnSpc>
          <a:spcPct val="90000"/>
        </a:lnSpc>
        <a:spcBef>
          <a:spcPct val="0"/>
        </a:spcBef>
        <a:buNone/>
        <a:defRPr lang="pt-PT"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742950" rtl="0" eaLnBrk="1" latinLnBrk="0" hangingPunct="1">
        <a:lnSpc>
          <a:spcPts val="1788"/>
        </a:lnSpc>
        <a:spcBef>
          <a:spcPts val="0"/>
        </a:spcBef>
        <a:spcAft>
          <a:spcPts val="488"/>
        </a:spcAft>
        <a:buFont typeface="Arial" panose="020B0604020202020204" pitchFamily="34" charset="0"/>
        <a:buNone/>
        <a:defRPr sz="1463" kern="1200">
          <a:solidFill>
            <a:schemeClr val="tx1"/>
          </a:solidFill>
          <a:latin typeface="+mn-lt"/>
          <a:ea typeface="+mn-ea"/>
          <a:cs typeface="+mn-cs"/>
        </a:defRPr>
      </a:lvl1pPr>
      <a:lvl2pPr marL="189607" indent="-185738" algn="l" defTabSz="742950" rtl="0" eaLnBrk="1" latinLnBrk="0" hangingPunct="1">
        <a:lnSpc>
          <a:spcPts val="1625"/>
        </a:lnSpc>
        <a:spcBef>
          <a:spcPts val="0"/>
        </a:spcBef>
        <a:spcAft>
          <a:spcPts val="488"/>
        </a:spcAft>
        <a:buClr>
          <a:schemeClr val="accent1"/>
        </a:buClr>
        <a:buFont typeface="Wingdings" panose="05000000000000000000" pitchFamily="2" charset="2"/>
        <a:buChar char="§"/>
        <a:defRPr sz="1300" kern="1200">
          <a:solidFill>
            <a:schemeClr val="tx1"/>
          </a:solidFill>
          <a:latin typeface="+mn-lt"/>
          <a:ea typeface="+mn-ea"/>
          <a:cs typeface="+mn-cs"/>
        </a:defRPr>
      </a:lvl2pPr>
      <a:lvl3pPr marL="371475" indent="-181868" algn="l" defTabSz="742950" rtl="0" eaLnBrk="1" latinLnBrk="0" hangingPunct="1">
        <a:lnSpc>
          <a:spcPts val="1300"/>
        </a:lnSpc>
        <a:spcBef>
          <a:spcPts val="0"/>
        </a:spcBef>
        <a:spcAft>
          <a:spcPts val="488"/>
        </a:spcAft>
        <a:buClr>
          <a:schemeClr val="accent1"/>
        </a:buClr>
        <a:buFont typeface="Arial" panose="020B0604020202020204" pitchFamily="34" charset="0"/>
        <a:buChar char="•"/>
        <a:defRPr sz="1138" kern="1200">
          <a:solidFill>
            <a:schemeClr val="tx1"/>
          </a:solidFill>
          <a:latin typeface="+mn-lt"/>
          <a:ea typeface="+mn-ea"/>
          <a:cs typeface="+mn-cs"/>
        </a:defRPr>
      </a:lvl3pPr>
      <a:lvl4pPr marL="561082" indent="-189607" algn="l" defTabSz="742950" rtl="0" eaLnBrk="1" latinLnBrk="0" hangingPunct="1">
        <a:lnSpc>
          <a:spcPct val="90000"/>
        </a:lnSpc>
        <a:spcBef>
          <a:spcPts val="0"/>
        </a:spcBef>
        <a:spcAft>
          <a:spcPts val="488"/>
        </a:spcAft>
        <a:buClr>
          <a:schemeClr val="accent1"/>
        </a:buClr>
        <a:buFont typeface="Arial" panose="020B0604020202020204" pitchFamily="34" charset="0"/>
        <a:buChar char="‒"/>
        <a:defRPr sz="975"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138"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31490" y="404816"/>
            <a:ext cx="8950991" cy="863601"/>
          </a:xfrm>
          <a:prstGeom prst="rect">
            <a:avLst/>
          </a:prstGeom>
        </p:spPr>
        <p:txBody>
          <a:bodyPr vert="horz" lIns="0" tIns="0" rIns="0" bIns="0" rtlCol="0" anchor="t">
            <a:normAutofit/>
          </a:bodyPr>
          <a:lstStyle/>
          <a:p>
            <a:pPr lvl="0">
              <a:lnSpc>
                <a:spcPts val="1981"/>
              </a:lnSpc>
            </a:pPr>
            <a:r>
              <a:rPr lang="en-US"/>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0">
            <a:extLst>
              <a:ext uri="{96DAC541-7B7A-43D3-8B79-37D633B846F1}">
                <asvg:svgBlip xmlns="" xmlns:asvg="http://schemas.microsoft.com/office/drawing/2016/SVG/main" r:embed="rId31"/>
              </a:ext>
            </a:extLst>
          </a:blip>
          <a:srcRect l="81836" t="-4713" b="16530"/>
          <a:stretch/>
        </p:blipFill>
        <p:spPr>
          <a:xfrm>
            <a:off x="9382583" y="188640"/>
            <a:ext cx="344789"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35618" y="1412878"/>
            <a:ext cx="9238893"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0153651" y="1590548"/>
            <a:ext cx="483494"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Capgemini Blue</a:t>
            </a:r>
          </a:p>
          <a:p>
            <a:pPr marL="113184"/>
            <a:r>
              <a:rPr lang="en-US" sz="397" dirty="0">
                <a:solidFill>
                  <a:prstClr val="white"/>
                </a:solidFill>
              </a:rPr>
              <a:t>R 0</a:t>
            </a:r>
          </a:p>
          <a:p>
            <a:pPr marL="113184"/>
            <a:r>
              <a:rPr lang="en-US" sz="397" dirty="0">
                <a:solidFill>
                  <a:prstClr val="white"/>
                </a:solidFill>
              </a:rPr>
              <a:t>G 112</a:t>
            </a:r>
          </a:p>
          <a:p>
            <a:pPr marL="113184"/>
            <a:r>
              <a:rPr lang="en-US" sz="397" dirty="0">
                <a:solidFill>
                  <a:prstClr val="white"/>
                </a:solidFill>
              </a:rPr>
              <a:t>B 173</a:t>
            </a:r>
          </a:p>
        </p:txBody>
      </p:sp>
      <p:sp>
        <p:nvSpPr>
          <p:cNvPr id="6" name="Rectangle 5"/>
          <p:cNvSpPr/>
          <p:nvPr/>
        </p:nvSpPr>
        <p:spPr>
          <a:xfrm>
            <a:off x="10637145" y="1590548"/>
            <a:ext cx="483494"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Vibrant</a:t>
            </a:r>
            <a:br>
              <a:rPr lang="en-US" sz="397" b="1" dirty="0">
                <a:solidFill>
                  <a:prstClr val="white"/>
                </a:solidFill>
              </a:rPr>
            </a:br>
            <a:r>
              <a:rPr lang="en-US" sz="397" b="1" dirty="0">
                <a:solidFill>
                  <a:prstClr val="white"/>
                </a:solidFill>
              </a:rPr>
              <a:t>Blue</a:t>
            </a:r>
          </a:p>
          <a:p>
            <a:pPr marL="113184"/>
            <a:r>
              <a:rPr lang="en-US" sz="397" dirty="0">
                <a:solidFill>
                  <a:prstClr val="white"/>
                </a:solidFill>
              </a:rPr>
              <a:t>R 18</a:t>
            </a:r>
          </a:p>
          <a:p>
            <a:pPr marL="113184"/>
            <a:r>
              <a:rPr lang="en-US" sz="397" dirty="0">
                <a:solidFill>
                  <a:prstClr val="white"/>
                </a:solidFill>
              </a:rPr>
              <a:t>G 171</a:t>
            </a:r>
          </a:p>
          <a:p>
            <a:pPr marL="113184"/>
            <a:r>
              <a:rPr lang="en-US" sz="397" dirty="0">
                <a:solidFill>
                  <a:prstClr val="white"/>
                </a:solidFill>
              </a:rPr>
              <a:t>B 219</a:t>
            </a:r>
          </a:p>
        </p:txBody>
      </p:sp>
      <p:sp>
        <p:nvSpPr>
          <p:cNvPr id="7" name="Rectangle 6"/>
          <p:cNvSpPr/>
          <p:nvPr/>
        </p:nvSpPr>
        <p:spPr>
          <a:xfrm>
            <a:off x="11120640" y="1590548"/>
            <a:ext cx="483494"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Deep</a:t>
            </a:r>
            <a:br>
              <a:rPr lang="en-US" sz="397" b="1" dirty="0">
                <a:solidFill>
                  <a:prstClr val="white"/>
                </a:solidFill>
              </a:rPr>
            </a:br>
            <a:r>
              <a:rPr lang="en-US" sz="397" b="1" dirty="0">
                <a:solidFill>
                  <a:prstClr val="white"/>
                </a:solidFill>
              </a:rPr>
              <a:t>Purple</a:t>
            </a:r>
          </a:p>
          <a:p>
            <a:pPr marL="113184"/>
            <a:r>
              <a:rPr lang="en-US" sz="397" dirty="0">
                <a:solidFill>
                  <a:prstClr val="white"/>
                </a:solidFill>
              </a:rPr>
              <a:t>R 43</a:t>
            </a:r>
          </a:p>
          <a:p>
            <a:pPr marL="113184"/>
            <a:r>
              <a:rPr lang="en-US" sz="397" dirty="0">
                <a:solidFill>
                  <a:prstClr val="white"/>
                </a:solidFill>
              </a:rPr>
              <a:t>G 10</a:t>
            </a:r>
          </a:p>
          <a:p>
            <a:pPr marL="113184"/>
            <a:r>
              <a:rPr lang="en-US" sz="397" dirty="0">
                <a:solidFill>
                  <a:prstClr val="white"/>
                </a:solidFill>
              </a:rPr>
              <a:t>B 61</a:t>
            </a:r>
          </a:p>
        </p:txBody>
      </p:sp>
      <p:sp>
        <p:nvSpPr>
          <p:cNvPr id="8" name="Rectangle 7"/>
          <p:cNvSpPr/>
          <p:nvPr/>
        </p:nvSpPr>
        <p:spPr>
          <a:xfrm>
            <a:off x="11604134" y="1590548"/>
            <a:ext cx="483494"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Tech</a:t>
            </a:r>
            <a:br>
              <a:rPr lang="en-US" sz="397" b="1" dirty="0">
                <a:solidFill>
                  <a:prstClr val="white"/>
                </a:solidFill>
              </a:rPr>
            </a:br>
            <a:r>
              <a:rPr lang="en-US" sz="397" b="1" dirty="0">
                <a:solidFill>
                  <a:prstClr val="white"/>
                </a:solidFill>
              </a:rPr>
              <a:t>Red</a:t>
            </a:r>
          </a:p>
          <a:p>
            <a:pPr marL="113184"/>
            <a:r>
              <a:rPr lang="en-US" sz="397" dirty="0">
                <a:solidFill>
                  <a:prstClr val="white"/>
                </a:solidFill>
              </a:rPr>
              <a:t>R 255</a:t>
            </a:r>
          </a:p>
          <a:p>
            <a:pPr marL="113184"/>
            <a:r>
              <a:rPr lang="en-US" sz="397" dirty="0">
                <a:solidFill>
                  <a:prstClr val="white"/>
                </a:solidFill>
              </a:rPr>
              <a:t>G 48</a:t>
            </a:r>
          </a:p>
          <a:p>
            <a:pPr marL="113184"/>
            <a:r>
              <a:rPr lang="en-US" sz="397" dirty="0">
                <a:solidFill>
                  <a:prstClr val="white"/>
                </a:solidFill>
              </a:rPr>
              <a:t>B 76</a:t>
            </a:r>
          </a:p>
        </p:txBody>
      </p:sp>
      <p:sp>
        <p:nvSpPr>
          <p:cNvPr id="10" name="Rectangle 9"/>
          <p:cNvSpPr/>
          <p:nvPr/>
        </p:nvSpPr>
        <p:spPr>
          <a:xfrm>
            <a:off x="12087629" y="1590548"/>
            <a:ext cx="483494"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Zest</a:t>
            </a:r>
            <a:br>
              <a:rPr lang="en-US" sz="397" b="1" dirty="0">
                <a:solidFill>
                  <a:prstClr val="white"/>
                </a:solidFill>
              </a:rPr>
            </a:br>
            <a:r>
              <a:rPr lang="en-US" sz="397" b="1" dirty="0">
                <a:solidFill>
                  <a:prstClr val="white"/>
                </a:solidFill>
              </a:rPr>
              <a:t>Green</a:t>
            </a:r>
          </a:p>
          <a:p>
            <a:pPr marL="113184"/>
            <a:r>
              <a:rPr lang="en-US" sz="397" dirty="0">
                <a:solidFill>
                  <a:prstClr val="white"/>
                </a:solidFill>
              </a:rPr>
              <a:t>R 149</a:t>
            </a:r>
          </a:p>
          <a:p>
            <a:pPr marL="113184"/>
            <a:r>
              <a:rPr lang="en-US" sz="397" dirty="0">
                <a:solidFill>
                  <a:prstClr val="white"/>
                </a:solidFill>
              </a:rPr>
              <a:t>G 230</a:t>
            </a:r>
          </a:p>
          <a:p>
            <a:pPr marL="113184"/>
            <a:r>
              <a:rPr lang="en-US" sz="397" dirty="0">
                <a:solidFill>
                  <a:prstClr val="white"/>
                </a:solidFill>
              </a:rPr>
              <a:t>B 22</a:t>
            </a:r>
          </a:p>
        </p:txBody>
      </p:sp>
      <p:sp>
        <p:nvSpPr>
          <p:cNvPr id="11" name="Rectangle 10"/>
          <p:cNvSpPr/>
          <p:nvPr/>
        </p:nvSpPr>
        <p:spPr>
          <a:xfrm>
            <a:off x="10153651" y="2468610"/>
            <a:ext cx="483494"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38777">
              <a:spcAft>
                <a:spcPts val="264"/>
              </a:spcAft>
            </a:pPr>
            <a:r>
              <a:rPr lang="en-US" sz="397" b="1" dirty="0">
                <a:solidFill>
                  <a:prstClr val="white"/>
                </a:solidFill>
              </a:rPr>
              <a:t>Capgemini Blue</a:t>
            </a:r>
            <a:r>
              <a:rPr lang="en-US" sz="397" dirty="0">
                <a:solidFill>
                  <a:prstClr val="white"/>
                </a:solidFill>
              </a:rPr>
              <a:t> (-50%)</a:t>
            </a:r>
          </a:p>
          <a:p>
            <a:pPr marL="113184"/>
            <a:r>
              <a:rPr lang="en-US" sz="397" dirty="0">
                <a:solidFill>
                  <a:prstClr val="white"/>
                </a:solidFill>
              </a:rPr>
              <a:t>R 128</a:t>
            </a:r>
          </a:p>
          <a:p>
            <a:pPr marL="113184"/>
            <a:r>
              <a:rPr lang="en-US" sz="397" dirty="0">
                <a:solidFill>
                  <a:prstClr val="white"/>
                </a:solidFill>
              </a:rPr>
              <a:t>G 184</a:t>
            </a:r>
          </a:p>
          <a:p>
            <a:pPr marL="113184"/>
            <a:r>
              <a:rPr lang="en-US" sz="397" dirty="0">
                <a:solidFill>
                  <a:prstClr val="white"/>
                </a:solidFill>
              </a:rPr>
              <a:t>B 214</a:t>
            </a:r>
          </a:p>
        </p:txBody>
      </p:sp>
      <p:sp>
        <p:nvSpPr>
          <p:cNvPr id="12" name="Rectangle 11"/>
          <p:cNvSpPr/>
          <p:nvPr/>
        </p:nvSpPr>
        <p:spPr>
          <a:xfrm>
            <a:off x="10637145" y="2468610"/>
            <a:ext cx="483494"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38777">
              <a:spcAft>
                <a:spcPts val="264"/>
              </a:spcAft>
            </a:pPr>
            <a:r>
              <a:rPr lang="en-US" sz="397" b="1" dirty="0">
                <a:solidFill>
                  <a:prstClr val="white"/>
                </a:solidFill>
              </a:rPr>
              <a:t>Vibrant</a:t>
            </a:r>
            <a:br>
              <a:rPr lang="en-US" sz="397" b="1" dirty="0">
                <a:solidFill>
                  <a:prstClr val="white"/>
                </a:solidFill>
              </a:rPr>
            </a:br>
            <a:r>
              <a:rPr lang="en-US" sz="397" b="1" dirty="0">
                <a:solidFill>
                  <a:prstClr val="white"/>
                </a:solidFill>
              </a:rPr>
              <a:t>Blue</a:t>
            </a:r>
            <a:r>
              <a:rPr lang="en-US" sz="397" dirty="0">
                <a:solidFill>
                  <a:prstClr val="white"/>
                </a:solidFill>
              </a:rPr>
              <a:t> (-50%)</a:t>
            </a:r>
          </a:p>
          <a:p>
            <a:pPr marL="113184"/>
            <a:r>
              <a:rPr lang="en-US" sz="397" dirty="0">
                <a:solidFill>
                  <a:prstClr val="white"/>
                </a:solidFill>
              </a:rPr>
              <a:t>R 136</a:t>
            </a:r>
          </a:p>
          <a:p>
            <a:pPr marL="113184"/>
            <a:r>
              <a:rPr lang="en-US" sz="397" dirty="0">
                <a:solidFill>
                  <a:prstClr val="white"/>
                </a:solidFill>
              </a:rPr>
              <a:t>G 213</a:t>
            </a:r>
          </a:p>
          <a:p>
            <a:pPr marL="113184"/>
            <a:r>
              <a:rPr lang="en-US" sz="397" dirty="0">
                <a:solidFill>
                  <a:prstClr val="white"/>
                </a:solidFill>
              </a:rPr>
              <a:t>B 237</a:t>
            </a:r>
          </a:p>
        </p:txBody>
      </p:sp>
      <p:sp>
        <p:nvSpPr>
          <p:cNvPr id="14" name="Rectangle 13"/>
          <p:cNvSpPr/>
          <p:nvPr/>
        </p:nvSpPr>
        <p:spPr>
          <a:xfrm>
            <a:off x="11120640" y="2468610"/>
            <a:ext cx="483494"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Bright</a:t>
            </a:r>
            <a:br>
              <a:rPr lang="en-US" sz="397" b="1" dirty="0">
                <a:solidFill>
                  <a:prstClr val="white"/>
                </a:solidFill>
              </a:rPr>
            </a:br>
            <a:r>
              <a:rPr lang="en-US" sz="397" b="1" dirty="0">
                <a:solidFill>
                  <a:prstClr val="white"/>
                </a:solidFill>
              </a:rPr>
              <a:t>Purple</a:t>
            </a:r>
          </a:p>
          <a:p>
            <a:pPr marL="113184"/>
            <a:r>
              <a:rPr lang="en-US" sz="397" dirty="0">
                <a:solidFill>
                  <a:prstClr val="white"/>
                </a:solidFill>
              </a:rPr>
              <a:t>R 109</a:t>
            </a:r>
          </a:p>
          <a:p>
            <a:pPr marL="113184"/>
            <a:r>
              <a:rPr lang="en-US" sz="397" dirty="0">
                <a:solidFill>
                  <a:prstClr val="white"/>
                </a:solidFill>
              </a:rPr>
              <a:t>G 100</a:t>
            </a:r>
          </a:p>
          <a:p>
            <a:pPr marL="113184"/>
            <a:r>
              <a:rPr lang="en-US" sz="397" dirty="0">
                <a:solidFill>
                  <a:prstClr val="white"/>
                </a:solidFill>
              </a:rPr>
              <a:t>B 204</a:t>
            </a:r>
          </a:p>
        </p:txBody>
      </p:sp>
      <p:sp>
        <p:nvSpPr>
          <p:cNvPr id="15" name="Rectangle 14"/>
          <p:cNvSpPr/>
          <p:nvPr/>
        </p:nvSpPr>
        <p:spPr>
          <a:xfrm>
            <a:off x="11604134" y="2468610"/>
            <a:ext cx="483494"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Orange</a:t>
            </a:r>
          </a:p>
          <a:p>
            <a:pPr marL="113184"/>
            <a:r>
              <a:rPr lang="en-US" sz="397" dirty="0">
                <a:solidFill>
                  <a:prstClr val="white"/>
                </a:solidFill>
              </a:rPr>
              <a:t>R 255</a:t>
            </a:r>
          </a:p>
          <a:p>
            <a:pPr marL="113184"/>
            <a:r>
              <a:rPr lang="en-US" sz="397" dirty="0">
                <a:solidFill>
                  <a:prstClr val="white"/>
                </a:solidFill>
              </a:rPr>
              <a:t>G 99</a:t>
            </a:r>
          </a:p>
          <a:p>
            <a:pPr marL="113184"/>
            <a:r>
              <a:rPr lang="en-US" sz="397" dirty="0">
                <a:solidFill>
                  <a:prstClr val="white"/>
                </a:solidFill>
              </a:rPr>
              <a:t>B 39</a:t>
            </a:r>
          </a:p>
        </p:txBody>
      </p:sp>
      <p:sp>
        <p:nvSpPr>
          <p:cNvPr id="16" name="Rectangle 15"/>
          <p:cNvSpPr/>
          <p:nvPr/>
        </p:nvSpPr>
        <p:spPr>
          <a:xfrm>
            <a:off x="12087629" y="2468610"/>
            <a:ext cx="483494"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Bright</a:t>
            </a:r>
            <a:br>
              <a:rPr lang="en-US" sz="397" b="1" dirty="0">
                <a:solidFill>
                  <a:prstClr val="white"/>
                </a:solidFill>
              </a:rPr>
            </a:br>
            <a:r>
              <a:rPr lang="en-US" sz="397" b="1" dirty="0">
                <a:solidFill>
                  <a:prstClr val="white"/>
                </a:solidFill>
              </a:rPr>
              <a:t>Green</a:t>
            </a:r>
          </a:p>
          <a:p>
            <a:pPr marL="113184"/>
            <a:r>
              <a:rPr lang="en-US" sz="397" dirty="0">
                <a:solidFill>
                  <a:prstClr val="white"/>
                </a:solidFill>
              </a:rPr>
              <a:t>R 200</a:t>
            </a:r>
          </a:p>
          <a:p>
            <a:pPr marL="113184"/>
            <a:r>
              <a:rPr lang="en-US" sz="397" dirty="0">
                <a:solidFill>
                  <a:prstClr val="white"/>
                </a:solidFill>
              </a:rPr>
              <a:t>G 255</a:t>
            </a:r>
          </a:p>
          <a:p>
            <a:pPr marL="113184"/>
            <a:r>
              <a:rPr lang="en-US" sz="397" dirty="0">
                <a:solidFill>
                  <a:prstClr val="white"/>
                </a:solidFill>
              </a:rPr>
              <a:t>B 22</a:t>
            </a:r>
          </a:p>
        </p:txBody>
      </p:sp>
      <p:sp>
        <p:nvSpPr>
          <p:cNvPr id="17" name="Rectangle 16"/>
          <p:cNvSpPr/>
          <p:nvPr/>
        </p:nvSpPr>
        <p:spPr>
          <a:xfrm>
            <a:off x="11120640" y="3089933"/>
            <a:ext cx="483494"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Purple</a:t>
            </a:r>
          </a:p>
          <a:p>
            <a:pPr marL="113184"/>
            <a:r>
              <a:rPr lang="en-US" sz="397" dirty="0">
                <a:solidFill>
                  <a:prstClr val="white"/>
                </a:solidFill>
              </a:rPr>
              <a:t>R 126</a:t>
            </a:r>
          </a:p>
          <a:p>
            <a:pPr marL="113184"/>
            <a:r>
              <a:rPr lang="en-US" sz="397" dirty="0">
                <a:solidFill>
                  <a:prstClr val="white"/>
                </a:solidFill>
              </a:rPr>
              <a:t>G 57</a:t>
            </a:r>
          </a:p>
          <a:p>
            <a:pPr marL="113184"/>
            <a:r>
              <a:rPr lang="en-US" sz="397" dirty="0">
                <a:solidFill>
                  <a:prstClr val="white"/>
                </a:solidFill>
              </a:rPr>
              <a:t>B 186</a:t>
            </a:r>
          </a:p>
        </p:txBody>
      </p:sp>
      <p:sp>
        <p:nvSpPr>
          <p:cNvPr id="18" name="Rectangle 17"/>
          <p:cNvSpPr/>
          <p:nvPr/>
        </p:nvSpPr>
        <p:spPr>
          <a:xfrm>
            <a:off x="12087629" y="3089933"/>
            <a:ext cx="483494"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Green</a:t>
            </a:r>
          </a:p>
          <a:p>
            <a:pPr marL="113184"/>
            <a:r>
              <a:rPr lang="en-US" sz="397" dirty="0">
                <a:solidFill>
                  <a:prstClr val="white"/>
                </a:solidFill>
              </a:rPr>
              <a:t>R 0</a:t>
            </a:r>
          </a:p>
          <a:p>
            <a:pPr marL="113184"/>
            <a:r>
              <a:rPr lang="en-US" sz="397" dirty="0">
                <a:solidFill>
                  <a:prstClr val="white"/>
                </a:solidFill>
              </a:rPr>
              <a:t>G 195</a:t>
            </a:r>
          </a:p>
          <a:p>
            <a:pPr marL="113184"/>
            <a:r>
              <a:rPr lang="en-US" sz="397" dirty="0">
                <a:solidFill>
                  <a:prstClr val="white"/>
                </a:solidFill>
              </a:rPr>
              <a:t>B 123</a:t>
            </a:r>
          </a:p>
        </p:txBody>
      </p:sp>
      <p:sp>
        <p:nvSpPr>
          <p:cNvPr id="19" name="Rectangle 18"/>
          <p:cNvSpPr/>
          <p:nvPr/>
        </p:nvSpPr>
        <p:spPr>
          <a:xfrm>
            <a:off x="12087629" y="4948920"/>
            <a:ext cx="483494"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Dark</a:t>
            </a:r>
            <a:br>
              <a:rPr lang="en-US" sz="397" b="1" dirty="0">
                <a:solidFill>
                  <a:prstClr val="white"/>
                </a:solidFill>
              </a:rPr>
            </a:br>
            <a:r>
              <a:rPr lang="en-US" sz="397" b="1" dirty="0">
                <a:solidFill>
                  <a:prstClr val="white"/>
                </a:solidFill>
              </a:rPr>
              <a:t>Green</a:t>
            </a:r>
          </a:p>
          <a:p>
            <a:pPr marL="113184"/>
            <a:r>
              <a:rPr lang="en-US" sz="397" dirty="0">
                <a:solidFill>
                  <a:prstClr val="white"/>
                </a:solidFill>
              </a:rPr>
              <a:t>R 21</a:t>
            </a:r>
          </a:p>
          <a:p>
            <a:pPr marL="113184"/>
            <a:r>
              <a:rPr lang="en-US" sz="397" dirty="0">
                <a:solidFill>
                  <a:prstClr val="white"/>
                </a:solidFill>
              </a:rPr>
              <a:t>G 99</a:t>
            </a:r>
          </a:p>
          <a:p>
            <a:pPr marL="113184"/>
            <a:r>
              <a:rPr lang="en-US" sz="397" dirty="0">
                <a:solidFill>
                  <a:prstClr val="white"/>
                </a:solidFill>
              </a:rPr>
              <a:t>B 107</a:t>
            </a:r>
          </a:p>
        </p:txBody>
      </p:sp>
      <p:sp>
        <p:nvSpPr>
          <p:cNvPr id="20" name="Rectangle 19"/>
          <p:cNvSpPr/>
          <p:nvPr/>
        </p:nvSpPr>
        <p:spPr>
          <a:xfrm>
            <a:off x="12087629" y="4330088"/>
            <a:ext cx="483494"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Aqua</a:t>
            </a:r>
          </a:p>
          <a:p>
            <a:pPr marL="113184"/>
            <a:r>
              <a:rPr lang="en-US" sz="397" dirty="0">
                <a:solidFill>
                  <a:prstClr val="white"/>
                </a:solidFill>
              </a:rPr>
              <a:t>R 15</a:t>
            </a:r>
          </a:p>
          <a:p>
            <a:pPr marL="113184"/>
            <a:r>
              <a:rPr lang="en-US" sz="397" dirty="0">
                <a:solidFill>
                  <a:prstClr val="white"/>
                </a:solidFill>
              </a:rPr>
              <a:t>G 153</a:t>
            </a:r>
          </a:p>
          <a:p>
            <a:pPr marL="113184"/>
            <a:r>
              <a:rPr lang="en-US" sz="397" dirty="0">
                <a:solidFill>
                  <a:prstClr val="white"/>
                </a:solidFill>
              </a:rPr>
              <a:t>B 156</a:t>
            </a:r>
          </a:p>
        </p:txBody>
      </p:sp>
      <p:sp>
        <p:nvSpPr>
          <p:cNvPr id="21" name="Rectangle 20"/>
          <p:cNvSpPr/>
          <p:nvPr/>
        </p:nvSpPr>
        <p:spPr>
          <a:xfrm>
            <a:off x="12087629" y="3711255"/>
            <a:ext cx="483494"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Bright</a:t>
            </a:r>
            <a:br>
              <a:rPr lang="en-US" sz="397" b="1" dirty="0">
                <a:solidFill>
                  <a:prstClr val="white"/>
                </a:solidFill>
              </a:rPr>
            </a:br>
            <a:r>
              <a:rPr lang="en-US" sz="397" b="1" dirty="0">
                <a:solidFill>
                  <a:prstClr val="white"/>
                </a:solidFill>
              </a:rPr>
              <a:t>Aqua</a:t>
            </a:r>
          </a:p>
          <a:p>
            <a:pPr marL="113184"/>
            <a:r>
              <a:rPr lang="en-US" sz="397" dirty="0">
                <a:solidFill>
                  <a:prstClr val="white"/>
                </a:solidFill>
              </a:rPr>
              <a:t>R 1</a:t>
            </a:r>
          </a:p>
          <a:p>
            <a:pPr marL="113184"/>
            <a:r>
              <a:rPr lang="en-US" sz="397" dirty="0">
                <a:solidFill>
                  <a:prstClr val="white"/>
                </a:solidFill>
              </a:rPr>
              <a:t>G 209</a:t>
            </a:r>
          </a:p>
          <a:p>
            <a:pPr marL="113184"/>
            <a:r>
              <a:rPr lang="en-US" sz="397" dirty="0">
                <a:solidFill>
                  <a:prstClr val="white"/>
                </a:solidFill>
              </a:rPr>
              <a:t>B 208</a:t>
            </a:r>
          </a:p>
        </p:txBody>
      </p:sp>
      <p:sp>
        <p:nvSpPr>
          <p:cNvPr id="22" name="Rectangle 21"/>
          <p:cNvSpPr/>
          <p:nvPr/>
        </p:nvSpPr>
        <p:spPr>
          <a:xfrm>
            <a:off x="11604134" y="3089933"/>
            <a:ext cx="483494"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Peach</a:t>
            </a:r>
          </a:p>
          <a:p>
            <a:pPr marL="113184"/>
            <a:r>
              <a:rPr lang="en-US" sz="397" dirty="0">
                <a:solidFill>
                  <a:prstClr val="white"/>
                </a:solidFill>
              </a:rPr>
              <a:t>R 255</a:t>
            </a:r>
          </a:p>
          <a:p>
            <a:pPr marL="113184"/>
            <a:r>
              <a:rPr lang="en-US" sz="397" dirty="0">
                <a:solidFill>
                  <a:prstClr val="white"/>
                </a:solidFill>
              </a:rPr>
              <a:t>G 126</a:t>
            </a:r>
          </a:p>
          <a:p>
            <a:pPr marL="113184"/>
            <a:r>
              <a:rPr lang="en-US" sz="397" dirty="0">
                <a:solidFill>
                  <a:prstClr val="white"/>
                </a:solidFill>
              </a:rPr>
              <a:t>B 131</a:t>
            </a:r>
          </a:p>
        </p:txBody>
      </p:sp>
      <p:sp>
        <p:nvSpPr>
          <p:cNvPr id="23" name="Rectangle 22"/>
          <p:cNvSpPr/>
          <p:nvPr/>
        </p:nvSpPr>
        <p:spPr>
          <a:xfrm>
            <a:off x="11604134" y="3711255"/>
            <a:ext cx="483494"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Light</a:t>
            </a:r>
            <a:br>
              <a:rPr lang="en-US" sz="397" b="1" dirty="0">
                <a:solidFill>
                  <a:prstClr val="white"/>
                </a:solidFill>
              </a:rPr>
            </a:br>
            <a:r>
              <a:rPr lang="en-US" sz="397" b="1" dirty="0">
                <a:solidFill>
                  <a:prstClr val="white"/>
                </a:solidFill>
              </a:rPr>
              <a:t>Claret</a:t>
            </a:r>
          </a:p>
          <a:p>
            <a:pPr marL="113184"/>
            <a:r>
              <a:rPr lang="en-US" sz="397" dirty="0">
                <a:solidFill>
                  <a:prstClr val="white"/>
                </a:solidFill>
              </a:rPr>
              <a:t>R 203</a:t>
            </a:r>
          </a:p>
          <a:p>
            <a:pPr marL="113184"/>
            <a:r>
              <a:rPr lang="en-US" sz="397" dirty="0">
                <a:solidFill>
                  <a:prstClr val="white"/>
                </a:solidFill>
              </a:rPr>
              <a:t>G 41</a:t>
            </a:r>
          </a:p>
          <a:p>
            <a:pPr marL="113184"/>
            <a:r>
              <a:rPr lang="en-US" sz="397" dirty="0">
                <a:solidFill>
                  <a:prstClr val="white"/>
                </a:solidFill>
              </a:rPr>
              <a:t>B 128</a:t>
            </a:r>
          </a:p>
        </p:txBody>
      </p:sp>
      <p:sp>
        <p:nvSpPr>
          <p:cNvPr id="24" name="Rectangle 23"/>
          <p:cNvSpPr/>
          <p:nvPr/>
        </p:nvSpPr>
        <p:spPr>
          <a:xfrm>
            <a:off x="11604134" y="4330088"/>
            <a:ext cx="483494"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Claret</a:t>
            </a:r>
          </a:p>
          <a:p>
            <a:pPr marL="113184"/>
            <a:r>
              <a:rPr lang="en-US" sz="397" dirty="0">
                <a:solidFill>
                  <a:prstClr val="white"/>
                </a:solidFill>
              </a:rPr>
              <a:t>R 134</a:t>
            </a:r>
          </a:p>
          <a:p>
            <a:pPr marL="113184"/>
            <a:r>
              <a:rPr lang="en-US" sz="397" dirty="0">
                <a:solidFill>
                  <a:prstClr val="white"/>
                </a:solidFill>
              </a:rPr>
              <a:t>G 8</a:t>
            </a:r>
          </a:p>
          <a:p>
            <a:pPr marL="113184"/>
            <a:r>
              <a:rPr lang="en-US" sz="397" dirty="0">
                <a:solidFill>
                  <a:prstClr val="white"/>
                </a:solidFill>
              </a:rPr>
              <a:t>B 100</a:t>
            </a:r>
          </a:p>
        </p:txBody>
      </p:sp>
      <p:sp>
        <p:nvSpPr>
          <p:cNvPr id="25" name="Rectangle 24"/>
          <p:cNvSpPr/>
          <p:nvPr/>
        </p:nvSpPr>
        <p:spPr>
          <a:xfrm>
            <a:off x="10153652" y="1432069"/>
            <a:ext cx="375103" cy="101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661" b="1" dirty="0">
                <a:solidFill>
                  <a:srgbClr val="0070AD"/>
                </a:solidFill>
              </a:rPr>
              <a:t>Primary</a:t>
            </a:r>
          </a:p>
        </p:txBody>
      </p:sp>
      <p:sp>
        <p:nvSpPr>
          <p:cNvPr id="26" name="Rectangle 25"/>
          <p:cNvSpPr/>
          <p:nvPr/>
        </p:nvSpPr>
        <p:spPr>
          <a:xfrm>
            <a:off x="10153652" y="2311499"/>
            <a:ext cx="556243" cy="101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661" b="1" dirty="0">
                <a:solidFill>
                  <a:srgbClr val="0070AD"/>
                </a:solidFill>
              </a:rPr>
              <a:t>Infographic</a:t>
            </a:r>
          </a:p>
        </p:txBody>
      </p:sp>
      <p:sp>
        <p:nvSpPr>
          <p:cNvPr id="27" name="Rectangle 26"/>
          <p:cNvSpPr/>
          <p:nvPr/>
        </p:nvSpPr>
        <p:spPr>
          <a:xfrm>
            <a:off x="11120641" y="1432069"/>
            <a:ext cx="496931" cy="101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661" b="1" dirty="0">
                <a:solidFill>
                  <a:srgbClr val="0070AD"/>
                </a:solidFill>
              </a:rPr>
              <a:t>Secondary</a:t>
            </a:r>
          </a:p>
        </p:txBody>
      </p:sp>
      <p:sp>
        <p:nvSpPr>
          <p:cNvPr id="28" name="Rectangle 27"/>
          <p:cNvSpPr/>
          <p:nvPr/>
        </p:nvSpPr>
        <p:spPr>
          <a:xfrm>
            <a:off x="11120640" y="3711255"/>
            <a:ext cx="483494"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264"/>
              </a:spcAft>
            </a:pPr>
            <a:r>
              <a:rPr lang="en-US" sz="397" b="1" dirty="0">
                <a:solidFill>
                  <a:prstClr val="white"/>
                </a:solidFill>
              </a:rPr>
              <a:t>Dark</a:t>
            </a:r>
            <a:br>
              <a:rPr lang="en-US" sz="397" b="1" dirty="0">
                <a:solidFill>
                  <a:prstClr val="white"/>
                </a:solidFill>
              </a:rPr>
            </a:br>
            <a:r>
              <a:rPr lang="en-US" sz="397" b="1" dirty="0">
                <a:solidFill>
                  <a:prstClr val="white"/>
                </a:solidFill>
              </a:rPr>
              <a:t>Purple</a:t>
            </a:r>
          </a:p>
          <a:p>
            <a:pPr marL="113184"/>
            <a:r>
              <a:rPr lang="en-US" sz="397" dirty="0">
                <a:solidFill>
                  <a:prstClr val="white"/>
                </a:solidFill>
              </a:rPr>
              <a:t>R 71</a:t>
            </a:r>
          </a:p>
          <a:p>
            <a:pPr marL="113184"/>
            <a:r>
              <a:rPr lang="en-US" sz="397" dirty="0">
                <a:solidFill>
                  <a:prstClr val="white"/>
                </a:solidFill>
              </a:rPr>
              <a:t>G 1</a:t>
            </a:r>
          </a:p>
          <a:p>
            <a:pPr marL="113184"/>
            <a:r>
              <a:rPr lang="en-US" sz="397" dirty="0">
                <a:solidFill>
                  <a:prstClr val="white"/>
                </a:solidFill>
              </a:rPr>
              <a:t>B 167</a:t>
            </a:r>
          </a:p>
        </p:txBody>
      </p:sp>
      <p:sp>
        <p:nvSpPr>
          <p:cNvPr id="29" name="Rectangle 28"/>
          <p:cNvSpPr/>
          <p:nvPr userDrawn="1"/>
        </p:nvSpPr>
        <p:spPr>
          <a:xfrm>
            <a:off x="7315201" y="6477002"/>
            <a:ext cx="1611339" cy="179921"/>
          </a:xfrm>
          <a:prstGeom prst="rect">
            <a:avLst/>
          </a:prstGeom>
        </p:spPr>
        <p:txBody>
          <a:bodyPr wrap="none">
            <a:spAutoFit/>
          </a:bodyPr>
          <a:lstStyle/>
          <a:p>
            <a:r>
              <a:rPr lang="it-IT" sz="569" dirty="0">
                <a:solidFill>
                  <a:srgbClr val="0070AD"/>
                </a:solidFill>
              </a:rPr>
              <a:t>NH203_Data Provisioning in SAP HANA</a:t>
            </a:r>
            <a:endParaRPr lang="en-US" sz="569" dirty="0">
              <a:solidFill>
                <a:srgbClr val="0070AD"/>
              </a:solidFill>
            </a:endParaRPr>
          </a:p>
        </p:txBody>
      </p:sp>
    </p:spTree>
    <p:extLst>
      <p:ext uri="{BB962C8B-B14F-4D97-AF65-F5344CB8AC3E}">
        <p14:creationId xmlns:p14="http://schemas.microsoft.com/office/powerpoint/2010/main" val="3954103346"/>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 id="2147484088" r:id="rId27"/>
    <p:sldLayoutId id="2147484089" r:id="rId28"/>
  </p:sldLayoutIdLst>
  <p:hf sldNum="0" hdr="0" ftr="0" dt="0"/>
  <p:txStyles>
    <p:titleStyle>
      <a:lvl1pPr algn="l" defTabSz="603647" rtl="0" eaLnBrk="1" latinLnBrk="0" hangingPunct="1">
        <a:lnSpc>
          <a:spcPct val="90000"/>
        </a:lnSpc>
        <a:spcBef>
          <a:spcPct val="0"/>
        </a:spcBef>
        <a:buNone/>
        <a:defRPr lang="pt-PT" sz="1717"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03647" rtl="0" eaLnBrk="1" latinLnBrk="0" hangingPunct="1">
        <a:lnSpc>
          <a:spcPts val="1453"/>
        </a:lnSpc>
        <a:spcBef>
          <a:spcPts val="0"/>
        </a:spcBef>
        <a:spcAft>
          <a:spcPts val="397"/>
        </a:spcAft>
        <a:buFont typeface="Arial" panose="020B0604020202020204" pitchFamily="34" charset="0"/>
        <a:buNone/>
        <a:defRPr sz="1189" kern="1200">
          <a:solidFill>
            <a:schemeClr val="tx1"/>
          </a:solidFill>
          <a:latin typeface="+mn-lt"/>
          <a:ea typeface="+mn-ea"/>
          <a:cs typeface="+mn-cs"/>
        </a:defRPr>
      </a:lvl1pPr>
      <a:lvl2pPr marL="154056" indent="-150912" algn="l" defTabSz="603647" rtl="0" eaLnBrk="1" latinLnBrk="0" hangingPunct="1">
        <a:lnSpc>
          <a:spcPts val="1320"/>
        </a:lnSpc>
        <a:spcBef>
          <a:spcPts val="0"/>
        </a:spcBef>
        <a:spcAft>
          <a:spcPts val="397"/>
        </a:spcAft>
        <a:buClr>
          <a:schemeClr val="accent1"/>
        </a:buClr>
        <a:buFont typeface="Wingdings" panose="05000000000000000000" pitchFamily="2" charset="2"/>
        <a:buChar char="§"/>
        <a:defRPr sz="1056" kern="1200">
          <a:solidFill>
            <a:schemeClr val="tx1"/>
          </a:solidFill>
          <a:latin typeface="+mn-lt"/>
          <a:ea typeface="+mn-ea"/>
          <a:cs typeface="+mn-cs"/>
        </a:defRPr>
      </a:lvl2pPr>
      <a:lvl3pPr marL="301823" indent="-147768" algn="l" defTabSz="603647" rtl="0" eaLnBrk="1" latinLnBrk="0" hangingPunct="1">
        <a:lnSpc>
          <a:spcPts val="1056"/>
        </a:lnSpc>
        <a:spcBef>
          <a:spcPts val="0"/>
        </a:spcBef>
        <a:spcAft>
          <a:spcPts val="397"/>
        </a:spcAft>
        <a:buClr>
          <a:schemeClr val="accent1"/>
        </a:buClr>
        <a:buFont typeface="Arial" panose="020B0604020202020204" pitchFamily="34" charset="0"/>
        <a:buChar char="•"/>
        <a:defRPr sz="925" kern="1200">
          <a:solidFill>
            <a:schemeClr val="tx1"/>
          </a:solidFill>
          <a:latin typeface="+mn-lt"/>
          <a:ea typeface="+mn-ea"/>
          <a:cs typeface="+mn-cs"/>
        </a:defRPr>
      </a:lvl3pPr>
      <a:lvl4pPr marL="455879" indent="-154056" algn="l" defTabSz="603647" rtl="0" eaLnBrk="1" latinLnBrk="0" hangingPunct="1">
        <a:lnSpc>
          <a:spcPct val="90000"/>
        </a:lnSpc>
        <a:spcBef>
          <a:spcPts val="0"/>
        </a:spcBef>
        <a:spcAft>
          <a:spcPts val="397"/>
        </a:spcAft>
        <a:buClr>
          <a:schemeClr val="accent1"/>
        </a:buClr>
        <a:buFont typeface="Arial" panose="020B0604020202020204" pitchFamily="34" charset="0"/>
        <a:buChar char="‒"/>
        <a:defRPr sz="792" kern="1200">
          <a:solidFill>
            <a:schemeClr val="tx1"/>
          </a:solidFill>
          <a:latin typeface="+mn-lt"/>
          <a:ea typeface="+mn-ea"/>
          <a:cs typeface="+mn-cs"/>
        </a:defRPr>
      </a:lvl4pPr>
      <a:lvl5pPr marL="1358206" indent="-150912" algn="l" defTabSz="603647" rtl="0" eaLnBrk="1" latinLnBrk="0" hangingPunct="1">
        <a:lnSpc>
          <a:spcPct val="90000"/>
        </a:lnSpc>
        <a:spcBef>
          <a:spcPts val="330"/>
        </a:spcBef>
        <a:buFont typeface="Arial" panose="020B0604020202020204" pitchFamily="34" charset="0"/>
        <a:buChar char="•"/>
        <a:defRPr sz="925" kern="1200">
          <a:solidFill>
            <a:schemeClr val="tx1"/>
          </a:solidFill>
          <a:latin typeface="+mn-lt"/>
          <a:ea typeface="+mn-ea"/>
          <a:cs typeface="+mn-cs"/>
        </a:defRPr>
      </a:lvl5pPr>
      <a:lvl6pPr marL="1660029"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6pPr>
      <a:lvl7pPr marL="1961853"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7pPr>
      <a:lvl8pPr marL="2263676"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8pPr>
      <a:lvl9pPr marL="2565500"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9pPr>
    </p:bodyStyle>
    <p:otherStyle>
      <a:defPPr>
        <a:defRPr lang="pt-PT"/>
      </a:defPPr>
      <a:lvl1pPr marL="0" algn="l" defTabSz="603647" rtl="0" eaLnBrk="1" latinLnBrk="0" hangingPunct="1">
        <a:defRPr sz="1189" kern="1200">
          <a:solidFill>
            <a:schemeClr val="tx1"/>
          </a:solidFill>
          <a:latin typeface="+mn-lt"/>
          <a:ea typeface="+mn-ea"/>
          <a:cs typeface="+mn-cs"/>
        </a:defRPr>
      </a:lvl1pPr>
      <a:lvl2pPr marL="301823" algn="l" defTabSz="603647" rtl="0" eaLnBrk="1" latinLnBrk="0" hangingPunct="1">
        <a:defRPr sz="1189" kern="1200">
          <a:solidFill>
            <a:schemeClr val="tx1"/>
          </a:solidFill>
          <a:latin typeface="+mn-lt"/>
          <a:ea typeface="+mn-ea"/>
          <a:cs typeface="+mn-cs"/>
        </a:defRPr>
      </a:lvl2pPr>
      <a:lvl3pPr marL="603647" algn="l" defTabSz="603647" rtl="0" eaLnBrk="1" latinLnBrk="0" hangingPunct="1">
        <a:defRPr sz="1189" kern="1200">
          <a:solidFill>
            <a:schemeClr val="tx1"/>
          </a:solidFill>
          <a:latin typeface="+mn-lt"/>
          <a:ea typeface="+mn-ea"/>
          <a:cs typeface="+mn-cs"/>
        </a:defRPr>
      </a:lvl3pPr>
      <a:lvl4pPr marL="905470" algn="l" defTabSz="603647" rtl="0" eaLnBrk="1" latinLnBrk="0" hangingPunct="1">
        <a:defRPr sz="1189" kern="1200">
          <a:solidFill>
            <a:schemeClr val="tx1"/>
          </a:solidFill>
          <a:latin typeface="+mn-lt"/>
          <a:ea typeface="+mn-ea"/>
          <a:cs typeface="+mn-cs"/>
        </a:defRPr>
      </a:lvl4pPr>
      <a:lvl5pPr marL="1207294" algn="l" defTabSz="603647" rtl="0" eaLnBrk="1" latinLnBrk="0" hangingPunct="1">
        <a:defRPr sz="1189" kern="1200">
          <a:solidFill>
            <a:schemeClr val="tx1"/>
          </a:solidFill>
          <a:latin typeface="+mn-lt"/>
          <a:ea typeface="+mn-ea"/>
          <a:cs typeface="+mn-cs"/>
        </a:defRPr>
      </a:lvl5pPr>
      <a:lvl6pPr marL="1509117" algn="l" defTabSz="603647" rtl="0" eaLnBrk="1" latinLnBrk="0" hangingPunct="1">
        <a:defRPr sz="1189" kern="1200">
          <a:solidFill>
            <a:schemeClr val="tx1"/>
          </a:solidFill>
          <a:latin typeface="+mn-lt"/>
          <a:ea typeface="+mn-ea"/>
          <a:cs typeface="+mn-cs"/>
        </a:defRPr>
      </a:lvl6pPr>
      <a:lvl7pPr marL="1810941" algn="l" defTabSz="603647" rtl="0" eaLnBrk="1" latinLnBrk="0" hangingPunct="1">
        <a:defRPr sz="1189" kern="1200">
          <a:solidFill>
            <a:schemeClr val="tx1"/>
          </a:solidFill>
          <a:latin typeface="+mn-lt"/>
          <a:ea typeface="+mn-ea"/>
          <a:cs typeface="+mn-cs"/>
        </a:defRPr>
      </a:lvl7pPr>
      <a:lvl8pPr marL="2112764" algn="l" defTabSz="603647" rtl="0" eaLnBrk="1" latinLnBrk="0" hangingPunct="1">
        <a:defRPr sz="1189" kern="1200">
          <a:solidFill>
            <a:schemeClr val="tx1"/>
          </a:solidFill>
          <a:latin typeface="+mn-lt"/>
          <a:ea typeface="+mn-ea"/>
          <a:cs typeface="+mn-cs"/>
        </a:defRPr>
      </a:lvl8pPr>
      <a:lvl9pPr marL="2414588" algn="l" defTabSz="603647" rtl="0" eaLnBrk="1" latinLnBrk="0" hangingPunct="1">
        <a:defRPr sz="118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7.xml"/><Relationship Id="rId5" Type="http://schemas.openxmlformats.org/officeDocument/2006/relationships/image" Target="../media/image44.pn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77.xml"/><Relationship Id="rId5" Type="http://schemas.openxmlformats.org/officeDocument/2006/relationships/image" Target="../media/image47.png"/><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43.png"/><Relationship Id="rId2" Type="http://schemas.openxmlformats.org/officeDocument/2006/relationships/image" Target="../media/image48.png"/><Relationship Id="rId1" Type="http://schemas.openxmlformats.org/officeDocument/2006/relationships/slideLayout" Target="../slideLayouts/slideLayout7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2.png"/><Relationship Id="rId7" Type="http://schemas.openxmlformats.org/officeDocument/2006/relationships/image" Target="../media/image55.png"/><Relationship Id="rId2" Type="http://schemas.openxmlformats.org/officeDocument/2006/relationships/image" Target="../media/image51.emf"/><Relationship Id="rId1" Type="http://schemas.openxmlformats.org/officeDocument/2006/relationships/slideLayout" Target="../slideLayouts/slideLayout7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44.png"/><Relationship Id="rId9" Type="http://schemas.openxmlformats.org/officeDocument/2006/relationships/image" Target="../media/image57.png"/></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77.xml"/><Relationship Id="rId5" Type="http://schemas.openxmlformats.org/officeDocument/2006/relationships/comments" Target="../comments/comment1.xml"/><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77.xml"/><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0.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7.xml"/><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7.xml"/></Relationships>
</file>

<file path=ppt/slides/_rels/slide23.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7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77.xml"/><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xml"/><Relationship Id="rId1" Type="http://schemas.openxmlformats.org/officeDocument/2006/relationships/slideLayout" Target="../slideLayouts/slideLayout77.xml"/><Relationship Id="rId5" Type="http://schemas.openxmlformats.org/officeDocument/2006/relationships/image" Target="../media/image72.png"/><Relationship Id="rId4" Type="http://schemas.openxmlformats.org/officeDocument/2006/relationships/image" Target="../media/image7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7.xml"/><Relationship Id="rId4" Type="http://schemas.openxmlformats.org/officeDocument/2006/relationships/image" Target="../media/image34.jfi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p:cNvSpPr>
            <a:spLocks noGrp="1"/>
          </p:cNvSpPr>
          <p:nvPr>
            <p:ph type="title"/>
          </p:nvPr>
        </p:nvSpPr>
        <p:spPr>
          <a:xfrm>
            <a:off x="533400" y="2819400"/>
            <a:ext cx="4876800" cy="838200"/>
          </a:xfrm>
        </p:spPr>
        <p:txBody>
          <a:bodyPr/>
          <a:lstStyle/>
          <a:p>
            <a:pPr algn="ctr"/>
            <a:r>
              <a:rPr lang="it-IT" sz="3200" b="1" dirty="0" smtClean="0"/>
              <a:t>SAP Leonardo IoT</a:t>
            </a:r>
            <a:endParaRPr lang="en-US" sz="3200" b="1" dirty="0"/>
          </a:p>
        </p:txBody>
      </p:sp>
    </p:spTree>
    <p:extLst>
      <p:ext uri="{BB962C8B-B14F-4D97-AF65-F5344CB8AC3E}">
        <p14:creationId xmlns:p14="http://schemas.microsoft.com/office/powerpoint/2010/main" val="6226745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04813"/>
            <a:ext cx="8950325" cy="863600"/>
          </a:xfrm>
        </p:spPr>
        <p:txBody>
          <a:bodyPr/>
          <a:lstStyle/>
          <a:p>
            <a:r>
              <a:rPr lang="en-US" sz="2400" dirty="0" err="1" smtClean="0"/>
              <a:t>IoT</a:t>
            </a:r>
            <a:r>
              <a:rPr lang="en-US" sz="2400" dirty="0" smtClean="0"/>
              <a:t> Offerings:</a:t>
            </a:r>
          </a:p>
        </p:txBody>
      </p:sp>
      <p:sp>
        <p:nvSpPr>
          <p:cNvPr id="3" name="Rectangle 2"/>
          <p:cNvSpPr/>
          <p:nvPr/>
        </p:nvSpPr>
        <p:spPr>
          <a:xfrm>
            <a:off x="419101" y="1676400"/>
            <a:ext cx="9067800" cy="1155829"/>
          </a:xfrm>
          <a:prstGeom prst="rect">
            <a:avLst/>
          </a:prstGeom>
        </p:spPr>
        <p:txBody>
          <a:bodyPr wrap="square">
            <a:spAutoFit/>
          </a:bodyPr>
          <a:lstStyle/>
          <a:p>
            <a:pPr>
              <a:lnSpc>
                <a:spcPct val="150000"/>
              </a:lnSpc>
            </a:pPr>
            <a:r>
              <a:rPr lang="en-US" sz="1600" dirty="0" err="1"/>
              <a:t>IoT</a:t>
            </a:r>
            <a:r>
              <a:rPr lang="en-US" sz="1600" dirty="0"/>
              <a:t> is one of the pillars of Leonardo as it bridges the physical world and the business world together that results in enormous possibilities to extract insights out of the real world data generated by intelligent devices and sensors.</a:t>
            </a:r>
            <a:endParaRPr lang="en-US" sz="1600" dirty="0">
              <a:solidFill>
                <a:schemeClr val="tx1">
                  <a:lumMod val="50000"/>
                </a:schemeClr>
              </a:solidFill>
              <a:effectLst/>
              <a:latin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a:blip r:embed="rId2"/>
          <a:stretch>
            <a:fillRect/>
          </a:stretch>
        </p:blipFill>
        <p:spPr>
          <a:xfrm>
            <a:off x="1371600" y="2832229"/>
            <a:ext cx="6505575" cy="3122676"/>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2"/>
          <a:stretch>
            <a:fillRect/>
          </a:stretch>
        </p:blipFill>
        <p:spPr>
          <a:xfrm>
            <a:off x="225656" y="4651220"/>
            <a:ext cx="1116000" cy="706800"/>
          </a:xfrm>
          <a:prstGeom prst="rect">
            <a:avLst/>
          </a:prstGeom>
        </p:spPr>
      </p:pic>
      <p:sp>
        <p:nvSpPr>
          <p:cNvPr id="2" name="Title 1"/>
          <p:cNvSpPr>
            <a:spLocks noGrp="1"/>
          </p:cNvSpPr>
          <p:nvPr>
            <p:ph type="title" idx="4294967295"/>
          </p:nvPr>
        </p:nvSpPr>
        <p:spPr>
          <a:xfrm>
            <a:off x="0" y="404813"/>
            <a:ext cx="8950325" cy="863600"/>
          </a:xfrm>
        </p:spPr>
        <p:txBody>
          <a:bodyPr/>
          <a:lstStyle/>
          <a:p>
            <a:r>
              <a:rPr lang="en-US" sz="2400" dirty="0"/>
              <a:t>Sensors, Connectivity &amp; SAP Cloud Platform</a:t>
            </a:r>
            <a:endParaRPr lang="en-US" sz="2400" b="1" dirty="0"/>
          </a:p>
        </p:txBody>
      </p:sp>
      <p:pic>
        <p:nvPicPr>
          <p:cNvPr id="28" name="Picture 27"/>
          <p:cNvPicPr>
            <a:picLocks noChangeAspect="1"/>
          </p:cNvPicPr>
          <p:nvPr/>
        </p:nvPicPr>
        <p:blipFill>
          <a:blip r:embed="rId2"/>
          <a:stretch>
            <a:fillRect/>
          </a:stretch>
        </p:blipFill>
        <p:spPr>
          <a:xfrm>
            <a:off x="228600" y="3926117"/>
            <a:ext cx="1116000" cy="706800"/>
          </a:xfrm>
          <a:prstGeom prst="rect">
            <a:avLst/>
          </a:prstGeom>
        </p:spPr>
      </p:pic>
      <p:pic>
        <p:nvPicPr>
          <p:cNvPr id="29" name="Picture 28"/>
          <p:cNvPicPr>
            <a:picLocks noChangeAspect="1"/>
          </p:cNvPicPr>
          <p:nvPr/>
        </p:nvPicPr>
        <p:blipFill>
          <a:blip r:embed="rId2"/>
          <a:stretch>
            <a:fillRect/>
          </a:stretch>
        </p:blipFill>
        <p:spPr>
          <a:xfrm>
            <a:off x="228600" y="3084652"/>
            <a:ext cx="1116000" cy="706800"/>
          </a:xfrm>
          <a:prstGeom prst="rect">
            <a:avLst/>
          </a:prstGeom>
        </p:spPr>
      </p:pic>
      <p:pic>
        <p:nvPicPr>
          <p:cNvPr id="30" name="Picture 29"/>
          <p:cNvPicPr>
            <a:picLocks noChangeAspect="1"/>
          </p:cNvPicPr>
          <p:nvPr/>
        </p:nvPicPr>
        <p:blipFill>
          <a:blip r:embed="rId2"/>
          <a:stretch>
            <a:fillRect/>
          </a:stretch>
        </p:blipFill>
        <p:spPr>
          <a:xfrm>
            <a:off x="245179" y="2359549"/>
            <a:ext cx="1116000" cy="706800"/>
          </a:xfrm>
          <a:prstGeom prst="rect">
            <a:avLst/>
          </a:prstGeom>
        </p:spPr>
      </p:pic>
      <p:pic>
        <p:nvPicPr>
          <p:cNvPr id="31" name="Picture 30"/>
          <p:cNvPicPr>
            <a:picLocks noChangeAspect="1"/>
          </p:cNvPicPr>
          <p:nvPr/>
        </p:nvPicPr>
        <p:blipFill>
          <a:blip r:embed="rId2"/>
          <a:stretch>
            <a:fillRect/>
          </a:stretch>
        </p:blipFill>
        <p:spPr>
          <a:xfrm>
            <a:off x="1361179" y="4671716"/>
            <a:ext cx="1116000" cy="706800"/>
          </a:xfrm>
          <a:prstGeom prst="rect">
            <a:avLst/>
          </a:prstGeom>
        </p:spPr>
      </p:pic>
      <p:pic>
        <p:nvPicPr>
          <p:cNvPr id="32" name="Picture 31"/>
          <p:cNvPicPr>
            <a:picLocks noChangeAspect="1"/>
          </p:cNvPicPr>
          <p:nvPr/>
        </p:nvPicPr>
        <p:blipFill>
          <a:blip r:embed="rId2"/>
          <a:stretch>
            <a:fillRect/>
          </a:stretch>
        </p:blipFill>
        <p:spPr>
          <a:xfrm>
            <a:off x="1364123" y="3946613"/>
            <a:ext cx="1116000" cy="706800"/>
          </a:xfrm>
          <a:prstGeom prst="rect">
            <a:avLst/>
          </a:prstGeom>
        </p:spPr>
      </p:pic>
      <p:pic>
        <p:nvPicPr>
          <p:cNvPr id="33" name="Picture 32"/>
          <p:cNvPicPr>
            <a:picLocks noChangeAspect="1"/>
          </p:cNvPicPr>
          <p:nvPr/>
        </p:nvPicPr>
        <p:blipFill>
          <a:blip r:embed="rId2"/>
          <a:stretch>
            <a:fillRect/>
          </a:stretch>
        </p:blipFill>
        <p:spPr>
          <a:xfrm>
            <a:off x="1364123" y="3105148"/>
            <a:ext cx="1116000" cy="706800"/>
          </a:xfrm>
          <a:prstGeom prst="rect">
            <a:avLst/>
          </a:prstGeom>
        </p:spPr>
      </p:pic>
      <p:pic>
        <p:nvPicPr>
          <p:cNvPr id="34" name="Picture 33"/>
          <p:cNvPicPr>
            <a:picLocks noChangeAspect="1"/>
          </p:cNvPicPr>
          <p:nvPr/>
        </p:nvPicPr>
        <p:blipFill>
          <a:blip r:embed="rId2"/>
          <a:stretch>
            <a:fillRect/>
          </a:stretch>
        </p:blipFill>
        <p:spPr>
          <a:xfrm>
            <a:off x="1380702" y="2380045"/>
            <a:ext cx="1116000" cy="706800"/>
          </a:xfrm>
          <a:prstGeom prst="rect">
            <a:avLst/>
          </a:prstGeom>
        </p:spPr>
      </p:pic>
      <p:sp>
        <p:nvSpPr>
          <p:cNvPr id="35" name="TextBox 34"/>
          <p:cNvSpPr txBox="1"/>
          <p:nvPr/>
        </p:nvSpPr>
        <p:spPr>
          <a:xfrm>
            <a:off x="803179" y="1271381"/>
            <a:ext cx="7259855" cy="369332"/>
          </a:xfrm>
          <a:prstGeom prst="rect">
            <a:avLst/>
          </a:prstGeom>
          <a:noFill/>
        </p:spPr>
        <p:txBody>
          <a:bodyPr wrap="square" rtlCol="0">
            <a:spAutoFit/>
          </a:bodyPr>
          <a:lstStyle/>
          <a:p>
            <a:r>
              <a:rPr lang="en-IN" dirty="0" smtClean="0"/>
              <a:t>How internet of things works?</a:t>
            </a:r>
            <a:endParaRPr lang="en-IN" dirty="0"/>
          </a:p>
        </p:txBody>
      </p:sp>
      <p:sp>
        <p:nvSpPr>
          <p:cNvPr id="36" name="TextBox 35"/>
          <p:cNvSpPr txBox="1"/>
          <p:nvPr/>
        </p:nvSpPr>
        <p:spPr>
          <a:xfrm>
            <a:off x="879924" y="1860677"/>
            <a:ext cx="1058778" cy="369332"/>
          </a:xfrm>
          <a:prstGeom prst="rect">
            <a:avLst/>
          </a:prstGeom>
          <a:noFill/>
        </p:spPr>
        <p:txBody>
          <a:bodyPr wrap="square" rtlCol="0">
            <a:spAutoFit/>
          </a:bodyPr>
          <a:lstStyle/>
          <a:p>
            <a:r>
              <a:rPr lang="en-IN" dirty="0" smtClean="0">
                <a:solidFill>
                  <a:schemeClr val="accent6">
                    <a:lumMod val="75000"/>
                  </a:schemeClr>
                </a:solidFill>
              </a:rPr>
              <a:t>Devices</a:t>
            </a:r>
            <a:endParaRPr lang="en-IN" dirty="0">
              <a:solidFill>
                <a:schemeClr val="accent6">
                  <a:lumMod val="75000"/>
                </a:schemeClr>
              </a:solidFill>
            </a:endParaRPr>
          </a:p>
        </p:txBody>
      </p:sp>
      <p:sp>
        <p:nvSpPr>
          <p:cNvPr id="37" name="Rounded Rectangular Callout 36"/>
          <p:cNvSpPr/>
          <p:nvPr/>
        </p:nvSpPr>
        <p:spPr>
          <a:xfrm>
            <a:off x="253478" y="5625163"/>
            <a:ext cx="2791288" cy="690515"/>
          </a:xfrm>
          <a:prstGeom prst="wedgeRoundRectCallout">
            <a:avLst>
              <a:gd name="adj1" fmla="val -39344"/>
              <a:gd name="adj2" fmla="val -90832"/>
              <a:gd name="adj3" fmla="val 16667"/>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t>Sensor Enabled Devices collects information/Data</a:t>
            </a:r>
            <a:endParaRPr lang="en-IN" sz="1400" dirty="0"/>
          </a:p>
        </p:txBody>
      </p:sp>
      <p:sp>
        <p:nvSpPr>
          <p:cNvPr id="38" name="TextBox 37"/>
          <p:cNvSpPr txBox="1"/>
          <p:nvPr/>
        </p:nvSpPr>
        <p:spPr>
          <a:xfrm rot="5400000">
            <a:off x="1932037" y="2980812"/>
            <a:ext cx="1478532" cy="276999"/>
          </a:xfrm>
          <a:prstGeom prst="rect">
            <a:avLst/>
          </a:prstGeom>
          <a:noFill/>
        </p:spPr>
        <p:txBody>
          <a:bodyPr wrap="square" rtlCol="0">
            <a:spAutoFit/>
          </a:bodyPr>
          <a:lstStyle/>
          <a:p>
            <a:r>
              <a:rPr lang="en-IN" sz="1200" dirty="0" smtClean="0"/>
              <a:t>Locally Connected</a:t>
            </a:r>
            <a:endParaRPr lang="en-IN" sz="1200" dirty="0"/>
          </a:p>
        </p:txBody>
      </p:sp>
      <p:sp>
        <p:nvSpPr>
          <p:cNvPr id="39" name="TextBox 38"/>
          <p:cNvSpPr txBox="1"/>
          <p:nvPr/>
        </p:nvSpPr>
        <p:spPr>
          <a:xfrm rot="5400000">
            <a:off x="1905429" y="4535867"/>
            <a:ext cx="1499443" cy="279943"/>
          </a:xfrm>
          <a:prstGeom prst="rect">
            <a:avLst/>
          </a:prstGeom>
          <a:noFill/>
        </p:spPr>
        <p:txBody>
          <a:bodyPr wrap="square" rtlCol="0">
            <a:spAutoFit/>
          </a:bodyPr>
          <a:lstStyle/>
          <a:p>
            <a:r>
              <a:rPr lang="en-IN" sz="1200" dirty="0" smtClean="0"/>
              <a:t>Directly Connected</a:t>
            </a:r>
            <a:endParaRPr lang="en-IN" sz="1200" dirty="0"/>
          </a:p>
        </p:txBody>
      </p:sp>
      <p:sp>
        <p:nvSpPr>
          <p:cNvPr id="40" name="Rounded Rectangle 39"/>
          <p:cNvSpPr/>
          <p:nvPr/>
        </p:nvSpPr>
        <p:spPr>
          <a:xfrm>
            <a:off x="5269307" y="2496603"/>
            <a:ext cx="1795636" cy="272395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Rounded Rectangle 40"/>
          <p:cNvSpPr/>
          <p:nvPr/>
        </p:nvSpPr>
        <p:spPr>
          <a:xfrm>
            <a:off x="7632044" y="2449973"/>
            <a:ext cx="1795636" cy="272395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TextBox 41"/>
          <p:cNvSpPr txBox="1"/>
          <p:nvPr/>
        </p:nvSpPr>
        <p:spPr>
          <a:xfrm>
            <a:off x="5488403" y="1767617"/>
            <a:ext cx="2176636" cy="369332"/>
          </a:xfrm>
          <a:prstGeom prst="rect">
            <a:avLst/>
          </a:prstGeom>
          <a:noFill/>
        </p:spPr>
        <p:txBody>
          <a:bodyPr wrap="square" rtlCol="0">
            <a:spAutoFit/>
          </a:bodyPr>
          <a:lstStyle/>
          <a:p>
            <a:r>
              <a:rPr lang="en-IN" dirty="0" smtClean="0">
                <a:solidFill>
                  <a:schemeClr val="accent2">
                    <a:lumMod val="50000"/>
                  </a:schemeClr>
                </a:solidFill>
              </a:rPr>
              <a:t>Back-End Systems</a:t>
            </a:r>
            <a:endParaRPr lang="en-IN" dirty="0">
              <a:solidFill>
                <a:schemeClr val="accent2">
                  <a:lumMod val="50000"/>
                </a:schemeClr>
              </a:solidFill>
            </a:endParaRPr>
          </a:p>
        </p:txBody>
      </p:sp>
      <p:sp>
        <p:nvSpPr>
          <p:cNvPr id="43" name="TextBox 42"/>
          <p:cNvSpPr txBox="1"/>
          <p:nvPr/>
        </p:nvSpPr>
        <p:spPr>
          <a:xfrm>
            <a:off x="7781167" y="1877366"/>
            <a:ext cx="1704279" cy="384721"/>
          </a:xfrm>
          <a:prstGeom prst="rect">
            <a:avLst/>
          </a:prstGeom>
          <a:noFill/>
        </p:spPr>
        <p:txBody>
          <a:bodyPr wrap="square" rtlCol="0">
            <a:spAutoFit/>
          </a:bodyPr>
          <a:lstStyle/>
          <a:p>
            <a:r>
              <a:rPr lang="en-IN" dirty="0" smtClean="0">
                <a:solidFill>
                  <a:schemeClr val="accent5">
                    <a:lumMod val="50000"/>
                  </a:schemeClr>
                </a:solidFill>
              </a:rPr>
              <a:t>Applications</a:t>
            </a:r>
            <a:endParaRPr lang="en-IN" dirty="0">
              <a:solidFill>
                <a:schemeClr val="accent5">
                  <a:lumMod val="50000"/>
                </a:schemeClr>
              </a:solidFill>
            </a:endParaRPr>
          </a:p>
        </p:txBody>
      </p:sp>
      <p:cxnSp>
        <p:nvCxnSpPr>
          <p:cNvPr id="44" name="Straight Connector 43"/>
          <p:cNvCxnSpPr/>
          <p:nvPr/>
        </p:nvCxnSpPr>
        <p:spPr>
          <a:xfrm flipV="1">
            <a:off x="5283988" y="3266806"/>
            <a:ext cx="1780955" cy="2049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5283988" y="4047015"/>
            <a:ext cx="1780955" cy="2049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5615947" y="2528470"/>
            <a:ext cx="1155031" cy="338554"/>
          </a:xfrm>
          <a:prstGeom prst="rect">
            <a:avLst/>
          </a:prstGeom>
          <a:noFill/>
        </p:spPr>
        <p:txBody>
          <a:bodyPr wrap="square" rtlCol="0">
            <a:spAutoFit/>
          </a:bodyPr>
          <a:lstStyle/>
          <a:p>
            <a:r>
              <a:rPr lang="en-IN" sz="1600" dirty="0" smtClean="0"/>
              <a:t>Business</a:t>
            </a:r>
            <a:endParaRPr lang="en-IN" sz="1600" dirty="0"/>
          </a:p>
        </p:txBody>
      </p:sp>
      <p:sp>
        <p:nvSpPr>
          <p:cNvPr id="47" name="Rectangle 46"/>
          <p:cNvSpPr/>
          <p:nvPr/>
        </p:nvSpPr>
        <p:spPr>
          <a:xfrm>
            <a:off x="5692819" y="2897436"/>
            <a:ext cx="882350" cy="2381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ERP</a:t>
            </a:r>
            <a:endParaRPr lang="en-IN" sz="1600" dirty="0"/>
          </a:p>
        </p:txBody>
      </p:sp>
      <p:sp>
        <p:nvSpPr>
          <p:cNvPr id="48" name="TextBox 47"/>
          <p:cNvSpPr txBox="1"/>
          <p:nvPr/>
        </p:nvSpPr>
        <p:spPr>
          <a:xfrm>
            <a:off x="5462655" y="3318497"/>
            <a:ext cx="1423620" cy="338554"/>
          </a:xfrm>
          <a:prstGeom prst="rect">
            <a:avLst/>
          </a:prstGeom>
          <a:noFill/>
        </p:spPr>
        <p:txBody>
          <a:bodyPr wrap="square" rtlCol="0">
            <a:spAutoFit/>
          </a:bodyPr>
          <a:lstStyle/>
          <a:p>
            <a:r>
              <a:rPr lang="en-IN" sz="1600" dirty="0" smtClean="0"/>
              <a:t>IoT Platform</a:t>
            </a:r>
            <a:endParaRPr lang="en-IN" sz="1600" dirty="0"/>
          </a:p>
        </p:txBody>
      </p:sp>
      <p:sp>
        <p:nvSpPr>
          <p:cNvPr id="49" name="Rectangle 48"/>
          <p:cNvSpPr/>
          <p:nvPr/>
        </p:nvSpPr>
        <p:spPr>
          <a:xfrm>
            <a:off x="5488403" y="3687084"/>
            <a:ext cx="1372124" cy="2400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Sensor Data</a:t>
            </a:r>
            <a:endParaRPr lang="en-IN" sz="1600" dirty="0"/>
          </a:p>
        </p:txBody>
      </p:sp>
      <p:sp>
        <p:nvSpPr>
          <p:cNvPr id="50" name="Cloud 49"/>
          <p:cNvSpPr/>
          <p:nvPr/>
        </p:nvSpPr>
        <p:spPr>
          <a:xfrm>
            <a:off x="5401944" y="4127304"/>
            <a:ext cx="428006" cy="267077"/>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TextBox 50"/>
          <p:cNvSpPr txBox="1"/>
          <p:nvPr/>
        </p:nvSpPr>
        <p:spPr>
          <a:xfrm>
            <a:off x="5239664" y="4386329"/>
            <a:ext cx="1126155" cy="338554"/>
          </a:xfrm>
          <a:prstGeom prst="rect">
            <a:avLst/>
          </a:prstGeom>
          <a:noFill/>
        </p:spPr>
        <p:txBody>
          <a:bodyPr wrap="square" rtlCol="0">
            <a:spAutoFit/>
          </a:bodyPr>
          <a:lstStyle/>
          <a:p>
            <a:r>
              <a:rPr lang="en-IN" sz="1600" dirty="0" smtClean="0"/>
              <a:t>On-Cloud</a:t>
            </a:r>
            <a:endParaRPr lang="en-IN" sz="1600" dirty="0"/>
          </a:p>
        </p:txBody>
      </p:sp>
      <p:sp>
        <p:nvSpPr>
          <p:cNvPr id="52" name="Cube 51"/>
          <p:cNvSpPr/>
          <p:nvPr/>
        </p:nvSpPr>
        <p:spPr>
          <a:xfrm>
            <a:off x="6498456" y="4134902"/>
            <a:ext cx="324367" cy="51895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TextBox 52"/>
          <p:cNvSpPr txBox="1"/>
          <p:nvPr/>
        </p:nvSpPr>
        <p:spPr>
          <a:xfrm>
            <a:off x="5802741" y="4686835"/>
            <a:ext cx="1349016" cy="338554"/>
          </a:xfrm>
          <a:prstGeom prst="rect">
            <a:avLst/>
          </a:prstGeom>
          <a:noFill/>
        </p:spPr>
        <p:txBody>
          <a:bodyPr wrap="square" rtlCol="0">
            <a:spAutoFit/>
          </a:bodyPr>
          <a:lstStyle/>
          <a:p>
            <a:r>
              <a:rPr lang="en-IN" sz="1600" dirty="0" smtClean="0"/>
              <a:t>On-Premise</a:t>
            </a:r>
            <a:endParaRPr lang="en-IN" sz="1600" dirty="0"/>
          </a:p>
        </p:txBody>
      </p:sp>
      <p:sp>
        <p:nvSpPr>
          <p:cNvPr id="54" name="Right Arrow 53"/>
          <p:cNvSpPr/>
          <p:nvPr/>
        </p:nvSpPr>
        <p:spPr>
          <a:xfrm>
            <a:off x="2795122" y="4555606"/>
            <a:ext cx="2444542" cy="372529"/>
          </a:xfrm>
          <a:prstGeom prst="rightArrow">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Rounded Rectangular Callout 54"/>
          <p:cNvSpPr/>
          <p:nvPr/>
        </p:nvSpPr>
        <p:spPr>
          <a:xfrm>
            <a:off x="2978767" y="5043701"/>
            <a:ext cx="2247584" cy="582098"/>
          </a:xfrm>
          <a:prstGeom prst="wedgeRoundRectCallout">
            <a:avLst>
              <a:gd name="adj1" fmla="val -50034"/>
              <a:gd name="adj2" fmla="val -80459"/>
              <a:gd name="adj3" fmla="val 16667"/>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t>Sensor Data can be sent directly to the back end</a:t>
            </a:r>
            <a:endParaRPr lang="en-IN" sz="1400" dirty="0"/>
          </a:p>
        </p:txBody>
      </p:sp>
      <p:sp>
        <p:nvSpPr>
          <p:cNvPr id="56" name="Rounded Rectangle 55"/>
          <p:cNvSpPr/>
          <p:nvPr/>
        </p:nvSpPr>
        <p:spPr>
          <a:xfrm>
            <a:off x="3467601" y="2525568"/>
            <a:ext cx="1129228" cy="1391362"/>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7" name="Right Arrow 56"/>
          <p:cNvSpPr/>
          <p:nvPr/>
        </p:nvSpPr>
        <p:spPr>
          <a:xfrm>
            <a:off x="4649423" y="3524276"/>
            <a:ext cx="605204" cy="334301"/>
          </a:xfrm>
          <a:prstGeom prst="right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8" name="Right Arrow 57"/>
          <p:cNvSpPr/>
          <p:nvPr/>
        </p:nvSpPr>
        <p:spPr>
          <a:xfrm>
            <a:off x="2803200" y="2633185"/>
            <a:ext cx="634564" cy="332904"/>
          </a:xfrm>
          <a:prstGeom prst="right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9" name="TextBox 58"/>
          <p:cNvSpPr txBox="1"/>
          <p:nvPr/>
        </p:nvSpPr>
        <p:spPr>
          <a:xfrm>
            <a:off x="3437764" y="1857849"/>
            <a:ext cx="1159065" cy="384721"/>
          </a:xfrm>
          <a:prstGeom prst="rect">
            <a:avLst/>
          </a:prstGeom>
          <a:noFill/>
        </p:spPr>
        <p:txBody>
          <a:bodyPr wrap="square" rtlCol="0">
            <a:spAutoFit/>
          </a:bodyPr>
          <a:lstStyle/>
          <a:p>
            <a:r>
              <a:rPr lang="en-IN" dirty="0" smtClean="0">
                <a:solidFill>
                  <a:schemeClr val="accent6">
                    <a:lumMod val="75000"/>
                  </a:schemeClr>
                </a:solidFill>
              </a:rPr>
              <a:t>Gateway</a:t>
            </a:r>
            <a:endParaRPr lang="en-IN" dirty="0">
              <a:solidFill>
                <a:schemeClr val="accent6">
                  <a:lumMod val="75000"/>
                </a:schemeClr>
              </a:solidFill>
            </a:endParaRPr>
          </a:p>
        </p:txBody>
      </p:sp>
      <p:pic>
        <p:nvPicPr>
          <p:cNvPr id="319488" name="Picture 319487"/>
          <p:cNvPicPr>
            <a:picLocks noChangeAspect="1"/>
          </p:cNvPicPr>
          <p:nvPr/>
        </p:nvPicPr>
        <p:blipFill>
          <a:blip r:embed="rId3"/>
          <a:stretch>
            <a:fillRect/>
          </a:stretch>
        </p:blipFill>
        <p:spPr>
          <a:xfrm>
            <a:off x="3608744" y="2674020"/>
            <a:ext cx="480362" cy="480362"/>
          </a:xfrm>
          <a:prstGeom prst="rect">
            <a:avLst/>
          </a:prstGeom>
        </p:spPr>
      </p:pic>
      <p:pic>
        <p:nvPicPr>
          <p:cNvPr id="319489" name="Picture 319488"/>
          <p:cNvPicPr>
            <a:picLocks noChangeAspect="1"/>
          </p:cNvPicPr>
          <p:nvPr/>
        </p:nvPicPr>
        <p:blipFill>
          <a:blip r:embed="rId4"/>
          <a:stretch>
            <a:fillRect/>
          </a:stretch>
        </p:blipFill>
        <p:spPr>
          <a:xfrm>
            <a:off x="3787894" y="3373868"/>
            <a:ext cx="709950" cy="378640"/>
          </a:xfrm>
          <a:prstGeom prst="rect">
            <a:avLst/>
          </a:prstGeom>
        </p:spPr>
      </p:pic>
      <p:pic>
        <p:nvPicPr>
          <p:cNvPr id="319491" name="Picture 319490"/>
          <p:cNvPicPr>
            <a:picLocks noChangeAspect="1"/>
          </p:cNvPicPr>
          <p:nvPr/>
        </p:nvPicPr>
        <p:blipFill>
          <a:blip r:embed="rId5"/>
          <a:stretch>
            <a:fillRect/>
          </a:stretch>
        </p:blipFill>
        <p:spPr>
          <a:xfrm>
            <a:off x="8176839" y="3376321"/>
            <a:ext cx="706045" cy="737541"/>
          </a:xfrm>
          <a:prstGeom prst="rect">
            <a:avLst/>
          </a:prstGeom>
        </p:spPr>
      </p:pic>
      <p:sp>
        <p:nvSpPr>
          <p:cNvPr id="319492" name="Right Arrow 319491"/>
          <p:cNvSpPr/>
          <p:nvPr/>
        </p:nvSpPr>
        <p:spPr>
          <a:xfrm>
            <a:off x="7064943" y="3016498"/>
            <a:ext cx="567101" cy="357370"/>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19493" name="Left Arrow 319492"/>
          <p:cNvSpPr/>
          <p:nvPr/>
        </p:nvSpPr>
        <p:spPr>
          <a:xfrm>
            <a:off x="7094586" y="4427165"/>
            <a:ext cx="526305" cy="334381"/>
          </a:xfrm>
          <a:prstGeom prst="lef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70" name="Rounded Rectangular Callout 69"/>
          <p:cNvSpPr/>
          <p:nvPr/>
        </p:nvSpPr>
        <p:spPr>
          <a:xfrm>
            <a:off x="2918373" y="4011226"/>
            <a:ext cx="2123495" cy="470984"/>
          </a:xfrm>
          <a:prstGeom prst="wedgeRoundRectCallout">
            <a:avLst>
              <a:gd name="adj1" fmla="val 19441"/>
              <a:gd name="adj2" fmla="val -72279"/>
              <a:gd name="adj3" fmla="val 16667"/>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t>Sensor Data can be sent via some gateways</a:t>
            </a:r>
            <a:endParaRPr lang="en-IN" sz="1400" dirty="0"/>
          </a:p>
        </p:txBody>
      </p:sp>
      <p:sp>
        <p:nvSpPr>
          <p:cNvPr id="71" name="Rounded Rectangular Callout 70"/>
          <p:cNvSpPr/>
          <p:nvPr/>
        </p:nvSpPr>
        <p:spPr>
          <a:xfrm>
            <a:off x="6631751" y="1139042"/>
            <a:ext cx="2298832" cy="635490"/>
          </a:xfrm>
          <a:prstGeom prst="wedgeRoundRectCallout">
            <a:avLst>
              <a:gd name="adj1" fmla="val -48081"/>
              <a:gd name="adj2" fmla="val 159272"/>
              <a:gd name="adj3" fmla="val 16667"/>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t>Process the IOT sensor Data and also the business Data</a:t>
            </a:r>
            <a:endParaRPr lang="en-IN" sz="1400" dirty="0"/>
          </a:p>
        </p:txBody>
      </p:sp>
      <p:sp>
        <p:nvSpPr>
          <p:cNvPr id="72" name="Rounded Rectangular Callout 71"/>
          <p:cNvSpPr/>
          <p:nvPr/>
        </p:nvSpPr>
        <p:spPr>
          <a:xfrm>
            <a:off x="6133994" y="5334750"/>
            <a:ext cx="3458317" cy="635490"/>
          </a:xfrm>
          <a:prstGeom prst="wedgeRoundRectCallout">
            <a:avLst>
              <a:gd name="adj1" fmla="val -4070"/>
              <a:gd name="adj2" fmla="val -73828"/>
              <a:gd name="adj3" fmla="val 16667"/>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t>Analyse, Process and visualize the data, to turn it into useful insights.</a:t>
            </a:r>
            <a:endParaRPr lang="en-IN" sz="1400" dirty="0"/>
          </a:p>
        </p:txBody>
      </p:sp>
    </p:spTree>
    <p:extLst>
      <p:ext uri="{BB962C8B-B14F-4D97-AF65-F5344CB8AC3E}">
        <p14:creationId xmlns:p14="http://schemas.microsoft.com/office/powerpoint/2010/main" val="3329251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1000"/>
                                        <p:tgtEl>
                                          <p:spTgt spid="36"/>
                                        </p:tgtEl>
                                      </p:cBhvr>
                                    </p:animEffect>
                                    <p:anim calcmode="lin" valueType="num">
                                      <p:cBhvr>
                                        <p:cTn id="8" dur="1000" fill="hold"/>
                                        <p:tgtEl>
                                          <p:spTgt spid="36"/>
                                        </p:tgtEl>
                                        <p:attrNameLst>
                                          <p:attrName>ppt_x</p:attrName>
                                        </p:attrNameLst>
                                      </p:cBhvr>
                                      <p:tavLst>
                                        <p:tav tm="0">
                                          <p:val>
                                            <p:strVal val="#ppt_x"/>
                                          </p:val>
                                        </p:tav>
                                        <p:tav tm="100000">
                                          <p:val>
                                            <p:strVal val="#ppt_x"/>
                                          </p:val>
                                        </p:tav>
                                      </p:tavLst>
                                    </p:anim>
                                    <p:anim calcmode="lin" valueType="num">
                                      <p:cBhvr>
                                        <p:cTn id="9" dur="1000" fill="hold"/>
                                        <p:tgtEl>
                                          <p:spTgt spid="3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1000"/>
                                        <p:tgtEl>
                                          <p:spTgt spid="30"/>
                                        </p:tgtEl>
                                      </p:cBhvr>
                                    </p:animEffect>
                                    <p:anim calcmode="lin" valueType="num">
                                      <p:cBhvr>
                                        <p:cTn id="13" dur="1000" fill="hold"/>
                                        <p:tgtEl>
                                          <p:spTgt spid="30"/>
                                        </p:tgtEl>
                                        <p:attrNameLst>
                                          <p:attrName>ppt_x</p:attrName>
                                        </p:attrNameLst>
                                      </p:cBhvr>
                                      <p:tavLst>
                                        <p:tav tm="0">
                                          <p:val>
                                            <p:strVal val="#ppt_x"/>
                                          </p:val>
                                        </p:tav>
                                        <p:tav tm="100000">
                                          <p:val>
                                            <p:strVal val="#ppt_x"/>
                                          </p:val>
                                        </p:tav>
                                      </p:tavLst>
                                    </p:anim>
                                    <p:anim calcmode="lin" valueType="num">
                                      <p:cBhvr>
                                        <p:cTn id="14" dur="1000" fill="hold"/>
                                        <p:tgtEl>
                                          <p:spTgt spid="30"/>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1000"/>
                                        <p:tgtEl>
                                          <p:spTgt spid="34"/>
                                        </p:tgtEl>
                                      </p:cBhvr>
                                    </p:animEffect>
                                    <p:anim calcmode="lin" valueType="num">
                                      <p:cBhvr>
                                        <p:cTn id="18" dur="1000" fill="hold"/>
                                        <p:tgtEl>
                                          <p:spTgt spid="34"/>
                                        </p:tgtEl>
                                        <p:attrNameLst>
                                          <p:attrName>ppt_x</p:attrName>
                                        </p:attrNameLst>
                                      </p:cBhvr>
                                      <p:tavLst>
                                        <p:tav tm="0">
                                          <p:val>
                                            <p:strVal val="#ppt_x"/>
                                          </p:val>
                                        </p:tav>
                                        <p:tav tm="100000">
                                          <p:val>
                                            <p:strVal val="#ppt_x"/>
                                          </p:val>
                                        </p:tav>
                                      </p:tavLst>
                                    </p:anim>
                                    <p:anim calcmode="lin" valueType="num">
                                      <p:cBhvr>
                                        <p:cTn id="19" dur="1000" fill="hold"/>
                                        <p:tgtEl>
                                          <p:spTgt spid="3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1000"/>
                                        <p:tgtEl>
                                          <p:spTgt spid="29"/>
                                        </p:tgtEl>
                                      </p:cBhvr>
                                    </p:animEffect>
                                    <p:anim calcmode="lin" valueType="num">
                                      <p:cBhvr>
                                        <p:cTn id="23" dur="1000" fill="hold"/>
                                        <p:tgtEl>
                                          <p:spTgt spid="29"/>
                                        </p:tgtEl>
                                        <p:attrNameLst>
                                          <p:attrName>ppt_x</p:attrName>
                                        </p:attrNameLst>
                                      </p:cBhvr>
                                      <p:tavLst>
                                        <p:tav tm="0">
                                          <p:val>
                                            <p:strVal val="#ppt_x"/>
                                          </p:val>
                                        </p:tav>
                                        <p:tav tm="100000">
                                          <p:val>
                                            <p:strVal val="#ppt_x"/>
                                          </p:val>
                                        </p:tav>
                                      </p:tavLst>
                                    </p:anim>
                                    <p:anim calcmode="lin" valueType="num">
                                      <p:cBhvr>
                                        <p:cTn id="24" dur="1000" fill="hold"/>
                                        <p:tgtEl>
                                          <p:spTgt spid="29"/>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1000"/>
                                        <p:tgtEl>
                                          <p:spTgt spid="33"/>
                                        </p:tgtEl>
                                      </p:cBhvr>
                                    </p:animEffect>
                                    <p:anim calcmode="lin" valueType="num">
                                      <p:cBhvr>
                                        <p:cTn id="28" dur="1000" fill="hold"/>
                                        <p:tgtEl>
                                          <p:spTgt spid="33"/>
                                        </p:tgtEl>
                                        <p:attrNameLst>
                                          <p:attrName>ppt_x</p:attrName>
                                        </p:attrNameLst>
                                      </p:cBhvr>
                                      <p:tavLst>
                                        <p:tav tm="0">
                                          <p:val>
                                            <p:strVal val="#ppt_x"/>
                                          </p:val>
                                        </p:tav>
                                        <p:tav tm="100000">
                                          <p:val>
                                            <p:strVal val="#ppt_x"/>
                                          </p:val>
                                        </p:tav>
                                      </p:tavLst>
                                    </p:anim>
                                    <p:anim calcmode="lin" valueType="num">
                                      <p:cBhvr>
                                        <p:cTn id="29" dur="1000" fill="hold"/>
                                        <p:tgtEl>
                                          <p:spTgt spid="33"/>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1000"/>
                                        <p:tgtEl>
                                          <p:spTgt spid="28"/>
                                        </p:tgtEl>
                                      </p:cBhvr>
                                    </p:animEffect>
                                    <p:anim calcmode="lin" valueType="num">
                                      <p:cBhvr>
                                        <p:cTn id="33" dur="1000" fill="hold"/>
                                        <p:tgtEl>
                                          <p:spTgt spid="28"/>
                                        </p:tgtEl>
                                        <p:attrNameLst>
                                          <p:attrName>ppt_x</p:attrName>
                                        </p:attrNameLst>
                                      </p:cBhvr>
                                      <p:tavLst>
                                        <p:tav tm="0">
                                          <p:val>
                                            <p:strVal val="#ppt_x"/>
                                          </p:val>
                                        </p:tav>
                                        <p:tav tm="100000">
                                          <p:val>
                                            <p:strVal val="#ppt_x"/>
                                          </p:val>
                                        </p:tav>
                                      </p:tavLst>
                                    </p:anim>
                                    <p:anim calcmode="lin" valueType="num">
                                      <p:cBhvr>
                                        <p:cTn id="34" dur="1000" fill="hold"/>
                                        <p:tgtEl>
                                          <p:spTgt spid="28"/>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1000"/>
                                        <p:tgtEl>
                                          <p:spTgt spid="32"/>
                                        </p:tgtEl>
                                      </p:cBhvr>
                                    </p:animEffect>
                                    <p:anim calcmode="lin" valueType="num">
                                      <p:cBhvr>
                                        <p:cTn id="38" dur="1000" fill="hold"/>
                                        <p:tgtEl>
                                          <p:spTgt spid="32"/>
                                        </p:tgtEl>
                                        <p:attrNameLst>
                                          <p:attrName>ppt_x</p:attrName>
                                        </p:attrNameLst>
                                      </p:cBhvr>
                                      <p:tavLst>
                                        <p:tav tm="0">
                                          <p:val>
                                            <p:strVal val="#ppt_x"/>
                                          </p:val>
                                        </p:tav>
                                        <p:tav tm="100000">
                                          <p:val>
                                            <p:strVal val="#ppt_x"/>
                                          </p:val>
                                        </p:tav>
                                      </p:tavLst>
                                    </p:anim>
                                    <p:anim calcmode="lin" valueType="num">
                                      <p:cBhvr>
                                        <p:cTn id="39" dur="1000" fill="hold"/>
                                        <p:tgtEl>
                                          <p:spTgt spid="32"/>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1000"/>
                                        <p:tgtEl>
                                          <p:spTgt spid="27"/>
                                        </p:tgtEl>
                                      </p:cBhvr>
                                    </p:animEffect>
                                    <p:anim calcmode="lin" valueType="num">
                                      <p:cBhvr>
                                        <p:cTn id="43" dur="1000" fill="hold"/>
                                        <p:tgtEl>
                                          <p:spTgt spid="27"/>
                                        </p:tgtEl>
                                        <p:attrNameLst>
                                          <p:attrName>ppt_x</p:attrName>
                                        </p:attrNameLst>
                                      </p:cBhvr>
                                      <p:tavLst>
                                        <p:tav tm="0">
                                          <p:val>
                                            <p:strVal val="#ppt_x"/>
                                          </p:val>
                                        </p:tav>
                                        <p:tav tm="100000">
                                          <p:val>
                                            <p:strVal val="#ppt_x"/>
                                          </p:val>
                                        </p:tav>
                                      </p:tavLst>
                                    </p:anim>
                                    <p:anim calcmode="lin" valueType="num">
                                      <p:cBhvr>
                                        <p:cTn id="44" dur="1000" fill="hold"/>
                                        <p:tgtEl>
                                          <p:spTgt spid="27"/>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1000"/>
                                        <p:tgtEl>
                                          <p:spTgt spid="31"/>
                                        </p:tgtEl>
                                      </p:cBhvr>
                                    </p:animEffect>
                                    <p:anim calcmode="lin" valueType="num">
                                      <p:cBhvr>
                                        <p:cTn id="48" dur="1000" fill="hold"/>
                                        <p:tgtEl>
                                          <p:spTgt spid="31"/>
                                        </p:tgtEl>
                                        <p:attrNameLst>
                                          <p:attrName>ppt_x</p:attrName>
                                        </p:attrNameLst>
                                      </p:cBhvr>
                                      <p:tavLst>
                                        <p:tav tm="0">
                                          <p:val>
                                            <p:strVal val="#ppt_x"/>
                                          </p:val>
                                        </p:tav>
                                        <p:tav tm="100000">
                                          <p:val>
                                            <p:strVal val="#ppt_x"/>
                                          </p:val>
                                        </p:tav>
                                      </p:tavLst>
                                    </p:anim>
                                    <p:anim calcmode="lin" valueType="num">
                                      <p:cBhvr>
                                        <p:cTn id="49"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37"/>
                                        </p:tgtEl>
                                        <p:attrNameLst>
                                          <p:attrName>style.visibility</p:attrName>
                                        </p:attrNameLst>
                                      </p:cBhvr>
                                      <p:to>
                                        <p:strVal val="visible"/>
                                      </p:to>
                                    </p:set>
                                    <p:animEffect transition="in" filter="fade">
                                      <p:cBhvr>
                                        <p:cTn id="54" dur="1000"/>
                                        <p:tgtEl>
                                          <p:spTgt spid="37"/>
                                        </p:tgtEl>
                                      </p:cBhvr>
                                    </p:animEffect>
                                    <p:anim calcmode="lin" valueType="num">
                                      <p:cBhvr>
                                        <p:cTn id="55" dur="1000" fill="hold"/>
                                        <p:tgtEl>
                                          <p:spTgt spid="37"/>
                                        </p:tgtEl>
                                        <p:attrNameLst>
                                          <p:attrName>ppt_x</p:attrName>
                                        </p:attrNameLst>
                                      </p:cBhvr>
                                      <p:tavLst>
                                        <p:tav tm="0">
                                          <p:val>
                                            <p:strVal val="#ppt_x"/>
                                          </p:val>
                                        </p:tav>
                                        <p:tav tm="100000">
                                          <p:val>
                                            <p:strVal val="#ppt_x"/>
                                          </p:val>
                                        </p:tav>
                                      </p:tavLst>
                                    </p:anim>
                                    <p:anim calcmode="lin" valueType="num">
                                      <p:cBhvr>
                                        <p:cTn id="56"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grpId="0" nodeType="clickEffect">
                                  <p:stCondLst>
                                    <p:cond delay="0"/>
                                  </p:stCondLst>
                                  <p:childTnLst>
                                    <p:set>
                                      <p:cBhvr>
                                        <p:cTn id="60" dur="1" fill="hold">
                                          <p:stCondLst>
                                            <p:cond delay="0"/>
                                          </p:stCondLst>
                                        </p:cTn>
                                        <p:tgtEl>
                                          <p:spTgt spid="38"/>
                                        </p:tgtEl>
                                        <p:attrNameLst>
                                          <p:attrName>style.visibility</p:attrName>
                                        </p:attrNameLst>
                                      </p:cBhvr>
                                      <p:to>
                                        <p:strVal val="visible"/>
                                      </p:to>
                                    </p:set>
                                    <p:animEffect transition="in" filter="fade">
                                      <p:cBhvr>
                                        <p:cTn id="61" dur="1000"/>
                                        <p:tgtEl>
                                          <p:spTgt spid="38"/>
                                        </p:tgtEl>
                                      </p:cBhvr>
                                    </p:animEffect>
                                    <p:anim calcmode="lin" valueType="num">
                                      <p:cBhvr>
                                        <p:cTn id="62" dur="1000" fill="hold"/>
                                        <p:tgtEl>
                                          <p:spTgt spid="38"/>
                                        </p:tgtEl>
                                        <p:attrNameLst>
                                          <p:attrName>ppt_x</p:attrName>
                                        </p:attrNameLst>
                                      </p:cBhvr>
                                      <p:tavLst>
                                        <p:tav tm="0">
                                          <p:val>
                                            <p:strVal val="#ppt_x"/>
                                          </p:val>
                                        </p:tav>
                                        <p:tav tm="100000">
                                          <p:val>
                                            <p:strVal val="#ppt_x"/>
                                          </p:val>
                                        </p:tav>
                                      </p:tavLst>
                                    </p:anim>
                                    <p:anim calcmode="lin" valueType="num">
                                      <p:cBhvr>
                                        <p:cTn id="63" dur="1000" fill="hold"/>
                                        <p:tgtEl>
                                          <p:spTgt spid="38"/>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1000"/>
                                        <p:tgtEl>
                                          <p:spTgt spid="39"/>
                                        </p:tgtEl>
                                      </p:cBhvr>
                                    </p:animEffect>
                                    <p:anim calcmode="lin" valueType="num">
                                      <p:cBhvr>
                                        <p:cTn id="67" dur="1000" fill="hold"/>
                                        <p:tgtEl>
                                          <p:spTgt spid="39"/>
                                        </p:tgtEl>
                                        <p:attrNameLst>
                                          <p:attrName>ppt_x</p:attrName>
                                        </p:attrNameLst>
                                      </p:cBhvr>
                                      <p:tavLst>
                                        <p:tav tm="0">
                                          <p:val>
                                            <p:strVal val="#ppt_x"/>
                                          </p:val>
                                        </p:tav>
                                        <p:tav tm="100000">
                                          <p:val>
                                            <p:strVal val="#ppt_x"/>
                                          </p:val>
                                        </p:tav>
                                      </p:tavLst>
                                    </p:anim>
                                    <p:anim calcmode="lin" valueType="num">
                                      <p:cBhvr>
                                        <p:cTn id="68" dur="1000" fill="hold"/>
                                        <p:tgtEl>
                                          <p:spTgt spid="39"/>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1000"/>
                                        <p:tgtEl>
                                          <p:spTgt spid="58"/>
                                        </p:tgtEl>
                                      </p:cBhvr>
                                    </p:animEffect>
                                    <p:anim calcmode="lin" valueType="num">
                                      <p:cBhvr>
                                        <p:cTn id="72" dur="1000" fill="hold"/>
                                        <p:tgtEl>
                                          <p:spTgt spid="58"/>
                                        </p:tgtEl>
                                        <p:attrNameLst>
                                          <p:attrName>ppt_x</p:attrName>
                                        </p:attrNameLst>
                                      </p:cBhvr>
                                      <p:tavLst>
                                        <p:tav tm="0">
                                          <p:val>
                                            <p:strVal val="#ppt_x"/>
                                          </p:val>
                                        </p:tav>
                                        <p:tav tm="100000">
                                          <p:val>
                                            <p:strVal val="#ppt_x"/>
                                          </p:val>
                                        </p:tav>
                                      </p:tavLst>
                                    </p:anim>
                                    <p:anim calcmode="lin" valueType="num">
                                      <p:cBhvr>
                                        <p:cTn id="73" dur="1000" fill="hold"/>
                                        <p:tgtEl>
                                          <p:spTgt spid="58"/>
                                        </p:tgtEl>
                                        <p:attrNameLst>
                                          <p:attrName>ppt_y</p:attrName>
                                        </p:attrNameLst>
                                      </p:cBhvr>
                                      <p:tavLst>
                                        <p:tav tm="0">
                                          <p:val>
                                            <p:strVal val="#ppt_y+.1"/>
                                          </p:val>
                                        </p:tav>
                                        <p:tav tm="100000">
                                          <p:val>
                                            <p:strVal val="#ppt_y"/>
                                          </p:val>
                                        </p:tav>
                                      </p:tavLst>
                                    </p:anim>
                                  </p:childTnLst>
                                </p:cTn>
                              </p:par>
                              <p:par>
                                <p:cTn id="74" presetID="42" presetClass="entr" presetSubtype="0" fill="hold" nodeType="withEffect">
                                  <p:stCondLst>
                                    <p:cond delay="0"/>
                                  </p:stCondLst>
                                  <p:childTnLst>
                                    <p:set>
                                      <p:cBhvr>
                                        <p:cTn id="75" dur="1" fill="hold">
                                          <p:stCondLst>
                                            <p:cond delay="0"/>
                                          </p:stCondLst>
                                        </p:cTn>
                                        <p:tgtEl>
                                          <p:spTgt spid="319488"/>
                                        </p:tgtEl>
                                        <p:attrNameLst>
                                          <p:attrName>style.visibility</p:attrName>
                                        </p:attrNameLst>
                                      </p:cBhvr>
                                      <p:to>
                                        <p:strVal val="visible"/>
                                      </p:to>
                                    </p:set>
                                    <p:animEffect transition="in" filter="fade">
                                      <p:cBhvr>
                                        <p:cTn id="76" dur="1000"/>
                                        <p:tgtEl>
                                          <p:spTgt spid="319488"/>
                                        </p:tgtEl>
                                      </p:cBhvr>
                                    </p:animEffect>
                                    <p:anim calcmode="lin" valueType="num">
                                      <p:cBhvr>
                                        <p:cTn id="77" dur="1000" fill="hold"/>
                                        <p:tgtEl>
                                          <p:spTgt spid="319488"/>
                                        </p:tgtEl>
                                        <p:attrNameLst>
                                          <p:attrName>ppt_x</p:attrName>
                                        </p:attrNameLst>
                                      </p:cBhvr>
                                      <p:tavLst>
                                        <p:tav tm="0">
                                          <p:val>
                                            <p:strVal val="#ppt_x"/>
                                          </p:val>
                                        </p:tav>
                                        <p:tav tm="100000">
                                          <p:val>
                                            <p:strVal val="#ppt_x"/>
                                          </p:val>
                                        </p:tav>
                                      </p:tavLst>
                                    </p:anim>
                                    <p:anim calcmode="lin" valueType="num">
                                      <p:cBhvr>
                                        <p:cTn id="78" dur="1000" fill="hold"/>
                                        <p:tgtEl>
                                          <p:spTgt spid="319488"/>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0"/>
                                  </p:stCondLst>
                                  <p:childTnLst>
                                    <p:set>
                                      <p:cBhvr>
                                        <p:cTn id="80" dur="1" fill="hold">
                                          <p:stCondLst>
                                            <p:cond delay="0"/>
                                          </p:stCondLst>
                                        </p:cTn>
                                        <p:tgtEl>
                                          <p:spTgt spid="56"/>
                                        </p:tgtEl>
                                        <p:attrNameLst>
                                          <p:attrName>style.visibility</p:attrName>
                                        </p:attrNameLst>
                                      </p:cBhvr>
                                      <p:to>
                                        <p:strVal val="visible"/>
                                      </p:to>
                                    </p:set>
                                    <p:animEffect transition="in" filter="fade">
                                      <p:cBhvr>
                                        <p:cTn id="81" dur="1000"/>
                                        <p:tgtEl>
                                          <p:spTgt spid="56"/>
                                        </p:tgtEl>
                                      </p:cBhvr>
                                    </p:animEffect>
                                    <p:anim calcmode="lin" valueType="num">
                                      <p:cBhvr>
                                        <p:cTn id="82" dur="1000" fill="hold"/>
                                        <p:tgtEl>
                                          <p:spTgt spid="56"/>
                                        </p:tgtEl>
                                        <p:attrNameLst>
                                          <p:attrName>ppt_x</p:attrName>
                                        </p:attrNameLst>
                                      </p:cBhvr>
                                      <p:tavLst>
                                        <p:tav tm="0">
                                          <p:val>
                                            <p:strVal val="#ppt_x"/>
                                          </p:val>
                                        </p:tav>
                                        <p:tav tm="100000">
                                          <p:val>
                                            <p:strVal val="#ppt_x"/>
                                          </p:val>
                                        </p:tav>
                                      </p:tavLst>
                                    </p:anim>
                                    <p:anim calcmode="lin" valueType="num">
                                      <p:cBhvr>
                                        <p:cTn id="83" dur="1000" fill="hold"/>
                                        <p:tgtEl>
                                          <p:spTgt spid="56"/>
                                        </p:tgtEl>
                                        <p:attrNameLst>
                                          <p:attrName>ppt_y</p:attrName>
                                        </p:attrNameLst>
                                      </p:cBhvr>
                                      <p:tavLst>
                                        <p:tav tm="0">
                                          <p:val>
                                            <p:strVal val="#ppt_y+.1"/>
                                          </p:val>
                                        </p:tav>
                                        <p:tav tm="100000">
                                          <p:val>
                                            <p:strVal val="#ppt_y"/>
                                          </p:val>
                                        </p:tav>
                                      </p:tavLst>
                                    </p:anim>
                                  </p:childTnLst>
                                </p:cTn>
                              </p:par>
                              <p:par>
                                <p:cTn id="84" presetID="42" presetClass="entr" presetSubtype="0" fill="hold" nodeType="withEffect">
                                  <p:stCondLst>
                                    <p:cond delay="0"/>
                                  </p:stCondLst>
                                  <p:childTnLst>
                                    <p:set>
                                      <p:cBhvr>
                                        <p:cTn id="85" dur="1" fill="hold">
                                          <p:stCondLst>
                                            <p:cond delay="0"/>
                                          </p:stCondLst>
                                        </p:cTn>
                                        <p:tgtEl>
                                          <p:spTgt spid="319489"/>
                                        </p:tgtEl>
                                        <p:attrNameLst>
                                          <p:attrName>style.visibility</p:attrName>
                                        </p:attrNameLst>
                                      </p:cBhvr>
                                      <p:to>
                                        <p:strVal val="visible"/>
                                      </p:to>
                                    </p:set>
                                    <p:animEffect transition="in" filter="fade">
                                      <p:cBhvr>
                                        <p:cTn id="86" dur="1000"/>
                                        <p:tgtEl>
                                          <p:spTgt spid="319489"/>
                                        </p:tgtEl>
                                      </p:cBhvr>
                                    </p:animEffect>
                                    <p:anim calcmode="lin" valueType="num">
                                      <p:cBhvr>
                                        <p:cTn id="87" dur="1000" fill="hold"/>
                                        <p:tgtEl>
                                          <p:spTgt spid="319489"/>
                                        </p:tgtEl>
                                        <p:attrNameLst>
                                          <p:attrName>ppt_x</p:attrName>
                                        </p:attrNameLst>
                                      </p:cBhvr>
                                      <p:tavLst>
                                        <p:tav tm="0">
                                          <p:val>
                                            <p:strVal val="#ppt_x"/>
                                          </p:val>
                                        </p:tav>
                                        <p:tav tm="100000">
                                          <p:val>
                                            <p:strVal val="#ppt_x"/>
                                          </p:val>
                                        </p:tav>
                                      </p:tavLst>
                                    </p:anim>
                                    <p:anim calcmode="lin" valueType="num">
                                      <p:cBhvr>
                                        <p:cTn id="88" dur="1000" fill="hold"/>
                                        <p:tgtEl>
                                          <p:spTgt spid="319489"/>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59"/>
                                        </p:tgtEl>
                                        <p:attrNameLst>
                                          <p:attrName>style.visibility</p:attrName>
                                        </p:attrNameLst>
                                      </p:cBhvr>
                                      <p:to>
                                        <p:strVal val="visible"/>
                                      </p:to>
                                    </p:set>
                                    <p:animEffect transition="in" filter="fade">
                                      <p:cBhvr>
                                        <p:cTn id="91" dur="1000"/>
                                        <p:tgtEl>
                                          <p:spTgt spid="59"/>
                                        </p:tgtEl>
                                      </p:cBhvr>
                                    </p:animEffect>
                                    <p:anim calcmode="lin" valueType="num">
                                      <p:cBhvr>
                                        <p:cTn id="92" dur="1000" fill="hold"/>
                                        <p:tgtEl>
                                          <p:spTgt spid="59"/>
                                        </p:tgtEl>
                                        <p:attrNameLst>
                                          <p:attrName>ppt_x</p:attrName>
                                        </p:attrNameLst>
                                      </p:cBhvr>
                                      <p:tavLst>
                                        <p:tav tm="0">
                                          <p:val>
                                            <p:strVal val="#ppt_x"/>
                                          </p:val>
                                        </p:tav>
                                        <p:tav tm="100000">
                                          <p:val>
                                            <p:strVal val="#ppt_x"/>
                                          </p:val>
                                        </p:tav>
                                      </p:tavLst>
                                    </p:anim>
                                    <p:anim calcmode="lin" valueType="num">
                                      <p:cBhvr>
                                        <p:cTn id="93" dur="1000" fill="hold"/>
                                        <p:tgtEl>
                                          <p:spTgt spid="59"/>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57"/>
                                        </p:tgtEl>
                                        <p:attrNameLst>
                                          <p:attrName>style.visibility</p:attrName>
                                        </p:attrNameLst>
                                      </p:cBhvr>
                                      <p:to>
                                        <p:strVal val="visible"/>
                                      </p:to>
                                    </p:set>
                                    <p:animEffect transition="in" filter="fade">
                                      <p:cBhvr>
                                        <p:cTn id="96" dur="1000"/>
                                        <p:tgtEl>
                                          <p:spTgt spid="57"/>
                                        </p:tgtEl>
                                      </p:cBhvr>
                                    </p:animEffect>
                                    <p:anim calcmode="lin" valueType="num">
                                      <p:cBhvr>
                                        <p:cTn id="97" dur="1000" fill="hold"/>
                                        <p:tgtEl>
                                          <p:spTgt spid="57"/>
                                        </p:tgtEl>
                                        <p:attrNameLst>
                                          <p:attrName>ppt_x</p:attrName>
                                        </p:attrNameLst>
                                      </p:cBhvr>
                                      <p:tavLst>
                                        <p:tav tm="0">
                                          <p:val>
                                            <p:strVal val="#ppt_x"/>
                                          </p:val>
                                        </p:tav>
                                        <p:tav tm="100000">
                                          <p:val>
                                            <p:strVal val="#ppt_x"/>
                                          </p:val>
                                        </p:tav>
                                      </p:tavLst>
                                    </p:anim>
                                    <p:anim calcmode="lin" valueType="num">
                                      <p:cBhvr>
                                        <p:cTn id="98" dur="1000" fill="hold"/>
                                        <p:tgtEl>
                                          <p:spTgt spid="57"/>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54"/>
                                        </p:tgtEl>
                                        <p:attrNameLst>
                                          <p:attrName>style.visibility</p:attrName>
                                        </p:attrNameLst>
                                      </p:cBhvr>
                                      <p:to>
                                        <p:strVal val="visible"/>
                                      </p:to>
                                    </p:set>
                                    <p:animEffect transition="in" filter="fade">
                                      <p:cBhvr>
                                        <p:cTn id="101" dur="1000"/>
                                        <p:tgtEl>
                                          <p:spTgt spid="54"/>
                                        </p:tgtEl>
                                      </p:cBhvr>
                                    </p:animEffect>
                                    <p:anim calcmode="lin" valueType="num">
                                      <p:cBhvr>
                                        <p:cTn id="102" dur="1000" fill="hold"/>
                                        <p:tgtEl>
                                          <p:spTgt spid="54"/>
                                        </p:tgtEl>
                                        <p:attrNameLst>
                                          <p:attrName>ppt_x</p:attrName>
                                        </p:attrNameLst>
                                      </p:cBhvr>
                                      <p:tavLst>
                                        <p:tav tm="0">
                                          <p:val>
                                            <p:strVal val="#ppt_x"/>
                                          </p:val>
                                        </p:tav>
                                        <p:tav tm="100000">
                                          <p:val>
                                            <p:strVal val="#ppt_x"/>
                                          </p:val>
                                        </p:tav>
                                      </p:tavLst>
                                    </p:anim>
                                    <p:anim calcmode="lin" valueType="num">
                                      <p:cBhvr>
                                        <p:cTn id="103" dur="1000" fill="hold"/>
                                        <p:tgtEl>
                                          <p:spTgt spid="54"/>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0"/>
                                  </p:stCondLst>
                                  <p:childTnLst>
                                    <p:set>
                                      <p:cBhvr>
                                        <p:cTn id="105" dur="1" fill="hold">
                                          <p:stCondLst>
                                            <p:cond delay="0"/>
                                          </p:stCondLst>
                                        </p:cTn>
                                        <p:tgtEl>
                                          <p:spTgt spid="40"/>
                                        </p:tgtEl>
                                        <p:attrNameLst>
                                          <p:attrName>style.visibility</p:attrName>
                                        </p:attrNameLst>
                                      </p:cBhvr>
                                      <p:to>
                                        <p:strVal val="visible"/>
                                      </p:to>
                                    </p:set>
                                    <p:animEffect transition="in" filter="fade">
                                      <p:cBhvr>
                                        <p:cTn id="106" dur="1000"/>
                                        <p:tgtEl>
                                          <p:spTgt spid="40"/>
                                        </p:tgtEl>
                                      </p:cBhvr>
                                    </p:animEffect>
                                    <p:anim calcmode="lin" valueType="num">
                                      <p:cBhvr>
                                        <p:cTn id="107" dur="1000" fill="hold"/>
                                        <p:tgtEl>
                                          <p:spTgt spid="40"/>
                                        </p:tgtEl>
                                        <p:attrNameLst>
                                          <p:attrName>ppt_x</p:attrName>
                                        </p:attrNameLst>
                                      </p:cBhvr>
                                      <p:tavLst>
                                        <p:tav tm="0">
                                          <p:val>
                                            <p:strVal val="#ppt_x"/>
                                          </p:val>
                                        </p:tav>
                                        <p:tav tm="100000">
                                          <p:val>
                                            <p:strVal val="#ppt_x"/>
                                          </p:val>
                                        </p:tav>
                                      </p:tavLst>
                                    </p:anim>
                                    <p:anim calcmode="lin" valueType="num">
                                      <p:cBhvr>
                                        <p:cTn id="108" dur="1000" fill="hold"/>
                                        <p:tgtEl>
                                          <p:spTgt spid="40"/>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0"/>
                                  </p:stCondLst>
                                  <p:childTnLst>
                                    <p:set>
                                      <p:cBhvr>
                                        <p:cTn id="110" dur="1" fill="hold">
                                          <p:stCondLst>
                                            <p:cond delay="0"/>
                                          </p:stCondLst>
                                        </p:cTn>
                                        <p:tgtEl>
                                          <p:spTgt spid="46"/>
                                        </p:tgtEl>
                                        <p:attrNameLst>
                                          <p:attrName>style.visibility</p:attrName>
                                        </p:attrNameLst>
                                      </p:cBhvr>
                                      <p:to>
                                        <p:strVal val="visible"/>
                                      </p:to>
                                    </p:set>
                                    <p:animEffect transition="in" filter="fade">
                                      <p:cBhvr>
                                        <p:cTn id="111" dur="1000"/>
                                        <p:tgtEl>
                                          <p:spTgt spid="46"/>
                                        </p:tgtEl>
                                      </p:cBhvr>
                                    </p:animEffect>
                                    <p:anim calcmode="lin" valueType="num">
                                      <p:cBhvr>
                                        <p:cTn id="112" dur="1000" fill="hold"/>
                                        <p:tgtEl>
                                          <p:spTgt spid="46"/>
                                        </p:tgtEl>
                                        <p:attrNameLst>
                                          <p:attrName>ppt_x</p:attrName>
                                        </p:attrNameLst>
                                      </p:cBhvr>
                                      <p:tavLst>
                                        <p:tav tm="0">
                                          <p:val>
                                            <p:strVal val="#ppt_x"/>
                                          </p:val>
                                        </p:tav>
                                        <p:tav tm="100000">
                                          <p:val>
                                            <p:strVal val="#ppt_x"/>
                                          </p:val>
                                        </p:tav>
                                      </p:tavLst>
                                    </p:anim>
                                    <p:anim calcmode="lin" valueType="num">
                                      <p:cBhvr>
                                        <p:cTn id="113" dur="1000" fill="hold"/>
                                        <p:tgtEl>
                                          <p:spTgt spid="46"/>
                                        </p:tgtEl>
                                        <p:attrNameLst>
                                          <p:attrName>ppt_y</p:attrName>
                                        </p:attrNameLst>
                                      </p:cBhvr>
                                      <p:tavLst>
                                        <p:tav tm="0">
                                          <p:val>
                                            <p:strVal val="#ppt_y+.1"/>
                                          </p:val>
                                        </p:tav>
                                        <p:tav tm="100000">
                                          <p:val>
                                            <p:strVal val="#ppt_y"/>
                                          </p:val>
                                        </p:tav>
                                      </p:tavLst>
                                    </p:anim>
                                  </p:childTnLst>
                                </p:cTn>
                              </p:par>
                              <p:par>
                                <p:cTn id="114" presetID="42" presetClass="entr" presetSubtype="0" fill="hold" grpId="0" nodeType="withEffect">
                                  <p:stCondLst>
                                    <p:cond delay="0"/>
                                  </p:stCondLst>
                                  <p:childTnLst>
                                    <p:set>
                                      <p:cBhvr>
                                        <p:cTn id="115" dur="1" fill="hold">
                                          <p:stCondLst>
                                            <p:cond delay="0"/>
                                          </p:stCondLst>
                                        </p:cTn>
                                        <p:tgtEl>
                                          <p:spTgt spid="47"/>
                                        </p:tgtEl>
                                        <p:attrNameLst>
                                          <p:attrName>style.visibility</p:attrName>
                                        </p:attrNameLst>
                                      </p:cBhvr>
                                      <p:to>
                                        <p:strVal val="visible"/>
                                      </p:to>
                                    </p:set>
                                    <p:animEffect transition="in" filter="fade">
                                      <p:cBhvr>
                                        <p:cTn id="116" dur="1000"/>
                                        <p:tgtEl>
                                          <p:spTgt spid="47"/>
                                        </p:tgtEl>
                                      </p:cBhvr>
                                    </p:animEffect>
                                    <p:anim calcmode="lin" valueType="num">
                                      <p:cBhvr>
                                        <p:cTn id="117" dur="1000" fill="hold"/>
                                        <p:tgtEl>
                                          <p:spTgt spid="47"/>
                                        </p:tgtEl>
                                        <p:attrNameLst>
                                          <p:attrName>ppt_x</p:attrName>
                                        </p:attrNameLst>
                                      </p:cBhvr>
                                      <p:tavLst>
                                        <p:tav tm="0">
                                          <p:val>
                                            <p:strVal val="#ppt_x"/>
                                          </p:val>
                                        </p:tav>
                                        <p:tav tm="100000">
                                          <p:val>
                                            <p:strVal val="#ppt_x"/>
                                          </p:val>
                                        </p:tav>
                                      </p:tavLst>
                                    </p:anim>
                                    <p:anim calcmode="lin" valueType="num">
                                      <p:cBhvr>
                                        <p:cTn id="118" dur="1000" fill="hold"/>
                                        <p:tgtEl>
                                          <p:spTgt spid="47"/>
                                        </p:tgtEl>
                                        <p:attrNameLst>
                                          <p:attrName>ppt_y</p:attrName>
                                        </p:attrNameLst>
                                      </p:cBhvr>
                                      <p:tavLst>
                                        <p:tav tm="0">
                                          <p:val>
                                            <p:strVal val="#ppt_y+.1"/>
                                          </p:val>
                                        </p:tav>
                                        <p:tav tm="100000">
                                          <p:val>
                                            <p:strVal val="#ppt_y"/>
                                          </p:val>
                                        </p:tav>
                                      </p:tavLst>
                                    </p:anim>
                                  </p:childTnLst>
                                </p:cTn>
                              </p:par>
                              <p:par>
                                <p:cTn id="119" presetID="42" presetClass="entr" presetSubtype="0" fill="hold" nodeType="withEffect">
                                  <p:stCondLst>
                                    <p:cond delay="0"/>
                                  </p:stCondLst>
                                  <p:childTnLst>
                                    <p:set>
                                      <p:cBhvr>
                                        <p:cTn id="120" dur="1" fill="hold">
                                          <p:stCondLst>
                                            <p:cond delay="0"/>
                                          </p:stCondLst>
                                        </p:cTn>
                                        <p:tgtEl>
                                          <p:spTgt spid="44"/>
                                        </p:tgtEl>
                                        <p:attrNameLst>
                                          <p:attrName>style.visibility</p:attrName>
                                        </p:attrNameLst>
                                      </p:cBhvr>
                                      <p:to>
                                        <p:strVal val="visible"/>
                                      </p:to>
                                    </p:set>
                                    <p:animEffect transition="in" filter="fade">
                                      <p:cBhvr>
                                        <p:cTn id="121" dur="1000"/>
                                        <p:tgtEl>
                                          <p:spTgt spid="44"/>
                                        </p:tgtEl>
                                      </p:cBhvr>
                                    </p:animEffect>
                                    <p:anim calcmode="lin" valueType="num">
                                      <p:cBhvr>
                                        <p:cTn id="122" dur="1000" fill="hold"/>
                                        <p:tgtEl>
                                          <p:spTgt spid="44"/>
                                        </p:tgtEl>
                                        <p:attrNameLst>
                                          <p:attrName>ppt_x</p:attrName>
                                        </p:attrNameLst>
                                      </p:cBhvr>
                                      <p:tavLst>
                                        <p:tav tm="0">
                                          <p:val>
                                            <p:strVal val="#ppt_x"/>
                                          </p:val>
                                        </p:tav>
                                        <p:tav tm="100000">
                                          <p:val>
                                            <p:strVal val="#ppt_x"/>
                                          </p:val>
                                        </p:tav>
                                      </p:tavLst>
                                    </p:anim>
                                    <p:anim calcmode="lin" valueType="num">
                                      <p:cBhvr>
                                        <p:cTn id="123" dur="1000" fill="hold"/>
                                        <p:tgtEl>
                                          <p:spTgt spid="44"/>
                                        </p:tgtEl>
                                        <p:attrNameLst>
                                          <p:attrName>ppt_y</p:attrName>
                                        </p:attrNameLst>
                                      </p:cBhvr>
                                      <p:tavLst>
                                        <p:tav tm="0">
                                          <p:val>
                                            <p:strVal val="#ppt_y+.1"/>
                                          </p:val>
                                        </p:tav>
                                        <p:tav tm="100000">
                                          <p:val>
                                            <p:strVal val="#ppt_y"/>
                                          </p:val>
                                        </p:tav>
                                      </p:tavLst>
                                    </p:anim>
                                  </p:childTnLst>
                                </p:cTn>
                              </p:par>
                              <p:par>
                                <p:cTn id="124" presetID="42" presetClass="entr" presetSubtype="0" fill="hold" grpId="0" nodeType="withEffect">
                                  <p:stCondLst>
                                    <p:cond delay="0"/>
                                  </p:stCondLst>
                                  <p:childTnLst>
                                    <p:set>
                                      <p:cBhvr>
                                        <p:cTn id="125" dur="1" fill="hold">
                                          <p:stCondLst>
                                            <p:cond delay="0"/>
                                          </p:stCondLst>
                                        </p:cTn>
                                        <p:tgtEl>
                                          <p:spTgt spid="48"/>
                                        </p:tgtEl>
                                        <p:attrNameLst>
                                          <p:attrName>style.visibility</p:attrName>
                                        </p:attrNameLst>
                                      </p:cBhvr>
                                      <p:to>
                                        <p:strVal val="visible"/>
                                      </p:to>
                                    </p:set>
                                    <p:animEffect transition="in" filter="fade">
                                      <p:cBhvr>
                                        <p:cTn id="126" dur="1000"/>
                                        <p:tgtEl>
                                          <p:spTgt spid="48"/>
                                        </p:tgtEl>
                                      </p:cBhvr>
                                    </p:animEffect>
                                    <p:anim calcmode="lin" valueType="num">
                                      <p:cBhvr>
                                        <p:cTn id="127" dur="1000" fill="hold"/>
                                        <p:tgtEl>
                                          <p:spTgt spid="48"/>
                                        </p:tgtEl>
                                        <p:attrNameLst>
                                          <p:attrName>ppt_x</p:attrName>
                                        </p:attrNameLst>
                                      </p:cBhvr>
                                      <p:tavLst>
                                        <p:tav tm="0">
                                          <p:val>
                                            <p:strVal val="#ppt_x"/>
                                          </p:val>
                                        </p:tav>
                                        <p:tav tm="100000">
                                          <p:val>
                                            <p:strVal val="#ppt_x"/>
                                          </p:val>
                                        </p:tav>
                                      </p:tavLst>
                                    </p:anim>
                                    <p:anim calcmode="lin" valueType="num">
                                      <p:cBhvr>
                                        <p:cTn id="128" dur="1000" fill="hold"/>
                                        <p:tgtEl>
                                          <p:spTgt spid="48"/>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0"/>
                                  </p:stCondLst>
                                  <p:childTnLst>
                                    <p:set>
                                      <p:cBhvr>
                                        <p:cTn id="130" dur="1" fill="hold">
                                          <p:stCondLst>
                                            <p:cond delay="0"/>
                                          </p:stCondLst>
                                        </p:cTn>
                                        <p:tgtEl>
                                          <p:spTgt spid="49"/>
                                        </p:tgtEl>
                                        <p:attrNameLst>
                                          <p:attrName>style.visibility</p:attrName>
                                        </p:attrNameLst>
                                      </p:cBhvr>
                                      <p:to>
                                        <p:strVal val="visible"/>
                                      </p:to>
                                    </p:set>
                                    <p:animEffect transition="in" filter="fade">
                                      <p:cBhvr>
                                        <p:cTn id="131" dur="1000"/>
                                        <p:tgtEl>
                                          <p:spTgt spid="49"/>
                                        </p:tgtEl>
                                      </p:cBhvr>
                                    </p:animEffect>
                                    <p:anim calcmode="lin" valueType="num">
                                      <p:cBhvr>
                                        <p:cTn id="132" dur="1000" fill="hold"/>
                                        <p:tgtEl>
                                          <p:spTgt spid="49"/>
                                        </p:tgtEl>
                                        <p:attrNameLst>
                                          <p:attrName>ppt_x</p:attrName>
                                        </p:attrNameLst>
                                      </p:cBhvr>
                                      <p:tavLst>
                                        <p:tav tm="0">
                                          <p:val>
                                            <p:strVal val="#ppt_x"/>
                                          </p:val>
                                        </p:tav>
                                        <p:tav tm="100000">
                                          <p:val>
                                            <p:strVal val="#ppt_x"/>
                                          </p:val>
                                        </p:tav>
                                      </p:tavLst>
                                    </p:anim>
                                    <p:anim calcmode="lin" valueType="num">
                                      <p:cBhvr>
                                        <p:cTn id="133" dur="1000" fill="hold"/>
                                        <p:tgtEl>
                                          <p:spTgt spid="49"/>
                                        </p:tgtEl>
                                        <p:attrNameLst>
                                          <p:attrName>ppt_y</p:attrName>
                                        </p:attrNameLst>
                                      </p:cBhvr>
                                      <p:tavLst>
                                        <p:tav tm="0">
                                          <p:val>
                                            <p:strVal val="#ppt_y+.1"/>
                                          </p:val>
                                        </p:tav>
                                        <p:tav tm="100000">
                                          <p:val>
                                            <p:strVal val="#ppt_y"/>
                                          </p:val>
                                        </p:tav>
                                      </p:tavLst>
                                    </p:anim>
                                  </p:childTnLst>
                                </p:cTn>
                              </p:par>
                              <p:par>
                                <p:cTn id="134" presetID="42" presetClass="entr" presetSubtype="0" fill="hold" nodeType="withEffect">
                                  <p:stCondLst>
                                    <p:cond delay="0"/>
                                  </p:stCondLst>
                                  <p:childTnLst>
                                    <p:set>
                                      <p:cBhvr>
                                        <p:cTn id="135" dur="1" fill="hold">
                                          <p:stCondLst>
                                            <p:cond delay="0"/>
                                          </p:stCondLst>
                                        </p:cTn>
                                        <p:tgtEl>
                                          <p:spTgt spid="45"/>
                                        </p:tgtEl>
                                        <p:attrNameLst>
                                          <p:attrName>style.visibility</p:attrName>
                                        </p:attrNameLst>
                                      </p:cBhvr>
                                      <p:to>
                                        <p:strVal val="visible"/>
                                      </p:to>
                                    </p:set>
                                    <p:animEffect transition="in" filter="fade">
                                      <p:cBhvr>
                                        <p:cTn id="136" dur="1000"/>
                                        <p:tgtEl>
                                          <p:spTgt spid="45"/>
                                        </p:tgtEl>
                                      </p:cBhvr>
                                    </p:animEffect>
                                    <p:anim calcmode="lin" valueType="num">
                                      <p:cBhvr>
                                        <p:cTn id="137" dur="1000" fill="hold"/>
                                        <p:tgtEl>
                                          <p:spTgt spid="45"/>
                                        </p:tgtEl>
                                        <p:attrNameLst>
                                          <p:attrName>ppt_x</p:attrName>
                                        </p:attrNameLst>
                                      </p:cBhvr>
                                      <p:tavLst>
                                        <p:tav tm="0">
                                          <p:val>
                                            <p:strVal val="#ppt_x"/>
                                          </p:val>
                                        </p:tav>
                                        <p:tav tm="100000">
                                          <p:val>
                                            <p:strVal val="#ppt_x"/>
                                          </p:val>
                                        </p:tav>
                                      </p:tavLst>
                                    </p:anim>
                                    <p:anim calcmode="lin" valueType="num">
                                      <p:cBhvr>
                                        <p:cTn id="138" dur="1000" fill="hold"/>
                                        <p:tgtEl>
                                          <p:spTgt spid="45"/>
                                        </p:tgtEl>
                                        <p:attrNameLst>
                                          <p:attrName>ppt_y</p:attrName>
                                        </p:attrNameLst>
                                      </p:cBhvr>
                                      <p:tavLst>
                                        <p:tav tm="0">
                                          <p:val>
                                            <p:strVal val="#ppt_y+.1"/>
                                          </p:val>
                                        </p:tav>
                                        <p:tav tm="100000">
                                          <p:val>
                                            <p:strVal val="#ppt_y"/>
                                          </p:val>
                                        </p:tav>
                                      </p:tavLst>
                                    </p:anim>
                                  </p:childTnLst>
                                </p:cTn>
                              </p:par>
                              <p:par>
                                <p:cTn id="139" presetID="42" presetClass="entr" presetSubtype="0" fill="hold" grpId="0" nodeType="withEffect">
                                  <p:stCondLst>
                                    <p:cond delay="0"/>
                                  </p:stCondLst>
                                  <p:childTnLst>
                                    <p:set>
                                      <p:cBhvr>
                                        <p:cTn id="140" dur="1" fill="hold">
                                          <p:stCondLst>
                                            <p:cond delay="0"/>
                                          </p:stCondLst>
                                        </p:cTn>
                                        <p:tgtEl>
                                          <p:spTgt spid="50"/>
                                        </p:tgtEl>
                                        <p:attrNameLst>
                                          <p:attrName>style.visibility</p:attrName>
                                        </p:attrNameLst>
                                      </p:cBhvr>
                                      <p:to>
                                        <p:strVal val="visible"/>
                                      </p:to>
                                    </p:set>
                                    <p:animEffect transition="in" filter="fade">
                                      <p:cBhvr>
                                        <p:cTn id="141" dur="1000"/>
                                        <p:tgtEl>
                                          <p:spTgt spid="50"/>
                                        </p:tgtEl>
                                      </p:cBhvr>
                                    </p:animEffect>
                                    <p:anim calcmode="lin" valueType="num">
                                      <p:cBhvr>
                                        <p:cTn id="142" dur="1000" fill="hold"/>
                                        <p:tgtEl>
                                          <p:spTgt spid="50"/>
                                        </p:tgtEl>
                                        <p:attrNameLst>
                                          <p:attrName>ppt_x</p:attrName>
                                        </p:attrNameLst>
                                      </p:cBhvr>
                                      <p:tavLst>
                                        <p:tav tm="0">
                                          <p:val>
                                            <p:strVal val="#ppt_x"/>
                                          </p:val>
                                        </p:tav>
                                        <p:tav tm="100000">
                                          <p:val>
                                            <p:strVal val="#ppt_x"/>
                                          </p:val>
                                        </p:tav>
                                      </p:tavLst>
                                    </p:anim>
                                    <p:anim calcmode="lin" valueType="num">
                                      <p:cBhvr>
                                        <p:cTn id="143" dur="1000" fill="hold"/>
                                        <p:tgtEl>
                                          <p:spTgt spid="50"/>
                                        </p:tgtEl>
                                        <p:attrNameLst>
                                          <p:attrName>ppt_y</p:attrName>
                                        </p:attrNameLst>
                                      </p:cBhvr>
                                      <p:tavLst>
                                        <p:tav tm="0">
                                          <p:val>
                                            <p:strVal val="#ppt_y+.1"/>
                                          </p:val>
                                        </p:tav>
                                        <p:tav tm="100000">
                                          <p:val>
                                            <p:strVal val="#ppt_y"/>
                                          </p:val>
                                        </p:tav>
                                      </p:tavLst>
                                    </p:anim>
                                  </p:childTnLst>
                                </p:cTn>
                              </p:par>
                              <p:par>
                                <p:cTn id="144" presetID="42" presetClass="entr" presetSubtype="0" fill="hold" grpId="0" nodeType="withEffect">
                                  <p:stCondLst>
                                    <p:cond delay="0"/>
                                  </p:stCondLst>
                                  <p:childTnLst>
                                    <p:set>
                                      <p:cBhvr>
                                        <p:cTn id="145" dur="1" fill="hold">
                                          <p:stCondLst>
                                            <p:cond delay="0"/>
                                          </p:stCondLst>
                                        </p:cTn>
                                        <p:tgtEl>
                                          <p:spTgt spid="52"/>
                                        </p:tgtEl>
                                        <p:attrNameLst>
                                          <p:attrName>style.visibility</p:attrName>
                                        </p:attrNameLst>
                                      </p:cBhvr>
                                      <p:to>
                                        <p:strVal val="visible"/>
                                      </p:to>
                                    </p:set>
                                    <p:animEffect transition="in" filter="fade">
                                      <p:cBhvr>
                                        <p:cTn id="146" dur="1000"/>
                                        <p:tgtEl>
                                          <p:spTgt spid="52"/>
                                        </p:tgtEl>
                                      </p:cBhvr>
                                    </p:animEffect>
                                    <p:anim calcmode="lin" valueType="num">
                                      <p:cBhvr>
                                        <p:cTn id="147" dur="1000" fill="hold"/>
                                        <p:tgtEl>
                                          <p:spTgt spid="52"/>
                                        </p:tgtEl>
                                        <p:attrNameLst>
                                          <p:attrName>ppt_x</p:attrName>
                                        </p:attrNameLst>
                                      </p:cBhvr>
                                      <p:tavLst>
                                        <p:tav tm="0">
                                          <p:val>
                                            <p:strVal val="#ppt_x"/>
                                          </p:val>
                                        </p:tav>
                                        <p:tav tm="100000">
                                          <p:val>
                                            <p:strVal val="#ppt_x"/>
                                          </p:val>
                                        </p:tav>
                                      </p:tavLst>
                                    </p:anim>
                                    <p:anim calcmode="lin" valueType="num">
                                      <p:cBhvr>
                                        <p:cTn id="148" dur="1000" fill="hold"/>
                                        <p:tgtEl>
                                          <p:spTgt spid="52"/>
                                        </p:tgtEl>
                                        <p:attrNameLst>
                                          <p:attrName>ppt_y</p:attrName>
                                        </p:attrNameLst>
                                      </p:cBhvr>
                                      <p:tavLst>
                                        <p:tav tm="0">
                                          <p:val>
                                            <p:strVal val="#ppt_y+.1"/>
                                          </p:val>
                                        </p:tav>
                                        <p:tav tm="100000">
                                          <p:val>
                                            <p:strVal val="#ppt_y"/>
                                          </p:val>
                                        </p:tav>
                                      </p:tavLst>
                                    </p:anim>
                                  </p:childTnLst>
                                </p:cTn>
                              </p:par>
                              <p:par>
                                <p:cTn id="149" presetID="42" presetClass="entr" presetSubtype="0" fill="hold" grpId="0" nodeType="withEffect">
                                  <p:stCondLst>
                                    <p:cond delay="0"/>
                                  </p:stCondLst>
                                  <p:childTnLst>
                                    <p:set>
                                      <p:cBhvr>
                                        <p:cTn id="150" dur="1" fill="hold">
                                          <p:stCondLst>
                                            <p:cond delay="0"/>
                                          </p:stCondLst>
                                        </p:cTn>
                                        <p:tgtEl>
                                          <p:spTgt spid="51"/>
                                        </p:tgtEl>
                                        <p:attrNameLst>
                                          <p:attrName>style.visibility</p:attrName>
                                        </p:attrNameLst>
                                      </p:cBhvr>
                                      <p:to>
                                        <p:strVal val="visible"/>
                                      </p:to>
                                    </p:set>
                                    <p:animEffect transition="in" filter="fade">
                                      <p:cBhvr>
                                        <p:cTn id="151" dur="1000"/>
                                        <p:tgtEl>
                                          <p:spTgt spid="51"/>
                                        </p:tgtEl>
                                      </p:cBhvr>
                                    </p:animEffect>
                                    <p:anim calcmode="lin" valueType="num">
                                      <p:cBhvr>
                                        <p:cTn id="152" dur="1000" fill="hold"/>
                                        <p:tgtEl>
                                          <p:spTgt spid="51"/>
                                        </p:tgtEl>
                                        <p:attrNameLst>
                                          <p:attrName>ppt_x</p:attrName>
                                        </p:attrNameLst>
                                      </p:cBhvr>
                                      <p:tavLst>
                                        <p:tav tm="0">
                                          <p:val>
                                            <p:strVal val="#ppt_x"/>
                                          </p:val>
                                        </p:tav>
                                        <p:tav tm="100000">
                                          <p:val>
                                            <p:strVal val="#ppt_x"/>
                                          </p:val>
                                        </p:tav>
                                      </p:tavLst>
                                    </p:anim>
                                    <p:anim calcmode="lin" valueType="num">
                                      <p:cBhvr>
                                        <p:cTn id="153" dur="1000" fill="hold"/>
                                        <p:tgtEl>
                                          <p:spTgt spid="51"/>
                                        </p:tgtEl>
                                        <p:attrNameLst>
                                          <p:attrName>ppt_y</p:attrName>
                                        </p:attrNameLst>
                                      </p:cBhvr>
                                      <p:tavLst>
                                        <p:tav tm="0">
                                          <p:val>
                                            <p:strVal val="#ppt_y+.1"/>
                                          </p:val>
                                        </p:tav>
                                        <p:tav tm="100000">
                                          <p:val>
                                            <p:strVal val="#ppt_y"/>
                                          </p:val>
                                        </p:tav>
                                      </p:tavLst>
                                    </p:anim>
                                  </p:childTnLst>
                                </p:cTn>
                              </p:par>
                              <p:par>
                                <p:cTn id="154" presetID="42" presetClass="entr" presetSubtype="0" fill="hold" grpId="0" nodeType="withEffect">
                                  <p:stCondLst>
                                    <p:cond delay="0"/>
                                  </p:stCondLst>
                                  <p:childTnLst>
                                    <p:set>
                                      <p:cBhvr>
                                        <p:cTn id="155" dur="1" fill="hold">
                                          <p:stCondLst>
                                            <p:cond delay="0"/>
                                          </p:stCondLst>
                                        </p:cTn>
                                        <p:tgtEl>
                                          <p:spTgt spid="53"/>
                                        </p:tgtEl>
                                        <p:attrNameLst>
                                          <p:attrName>style.visibility</p:attrName>
                                        </p:attrNameLst>
                                      </p:cBhvr>
                                      <p:to>
                                        <p:strVal val="visible"/>
                                      </p:to>
                                    </p:set>
                                    <p:animEffect transition="in" filter="fade">
                                      <p:cBhvr>
                                        <p:cTn id="156" dur="1000"/>
                                        <p:tgtEl>
                                          <p:spTgt spid="53"/>
                                        </p:tgtEl>
                                      </p:cBhvr>
                                    </p:animEffect>
                                    <p:anim calcmode="lin" valueType="num">
                                      <p:cBhvr>
                                        <p:cTn id="157" dur="1000" fill="hold"/>
                                        <p:tgtEl>
                                          <p:spTgt spid="53"/>
                                        </p:tgtEl>
                                        <p:attrNameLst>
                                          <p:attrName>ppt_x</p:attrName>
                                        </p:attrNameLst>
                                      </p:cBhvr>
                                      <p:tavLst>
                                        <p:tav tm="0">
                                          <p:val>
                                            <p:strVal val="#ppt_x"/>
                                          </p:val>
                                        </p:tav>
                                        <p:tav tm="100000">
                                          <p:val>
                                            <p:strVal val="#ppt_x"/>
                                          </p:val>
                                        </p:tav>
                                      </p:tavLst>
                                    </p:anim>
                                    <p:anim calcmode="lin" valueType="num">
                                      <p:cBhvr>
                                        <p:cTn id="158" dur="1000" fill="hold"/>
                                        <p:tgtEl>
                                          <p:spTgt spid="53"/>
                                        </p:tgtEl>
                                        <p:attrNameLst>
                                          <p:attrName>ppt_y</p:attrName>
                                        </p:attrNameLst>
                                      </p:cBhvr>
                                      <p:tavLst>
                                        <p:tav tm="0">
                                          <p:val>
                                            <p:strVal val="#ppt_y+.1"/>
                                          </p:val>
                                        </p:tav>
                                        <p:tav tm="100000">
                                          <p:val>
                                            <p:strVal val="#ppt_y"/>
                                          </p:val>
                                        </p:tav>
                                      </p:tavLst>
                                    </p:anim>
                                  </p:childTnLst>
                                </p:cTn>
                              </p:par>
                              <p:par>
                                <p:cTn id="159" presetID="42" presetClass="entr" presetSubtype="0" fill="hold" grpId="0" nodeType="withEffect">
                                  <p:stCondLst>
                                    <p:cond delay="0"/>
                                  </p:stCondLst>
                                  <p:childTnLst>
                                    <p:set>
                                      <p:cBhvr>
                                        <p:cTn id="160" dur="1" fill="hold">
                                          <p:stCondLst>
                                            <p:cond delay="0"/>
                                          </p:stCondLst>
                                        </p:cTn>
                                        <p:tgtEl>
                                          <p:spTgt spid="42"/>
                                        </p:tgtEl>
                                        <p:attrNameLst>
                                          <p:attrName>style.visibility</p:attrName>
                                        </p:attrNameLst>
                                      </p:cBhvr>
                                      <p:to>
                                        <p:strVal val="visible"/>
                                      </p:to>
                                    </p:set>
                                    <p:animEffect transition="in" filter="fade">
                                      <p:cBhvr>
                                        <p:cTn id="161" dur="1000"/>
                                        <p:tgtEl>
                                          <p:spTgt spid="42"/>
                                        </p:tgtEl>
                                      </p:cBhvr>
                                    </p:animEffect>
                                    <p:anim calcmode="lin" valueType="num">
                                      <p:cBhvr>
                                        <p:cTn id="162" dur="1000" fill="hold"/>
                                        <p:tgtEl>
                                          <p:spTgt spid="42"/>
                                        </p:tgtEl>
                                        <p:attrNameLst>
                                          <p:attrName>ppt_x</p:attrName>
                                        </p:attrNameLst>
                                      </p:cBhvr>
                                      <p:tavLst>
                                        <p:tav tm="0">
                                          <p:val>
                                            <p:strVal val="#ppt_x"/>
                                          </p:val>
                                        </p:tav>
                                        <p:tav tm="100000">
                                          <p:val>
                                            <p:strVal val="#ppt_x"/>
                                          </p:val>
                                        </p:tav>
                                      </p:tavLst>
                                    </p:anim>
                                    <p:anim calcmode="lin" valueType="num">
                                      <p:cBhvr>
                                        <p:cTn id="163"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164" fill="hold">
                      <p:stCondLst>
                        <p:cond delay="indefinite"/>
                      </p:stCondLst>
                      <p:childTnLst>
                        <p:par>
                          <p:cTn id="165" fill="hold">
                            <p:stCondLst>
                              <p:cond delay="0"/>
                            </p:stCondLst>
                            <p:childTnLst>
                              <p:par>
                                <p:cTn id="166" presetID="42" presetClass="entr" presetSubtype="0" fill="hold" grpId="0" nodeType="clickEffect">
                                  <p:stCondLst>
                                    <p:cond delay="0"/>
                                  </p:stCondLst>
                                  <p:childTnLst>
                                    <p:set>
                                      <p:cBhvr>
                                        <p:cTn id="167" dur="1" fill="hold">
                                          <p:stCondLst>
                                            <p:cond delay="0"/>
                                          </p:stCondLst>
                                        </p:cTn>
                                        <p:tgtEl>
                                          <p:spTgt spid="70"/>
                                        </p:tgtEl>
                                        <p:attrNameLst>
                                          <p:attrName>style.visibility</p:attrName>
                                        </p:attrNameLst>
                                      </p:cBhvr>
                                      <p:to>
                                        <p:strVal val="visible"/>
                                      </p:to>
                                    </p:set>
                                    <p:animEffect transition="in" filter="fade">
                                      <p:cBhvr>
                                        <p:cTn id="168" dur="1000"/>
                                        <p:tgtEl>
                                          <p:spTgt spid="70"/>
                                        </p:tgtEl>
                                      </p:cBhvr>
                                    </p:animEffect>
                                    <p:anim calcmode="lin" valueType="num">
                                      <p:cBhvr>
                                        <p:cTn id="169" dur="1000" fill="hold"/>
                                        <p:tgtEl>
                                          <p:spTgt spid="70"/>
                                        </p:tgtEl>
                                        <p:attrNameLst>
                                          <p:attrName>ppt_x</p:attrName>
                                        </p:attrNameLst>
                                      </p:cBhvr>
                                      <p:tavLst>
                                        <p:tav tm="0">
                                          <p:val>
                                            <p:strVal val="#ppt_x"/>
                                          </p:val>
                                        </p:tav>
                                        <p:tav tm="100000">
                                          <p:val>
                                            <p:strVal val="#ppt_x"/>
                                          </p:val>
                                        </p:tav>
                                      </p:tavLst>
                                    </p:anim>
                                    <p:anim calcmode="lin" valueType="num">
                                      <p:cBhvr>
                                        <p:cTn id="170" dur="1000" fill="hold"/>
                                        <p:tgtEl>
                                          <p:spTgt spid="70"/>
                                        </p:tgtEl>
                                        <p:attrNameLst>
                                          <p:attrName>ppt_y</p:attrName>
                                        </p:attrNameLst>
                                      </p:cBhvr>
                                      <p:tavLst>
                                        <p:tav tm="0">
                                          <p:val>
                                            <p:strVal val="#ppt_y+.1"/>
                                          </p:val>
                                        </p:tav>
                                        <p:tav tm="100000">
                                          <p:val>
                                            <p:strVal val="#ppt_y"/>
                                          </p:val>
                                        </p:tav>
                                      </p:tavLst>
                                    </p:anim>
                                  </p:childTnLst>
                                </p:cTn>
                              </p:par>
                              <p:par>
                                <p:cTn id="171" presetID="42" presetClass="entr" presetSubtype="0" fill="hold" grpId="0" nodeType="withEffect">
                                  <p:stCondLst>
                                    <p:cond delay="0"/>
                                  </p:stCondLst>
                                  <p:childTnLst>
                                    <p:set>
                                      <p:cBhvr>
                                        <p:cTn id="172" dur="1" fill="hold">
                                          <p:stCondLst>
                                            <p:cond delay="0"/>
                                          </p:stCondLst>
                                        </p:cTn>
                                        <p:tgtEl>
                                          <p:spTgt spid="55"/>
                                        </p:tgtEl>
                                        <p:attrNameLst>
                                          <p:attrName>style.visibility</p:attrName>
                                        </p:attrNameLst>
                                      </p:cBhvr>
                                      <p:to>
                                        <p:strVal val="visible"/>
                                      </p:to>
                                    </p:set>
                                    <p:animEffect transition="in" filter="fade">
                                      <p:cBhvr>
                                        <p:cTn id="173" dur="1000"/>
                                        <p:tgtEl>
                                          <p:spTgt spid="55"/>
                                        </p:tgtEl>
                                      </p:cBhvr>
                                    </p:animEffect>
                                    <p:anim calcmode="lin" valueType="num">
                                      <p:cBhvr>
                                        <p:cTn id="174" dur="1000" fill="hold"/>
                                        <p:tgtEl>
                                          <p:spTgt spid="55"/>
                                        </p:tgtEl>
                                        <p:attrNameLst>
                                          <p:attrName>ppt_x</p:attrName>
                                        </p:attrNameLst>
                                      </p:cBhvr>
                                      <p:tavLst>
                                        <p:tav tm="0">
                                          <p:val>
                                            <p:strVal val="#ppt_x"/>
                                          </p:val>
                                        </p:tav>
                                        <p:tav tm="100000">
                                          <p:val>
                                            <p:strVal val="#ppt_x"/>
                                          </p:val>
                                        </p:tav>
                                      </p:tavLst>
                                    </p:anim>
                                    <p:anim calcmode="lin" valueType="num">
                                      <p:cBhvr>
                                        <p:cTn id="175"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grpId="0" nodeType="clickEffect">
                                  <p:stCondLst>
                                    <p:cond delay="0"/>
                                  </p:stCondLst>
                                  <p:childTnLst>
                                    <p:set>
                                      <p:cBhvr>
                                        <p:cTn id="179" dur="1" fill="hold">
                                          <p:stCondLst>
                                            <p:cond delay="0"/>
                                          </p:stCondLst>
                                        </p:cTn>
                                        <p:tgtEl>
                                          <p:spTgt spid="71"/>
                                        </p:tgtEl>
                                        <p:attrNameLst>
                                          <p:attrName>style.visibility</p:attrName>
                                        </p:attrNameLst>
                                      </p:cBhvr>
                                      <p:to>
                                        <p:strVal val="visible"/>
                                      </p:to>
                                    </p:set>
                                    <p:animEffect transition="in" filter="fade">
                                      <p:cBhvr>
                                        <p:cTn id="180" dur="500"/>
                                        <p:tgtEl>
                                          <p:spTgt spid="71"/>
                                        </p:tgtEl>
                                      </p:cBhvr>
                                    </p:animEffect>
                                  </p:childTnLst>
                                </p:cTn>
                              </p:par>
                            </p:childTnLst>
                          </p:cTn>
                        </p:par>
                      </p:childTnLst>
                    </p:cTn>
                  </p:par>
                  <p:par>
                    <p:cTn id="181" fill="hold">
                      <p:stCondLst>
                        <p:cond delay="indefinite"/>
                      </p:stCondLst>
                      <p:childTnLst>
                        <p:par>
                          <p:cTn id="182" fill="hold">
                            <p:stCondLst>
                              <p:cond delay="0"/>
                            </p:stCondLst>
                            <p:childTnLst>
                              <p:par>
                                <p:cTn id="183" presetID="42" presetClass="entr" presetSubtype="0" fill="hold" grpId="0" nodeType="clickEffect">
                                  <p:stCondLst>
                                    <p:cond delay="0"/>
                                  </p:stCondLst>
                                  <p:childTnLst>
                                    <p:set>
                                      <p:cBhvr>
                                        <p:cTn id="184" dur="1" fill="hold">
                                          <p:stCondLst>
                                            <p:cond delay="0"/>
                                          </p:stCondLst>
                                        </p:cTn>
                                        <p:tgtEl>
                                          <p:spTgt spid="319492"/>
                                        </p:tgtEl>
                                        <p:attrNameLst>
                                          <p:attrName>style.visibility</p:attrName>
                                        </p:attrNameLst>
                                      </p:cBhvr>
                                      <p:to>
                                        <p:strVal val="visible"/>
                                      </p:to>
                                    </p:set>
                                    <p:animEffect transition="in" filter="fade">
                                      <p:cBhvr>
                                        <p:cTn id="185" dur="1000"/>
                                        <p:tgtEl>
                                          <p:spTgt spid="319492"/>
                                        </p:tgtEl>
                                      </p:cBhvr>
                                    </p:animEffect>
                                    <p:anim calcmode="lin" valueType="num">
                                      <p:cBhvr>
                                        <p:cTn id="186" dur="1000" fill="hold"/>
                                        <p:tgtEl>
                                          <p:spTgt spid="319492"/>
                                        </p:tgtEl>
                                        <p:attrNameLst>
                                          <p:attrName>ppt_x</p:attrName>
                                        </p:attrNameLst>
                                      </p:cBhvr>
                                      <p:tavLst>
                                        <p:tav tm="0">
                                          <p:val>
                                            <p:strVal val="#ppt_x"/>
                                          </p:val>
                                        </p:tav>
                                        <p:tav tm="100000">
                                          <p:val>
                                            <p:strVal val="#ppt_x"/>
                                          </p:val>
                                        </p:tav>
                                      </p:tavLst>
                                    </p:anim>
                                    <p:anim calcmode="lin" valueType="num">
                                      <p:cBhvr>
                                        <p:cTn id="187" dur="1000" fill="hold"/>
                                        <p:tgtEl>
                                          <p:spTgt spid="319492"/>
                                        </p:tgtEl>
                                        <p:attrNameLst>
                                          <p:attrName>ppt_y</p:attrName>
                                        </p:attrNameLst>
                                      </p:cBhvr>
                                      <p:tavLst>
                                        <p:tav tm="0">
                                          <p:val>
                                            <p:strVal val="#ppt_y+.1"/>
                                          </p:val>
                                        </p:tav>
                                        <p:tav tm="100000">
                                          <p:val>
                                            <p:strVal val="#ppt_y"/>
                                          </p:val>
                                        </p:tav>
                                      </p:tavLst>
                                    </p:anim>
                                  </p:childTnLst>
                                </p:cTn>
                              </p:par>
                              <p:par>
                                <p:cTn id="188" presetID="42" presetClass="entr" presetSubtype="0" fill="hold" grpId="0" nodeType="withEffect">
                                  <p:stCondLst>
                                    <p:cond delay="0"/>
                                  </p:stCondLst>
                                  <p:childTnLst>
                                    <p:set>
                                      <p:cBhvr>
                                        <p:cTn id="189" dur="1" fill="hold">
                                          <p:stCondLst>
                                            <p:cond delay="0"/>
                                          </p:stCondLst>
                                        </p:cTn>
                                        <p:tgtEl>
                                          <p:spTgt spid="319493"/>
                                        </p:tgtEl>
                                        <p:attrNameLst>
                                          <p:attrName>style.visibility</p:attrName>
                                        </p:attrNameLst>
                                      </p:cBhvr>
                                      <p:to>
                                        <p:strVal val="visible"/>
                                      </p:to>
                                    </p:set>
                                    <p:animEffect transition="in" filter="fade">
                                      <p:cBhvr>
                                        <p:cTn id="190" dur="1000"/>
                                        <p:tgtEl>
                                          <p:spTgt spid="319493"/>
                                        </p:tgtEl>
                                      </p:cBhvr>
                                    </p:animEffect>
                                    <p:anim calcmode="lin" valueType="num">
                                      <p:cBhvr>
                                        <p:cTn id="191" dur="1000" fill="hold"/>
                                        <p:tgtEl>
                                          <p:spTgt spid="319493"/>
                                        </p:tgtEl>
                                        <p:attrNameLst>
                                          <p:attrName>ppt_x</p:attrName>
                                        </p:attrNameLst>
                                      </p:cBhvr>
                                      <p:tavLst>
                                        <p:tav tm="0">
                                          <p:val>
                                            <p:strVal val="#ppt_x"/>
                                          </p:val>
                                        </p:tav>
                                        <p:tav tm="100000">
                                          <p:val>
                                            <p:strVal val="#ppt_x"/>
                                          </p:val>
                                        </p:tav>
                                      </p:tavLst>
                                    </p:anim>
                                    <p:anim calcmode="lin" valueType="num">
                                      <p:cBhvr>
                                        <p:cTn id="192" dur="1000" fill="hold"/>
                                        <p:tgtEl>
                                          <p:spTgt spid="319493"/>
                                        </p:tgtEl>
                                        <p:attrNameLst>
                                          <p:attrName>ppt_y</p:attrName>
                                        </p:attrNameLst>
                                      </p:cBhvr>
                                      <p:tavLst>
                                        <p:tav tm="0">
                                          <p:val>
                                            <p:strVal val="#ppt_y+.1"/>
                                          </p:val>
                                        </p:tav>
                                        <p:tav tm="100000">
                                          <p:val>
                                            <p:strVal val="#ppt_y"/>
                                          </p:val>
                                        </p:tav>
                                      </p:tavLst>
                                    </p:anim>
                                  </p:childTnLst>
                                </p:cTn>
                              </p:par>
                              <p:par>
                                <p:cTn id="193" presetID="42" presetClass="entr" presetSubtype="0" fill="hold" grpId="0" nodeType="withEffect">
                                  <p:stCondLst>
                                    <p:cond delay="0"/>
                                  </p:stCondLst>
                                  <p:childTnLst>
                                    <p:set>
                                      <p:cBhvr>
                                        <p:cTn id="194" dur="1" fill="hold">
                                          <p:stCondLst>
                                            <p:cond delay="0"/>
                                          </p:stCondLst>
                                        </p:cTn>
                                        <p:tgtEl>
                                          <p:spTgt spid="43"/>
                                        </p:tgtEl>
                                        <p:attrNameLst>
                                          <p:attrName>style.visibility</p:attrName>
                                        </p:attrNameLst>
                                      </p:cBhvr>
                                      <p:to>
                                        <p:strVal val="visible"/>
                                      </p:to>
                                    </p:set>
                                    <p:animEffect transition="in" filter="fade">
                                      <p:cBhvr>
                                        <p:cTn id="195" dur="1000"/>
                                        <p:tgtEl>
                                          <p:spTgt spid="43"/>
                                        </p:tgtEl>
                                      </p:cBhvr>
                                    </p:animEffect>
                                    <p:anim calcmode="lin" valueType="num">
                                      <p:cBhvr>
                                        <p:cTn id="196" dur="1000" fill="hold"/>
                                        <p:tgtEl>
                                          <p:spTgt spid="43"/>
                                        </p:tgtEl>
                                        <p:attrNameLst>
                                          <p:attrName>ppt_x</p:attrName>
                                        </p:attrNameLst>
                                      </p:cBhvr>
                                      <p:tavLst>
                                        <p:tav tm="0">
                                          <p:val>
                                            <p:strVal val="#ppt_x"/>
                                          </p:val>
                                        </p:tav>
                                        <p:tav tm="100000">
                                          <p:val>
                                            <p:strVal val="#ppt_x"/>
                                          </p:val>
                                        </p:tav>
                                      </p:tavLst>
                                    </p:anim>
                                    <p:anim calcmode="lin" valueType="num">
                                      <p:cBhvr>
                                        <p:cTn id="197" dur="1000" fill="hold"/>
                                        <p:tgtEl>
                                          <p:spTgt spid="43"/>
                                        </p:tgtEl>
                                        <p:attrNameLst>
                                          <p:attrName>ppt_y</p:attrName>
                                        </p:attrNameLst>
                                      </p:cBhvr>
                                      <p:tavLst>
                                        <p:tav tm="0">
                                          <p:val>
                                            <p:strVal val="#ppt_y+.1"/>
                                          </p:val>
                                        </p:tav>
                                        <p:tav tm="100000">
                                          <p:val>
                                            <p:strVal val="#ppt_y"/>
                                          </p:val>
                                        </p:tav>
                                      </p:tavLst>
                                    </p:anim>
                                  </p:childTnLst>
                                </p:cTn>
                              </p:par>
                              <p:par>
                                <p:cTn id="198" presetID="42" presetClass="entr" presetSubtype="0" fill="hold" grpId="0" nodeType="withEffect">
                                  <p:stCondLst>
                                    <p:cond delay="0"/>
                                  </p:stCondLst>
                                  <p:childTnLst>
                                    <p:set>
                                      <p:cBhvr>
                                        <p:cTn id="199" dur="1" fill="hold">
                                          <p:stCondLst>
                                            <p:cond delay="0"/>
                                          </p:stCondLst>
                                        </p:cTn>
                                        <p:tgtEl>
                                          <p:spTgt spid="41"/>
                                        </p:tgtEl>
                                        <p:attrNameLst>
                                          <p:attrName>style.visibility</p:attrName>
                                        </p:attrNameLst>
                                      </p:cBhvr>
                                      <p:to>
                                        <p:strVal val="visible"/>
                                      </p:to>
                                    </p:set>
                                    <p:animEffect transition="in" filter="fade">
                                      <p:cBhvr>
                                        <p:cTn id="200" dur="1000"/>
                                        <p:tgtEl>
                                          <p:spTgt spid="41"/>
                                        </p:tgtEl>
                                      </p:cBhvr>
                                    </p:animEffect>
                                    <p:anim calcmode="lin" valueType="num">
                                      <p:cBhvr>
                                        <p:cTn id="201" dur="1000" fill="hold"/>
                                        <p:tgtEl>
                                          <p:spTgt spid="41"/>
                                        </p:tgtEl>
                                        <p:attrNameLst>
                                          <p:attrName>ppt_x</p:attrName>
                                        </p:attrNameLst>
                                      </p:cBhvr>
                                      <p:tavLst>
                                        <p:tav tm="0">
                                          <p:val>
                                            <p:strVal val="#ppt_x"/>
                                          </p:val>
                                        </p:tav>
                                        <p:tav tm="100000">
                                          <p:val>
                                            <p:strVal val="#ppt_x"/>
                                          </p:val>
                                        </p:tav>
                                      </p:tavLst>
                                    </p:anim>
                                    <p:anim calcmode="lin" valueType="num">
                                      <p:cBhvr>
                                        <p:cTn id="202" dur="1000" fill="hold"/>
                                        <p:tgtEl>
                                          <p:spTgt spid="41"/>
                                        </p:tgtEl>
                                        <p:attrNameLst>
                                          <p:attrName>ppt_y</p:attrName>
                                        </p:attrNameLst>
                                      </p:cBhvr>
                                      <p:tavLst>
                                        <p:tav tm="0">
                                          <p:val>
                                            <p:strVal val="#ppt_y+.1"/>
                                          </p:val>
                                        </p:tav>
                                        <p:tav tm="100000">
                                          <p:val>
                                            <p:strVal val="#ppt_y"/>
                                          </p:val>
                                        </p:tav>
                                      </p:tavLst>
                                    </p:anim>
                                  </p:childTnLst>
                                </p:cTn>
                              </p:par>
                              <p:par>
                                <p:cTn id="203" presetID="42" presetClass="entr" presetSubtype="0" fill="hold" nodeType="withEffect">
                                  <p:stCondLst>
                                    <p:cond delay="0"/>
                                  </p:stCondLst>
                                  <p:childTnLst>
                                    <p:set>
                                      <p:cBhvr>
                                        <p:cTn id="204" dur="1" fill="hold">
                                          <p:stCondLst>
                                            <p:cond delay="0"/>
                                          </p:stCondLst>
                                        </p:cTn>
                                        <p:tgtEl>
                                          <p:spTgt spid="319491"/>
                                        </p:tgtEl>
                                        <p:attrNameLst>
                                          <p:attrName>style.visibility</p:attrName>
                                        </p:attrNameLst>
                                      </p:cBhvr>
                                      <p:to>
                                        <p:strVal val="visible"/>
                                      </p:to>
                                    </p:set>
                                    <p:animEffect transition="in" filter="fade">
                                      <p:cBhvr>
                                        <p:cTn id="205" dur="1000"/>
                                        <p:tgtEl>
                                          <p:spTgt spid="319491"/>
                                        </p:tgtEl>
                                      </p:cBhvr>
                                    </p:animEffect>
                                    <p:anim calcmode="lin" valueType="num">
                                      <p:cBhvr>
                                        <p:cTn id="206" dur="1000" fill="hold"/>
                                        <p:tgtEl>
                                          <p:spTgt spid="319491"/>
                                        </p:tgtEl>
                                        <p:attrNameLst>
                                          <p:attrName>ppt_x</p:attrName>
                                        </p:attrNameLst>
                                      </p:cBhvr>
                                      <p:tavLst>
                                        <p:tav tm="0">
                                          <p:val>
                                            <p:strVal val="#ppt_x"/>
                                          </p:val>
                                        </p:tav>
                                        <p:tav tm="100000">
                                          <p:val>
                                            <p:strVal val="#ppt_x"/>
                                          </p:val>
                                        </p:tav>
                                      </p:tavLst>
                                    </p:anim>
                                    <p:anim calcmode="lin" valueType="num">
                                      <p:cBhvr>
                                        <p:cTn id="207" dur="1000" fill="hold"/>
                                        <p:tgtEl>
                                          <p:spTgt spid="319491"/>
                                        </p:tgtEl>
                                        <p:attrNameLst>
                                          <p:attrName>ppt_y</p:attrName>
                                        </p:attrNameLst>
                                      </p:cBhvr>
                                      <p:tavLst>
                                        <p:tav tm="0">
                                          <p:val>
                                            <p:strVal val="#ppt_y+.1"/>
                                          </p:val>
                                        </p:tav>
                                        <p:tav tm="100000">
                                          <p:val>
                                            <p:strVal val="#ppt_y"/>
                                          </p:val>
                                        </p:tav>
                                      </p:tavLst>
                                    </p:anim>
                                  </p:childTnLst>
                                </p:cTn>
                              </p:par>
                            </p:childTnLst>
                          </p:cTn>
                        </p:par>
                      </p:childTnLst>
                    </p:cTn>
                  </p:par>
                  <p:par>
                    <p:cTn id="208" fill="hold">
                      <p:stCondLst>
                        <p:cond delay="indefinite"/>
                      </p:stCondLst>
                      <p:childTnLst>
                        <p:par>
                          <p:cTn id="209" fill="hold">
                            <p:stCondLst>
                              <p:cond delay="0"/>
                            </p:stCondLst>
                            <p:childTnLst>
                              <p:par>
                                <p:cTn id="210" presetID="42" presetClass="entr" presetSubtype="0" fill="hold" grpId="0" nodeType="clickEffect">
                                  <p:stCondLst>
                                    <p:cond delay="0"/>
                                  </p:stCondLst>
                                  <p:childTnLst>
                                    <p:set>
                                      <p:cBhvr>
                                        <p:cTn id="211" dur="1" fill="hold">
                                          <p:stCondLst>
                                            <p:cond delay="0"/>
                                          </p:stCondLst>
                                        </p:cTn>
                                        <p:tgtEl>
                                          <p:spTgt spid="72"/>
                                        </p:tgtEl>
                                        <p:attrNameLst>
                                          <p:attrName>style.visibility</p:attrName>
                                        </p:attrNameLst>
                                      </p:cBhvr>
                                      <p:to>
                                        <p:strVal val="visible"/>
                                      </p:to>
                                    </p:set>
                                    <p:animEffect transition="in" filter="fade">
                                      <p:cBhvr>
                                        <p:cTn id="212" dur="1000"/>
                                        <p:tgtEl>
                                          <p:spTgt spid="72"/>
                                        </p:tgtEl>
                                      </p:cBhvr>
                                    </p:animEffect>
                                    <p:anim calcmode="lin" valueType="num">
                                      <p:cBhvr>
                                        <p:cTn id="213" dur="1000" fill="hold"/>
                                        <p:tgtEl>
                                          <p:spTgt spid="72"/>
                                        </p:tgtEl>
                                        <p:attrNameLst>
                                          <p:attrName>ppt_x</p:attrName>
                                        </p:attrNameLst>
                                      </p:cBhvr>
                                      <p:tavLst>
                                        <p:tav tm="0">
                                          <p:val>
                                            <p:strVal val="#ppt_x"/>
                                          </p:val>
                                        </p:tav>
                                        <p:tav tm="100000">
                                          <p:val>
                                            <p:strVal val="#ppt_x"/>
                                          </p:val>
                                        </p:tav>
                                      </p:tavLst>
                                    </p:anim>
                                    <p:anim calcmode="lin" valueType="num">
                                      <p:cBhvr>
                                        <p:cTn id="214" dur="1000" fill="hold"/>
                                        <p:tgtEl>
                                          <p:spTgt spid="7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animBg="1"/>
      <p:bldP spid="38" grpId="0"/>
      <p:bldP spid="39" grpId="0"/>
      <p:bldP spid="40" grpId="0" animBg="1"/>
      <p:bldP spid="41" grpId="0" animBg="1"/>
      <p:bldP spid="42" grpId="0"/>
      <p:bldP spid="43" grpId="0"/>
      <p:bldP spid="46" grpId="0"/>
      <p:bldP spid="47" grpId="0" animBg="1"/>
      <p:bldP spid="48" grpId="0"/>
      <p:bldP spid="49" grpId="0" animBg="1"/>
      <p:bldP spid="50" grpId="0" animBg="1"/>
      <p:bldP spid="51" grpId="0"/>
      <p:bldP spid="52" grpId="0" animBg="1"/>
      <p:bldP spid="53" grpId="0"/>
      <p:bldP spid="54" grpId="0" animBg="1"/>
      <p:bldP spid="55" grpId="0" animBg="1"/>
      <p:bldP spid="56" grpId="0" animBg="1"/>
      <p:bldP spid="57" grpId="0" animBg="1"/>
      <p:bldP spid="58" grpId="0" animBg="1"/>
      <p:bldP spid="59" grpId="0"/>
      <p:bldP spid="319492" grpId="0" animBg="1"/>
      <p:bldP spid="319493" grpId="0" animBg="1"/>
      <p:bldP spid="70" grpId="0" animBg="1"/>
      <p:bldP spid="71" grpId="0" animBg="1"/>
      <p:bldP spid="7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62000" y="1219200"/>
            <a:ext cx="2133600" cy="381000"/>
          </a:xfrm>
          <a:prstGeom prst="rect">
            <a:avLst/>
          </a:prstGeom>
          <a:noFill/>
        </p:spPr>
        <p:txBody>
          <a:bodyPr wrap="square" rtlCol="0">
            <a:spAutoFit/>
          </a:bodyPr>
          <a:lstStyle/>
          <a:p>
            <a:r>
              <a:rPr lang="en-IN" sz="1800" dirty="0" smtClean="0">
                <a:solidFill>
                  <a:schemeClr val="tx2">
                    <a:lumMod val="50000"/>
                  </a:schemeClr>
                </a:solidFill>
              </a:rPr>
              <a:t>What is a Sensor?</a:t>
            </a:r>
          </a:p>
        </p:txBody>
      </p:sp>
      <p:sp>
        <p:nvSpPr>
          <p:cNvPr id="4" name="Title 3"/>
          <p:cNvSpPr>
            <a:spLocks noGrp="1"/>
          </p:cNvSpPr>
          <p:nvPr>
            <p:ph type="title"/>
          </p:nvPr>
        </p:nvSpPr>
        <p:spPr/>
        <p:txBody>
          <a:bodyPr/>
          <a:lstStyle/>
          <a:p>
            <a:r>
              <a:rPr lang="en-US" sz="2400" dirty="0"/>
              <a:t>Sensors, Connectivity &amp; SAP Cloud Platform</a:t>
            </a:r>
          </a:p>
        </p:txBody>
      </p:sp>
      <p:sp>
        <p:nvSpPr>
          <p:cNvPr id="3" name="TextBox 2"/>
          <p:cNvSpPr txBox="1"/>
          <p:nvPr/>
        </p:nvSpPr>
        <p:spPr>
          <a:xfrm>
            <a:off x="4721352" y="1233706"/>
            <a:ext cx="4727448" cy="584775"/>
          </a:xfrm>
          <a:prstGeom prst="rect">
            <a:avLst/>
          </a:prstGeom>
          <a:noFill/>
        </p:spPr>
        <p:txBody>
          <a:bodyPr wrap="square" rtlCol="0">
            <a:spAutoFit/>
          </a:bodyPr>
          <a:lstStyle/>
          <a:p>
            <a:r>
              <a:rPr lang="en-IN" sz="1600" dirty="0">
                <a:solidFill>
                  <a:schemeClr val="tx2">
                    <a:lumMod val="50000"/>
                  </a:schemeClr>
                </a:solidFill>
              </a:rPr>
              <a:t>A </a:t>
            </a:r>
            <a:r>
              <a:rPr lang="en-IN" sz="1600" b="1" dirty="0">
                <a:solidFill>
                  <a:schemeClr val="accent1"/>
                </a:solidFill>
              </a:rPr>
              <a:t>sensor</a:t>
            </a:r>
            <a:r>
              <a:rPr lang="en-IN" sz="1600" dirty="0">
                <a:solidFill>
                  <a:schemeClr val="tx2">
                    <a:lumMod val="50000"/>
                  </a:schemeClr>
                </a:solidFill>
              </a:rPr>
              <a:t> is a small device that </a:t>
            </a:r>
            <a:r>
              <a:rPr lang="en-IN" sz="1600" b="1" dirty="0">
                <a:solidFill>
                  <a:schemeClr val="accent1"/>
                </a:solidFill>
              </a:rPr>
              <a:t>identifies </a:t>
            </a:r>
            <a:r>
              <a:rPr lang="en-IN" sz="1600" b="1" dirty="0" smtClean="0">
                <a:solidFill>
                  <a:schemeClr val="accent1"/>
                </a:solidFill>
              </a:rPr>
              <a:t>information</a:t>
            </a:r>
            <a:r>
              <a:rPr lang="en-IN" sz="1600" dirty="0" smtClean="0">
                <a:solidFill>
                  <a:schemeClr val="tx2">
                    <a:lumMod val="50000"/>
                  </a:schemeClr>
                </a:solidFill>
              </a:rPr>
              <a:t> from </a:t>
            </a:r>
            <a:r>
              <a:rPr lang="en-IN" sz="1600" dirty="0">
                <a:solidFill>
                  <a:schemeClr val="tx2">
                    <a:lumMod val="50000"/>
                  </a:schemeClr>
                </a:solidFill>
              </a:rPr>
              <a:t>its physical surroundings.</a:t>
            </a:r>
            <a:endParaRPr lang="en-IN" sz="1600" dirty="0" smtClean="0">
              <a:solidFill>
                <a:schemeClr val="tx2">
                  <a:lumMod val="50000"/>
                </a:schemeClr>
              </a:solidFill>
            </a:endParaRPr>
          </a:p>
        </p:txBody>
      </p:sp>
      <p:sp>
        <p:nvSpPr>
          <p:cNvPr id="7" name="Flowchart: Stored Data 6"/>
          <p:cNvSpPr/>
          <p:nvPr/>
        </p:nvSpPr>
        <p:spPr>
          <a:xfrm>
            <a:off x="307848" y="1905000"/>
            <a:ext cx="3349752" cy="990600"/>
          </a:xfrm>
          <a:prstGeom prst="flowChartOnlineStorag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tx2">
                    <a:lumMod val="50000"/>
                  </a:schemeClr>
                </a:solidFill>
              </a:rPr>
              <a:t>               Transducer</a:t>
            </a:r>
          </a:p>
          <a:p>
            <a:pPr algn="ctr"/>
            <a:endParaRPr lang="en-IN" sz="1000" dirty="0">
              <a:solidFill>
                <a:schemeClr val="tx2">
                  <a:lumMod val="50000"/>
                </a:schemeClr>
              </a:solidFill>
            </a:endParaRPr>
          </a:p>
          <a:p>
            <a:pPr algn="ctr"/>
            <a:endParaRPr lang="en-IN" sz="1000" dirty="0" smtClean="0">
              <a:solidFill>
                <a:schemeClr val="tx2">
                  <a:lumMod val="50000"/>
                </a:schemeClr>
              </a:solidFill>
            </a:endParaRPr>
          </a:p>
          <a:p>
            <a:pPr algn="ctr"/>
            <a:endParaRPr lang="en-IN" sz="1000" dirty="0">
              <a:solidFill>
                <a:schemeClr val="tx2">
                  <a:lumMod val="50000"/>
                </a:schemeClr>
              </a:solidFill>
            </a:endParaRPr>
          </a:p>
          <a:p>
            <a:pPr algn="ctr"/>
            <a:endParaRPr lang="en-IN" sz="1000" dirty="0" smtClean="0">
              <a:solidFill>
                <a:schemeClr val="tx2">
                  <a:lumMod val="50000"/>
                </a:schemeClr>
              </a:solidFill>
            </a:endParaRPr>
          </a:p>
          <a:p>
            <a:pPr algn="ctr"/>
            <a:endParaRPr lang="en-IN" sz="1000" dirty="0" smtClean="0">
              <a:solidFill>
                <a:schemeClr val="tx2">
                  <a:lumMod val="50000"/>
                </a:schemeClr>
              </a:solidFill>
            </a:endParaRPr>
          </a:p>
        </p:txBody>
      </p:sp>
      <p:sp>
        <p:nvSpPr>
          <p:cNvPr id="8" name="TextBox 7"/>
          <p:cNvSpPr txBox="1"/>
          <p:nvPr/>
        </p:nvSpPr>
        <p:spPr>
          <a:xfrm>
            <a:off x="400050" y="2231023"/>
            <a:ext cx="723900" cy="338554"/>
          </a:xfrm>
          <a:prstGeom prst="rect">
            <a:avLst/>
          </a:prstGeom>
          <a:noFill/>
          <a:ln w="28575">
            <a:solidFill>
              <a:schemeClr val="accent1"/>
            </a:solidFill>
          </a:ln>
        </p:spPr>
        <p:txBody>
          <a:bodyPr wrap="square" rtlCol="0">
            <a:spAutoFit/>
          </a:bodyPr>
          <a:lstStyle/>
          <a:p>
            <a:pPr algn="ctr"/>
            <a:r>
              <a:rPr lang="en-IN" sz="800" dirty="0" smtClean="0">
                <a:solidFill>
                  <a:schemeClr val="tx2">
                    <a:lumMod val="50000"/>
                  </a:schemeClr>
                </a:solidFill>
              </a:rPr>
              <a:t>Measuring Quantity</a:t>
            </a:r>
          </a:p>
        </p:txBody>
      </p:sp>
      <p:sp>
        <p:nvSpPr>
          <p:cNvPr id="9" name="Rectangle 8"/>
          <p:cNvSpPr/>
          <p:nvPr/>
        </p:nvSpPr>
        <p:spPr>
          <a:xfrm>
            <a:off x="1371600" y="2096024"/>
            <a:ext cx="1676400" cy="6096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0" name="Rounded Rectangle 9"/>
          <p:cNvSpPr/>
          <p:nvPr/>
        </p:nvSpPr>
        <p:spPr>
          <a:xfrm>
            <a:off x="1427226" y="2313487"/>
            <a:ext cx="555498" cy="228601"/>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smtClean="0">
                <a:solidFill>
                  <a:schemeClr val="tx2">
                    <a:lumMod val="50000"/>
                  </a:schemeClr>
                </a:solidFill>
              </a:rPr>
              <a:t>Sensor</a:t>
            </a:r>
          </a:p>
        </p:txBody>
      </p:sp>
      <p:sp>
        <p:nvSpPr>
          <p:cNvPr id="34" name="Rounded Rectangle 33"/>
          <p:cNvSpPr/>
          <p:nvPr/>
        </p:nvSpPr>
        <p:spPr>
          <a:xfrm>
            <a:off x="2133600" y="2285999"/>
            <a:ext cx="838200" cy="283578"/>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smtClean="0">
                <a:solidFill>
                  <a:schemeClr val="tx2">
                    <a:lumMod val="50000"/>
                  </a:schemeClr>
                </a:solidFill>
              </a:rPr>
              <a:t>Signal Conditioning</a:t>
            </a:r>
          </a:p>
        </p:txBody>
      </p:sp>
      <p:sp>
        <p:nvSpPr>
          <p:cNvPr id="11" name="Right Arrow 10"/>
          <p:cNvSpPr/>
          <p:nvPr/>
        </p:nvSpPr>
        <p:spPr>
          <a:xfrm>
            <a:off x="1155700" y="2395839"/>
            <a:ext cx="171450" cy="45719"/>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51" name="Right Arrow 50"/>
          <p:cNvSpPr/>
          <p:nvPr/>
        </p:nvSpPr>
        <p:spPr>
          <a:xfrm>
            <a:off x="1985899" y="2404927"/>
            <a:ext cx="108458" cy="45719"/>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52" name="Right Arrow 51"/>
          <p:cNvSpPr/>
          <p:nvPr/>
        </p:nvSpPr>
        <p:spPr>
          <a:xfrm>
            <a:off x="3113150" y="2404926"/>
            <a:ext cx="576199" cy="45719"/>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53" name="TextBox 52"/>
          <p:cNvSpPr txBox="1"/>
          <p:nvPr/>
        </p:nvSpPr>
        <p:spPr>
          <a:xfrm>
            <a:off x="3743855" y="2235649"/>
            <a:ext cx="723900" cy="338554"/>
          </a:xfrm>
          <a:prstGeom prst="rect">
            <a:avLst/>
          </a:prstGeom>
          <a:noFill/>
          <a:ln w="28575">
            <a:solidFill>
              <a:schemeClr val="accent1"/>
            </a:solidFill>
          </a:ln>
        </p:spPr>
        <p:txBody>
          <a:bodyPr wrap="square" rtlCol="0">
            <a:spAutoFit/>
          </a:bodyPr>
          <a:lstStyle/>
          <a:p>
            <a:pPr algn="ctr"/>
            <a:r>
              <a:rPr lang="en-IN" sz="800" dirty="0" smtClean="0">
                <a:solidFill>
                  <a:schemeClr val="tx2">
                    <a:lumMod val="50000"/>
                  </a:schemeClr>
                </a:solidFill>
              </a:rPr>
              <a:t>Meaningful Info</a:t>
            </a:r>
          </a:p>
        </p:txBody>
      </p:sp>
      <p:sp>
        <p:nvSpPr>
          <p:cNvPr id="12" name="TextBox 11"/>
          <p:cNvSpPr txBox="1"/>
          <p:nvPr/>
        </p:nvSpPr>
        <p:spPr>
          <a:xfrm>
            <a:off x="4685925" y="1855585"/>
            <a:ext cx="4956048" cy="1077218"/>
          </a:xfrm>
          <a:prstGeom prst="rect">
            <a:avLst/>
          </a:prstGeom>
          <a:noFill/>
        </p:spPr>
        <p:txBody>
          <a:bodyPr wrap="square" rtlCol="0">
            <a:spAutoFit/>
          </a:bodyPr>
          <a:lstStyle/>
          <a:p>
            <a:r>
              <a:rPr lang="en-IN" sz="1600" dirty="0"/>
              <a:t>Technically, a sensor device is a </a:t>
            </a:r>
            <a:r>
              <a:rPr lang="en-IN" sz="1600" b="1" dirty="0">
                <a:solidFill>
                  <a:schemeClr val="accent1"/>
                </a:solidFill>
              </a:rPr>
              <a:t>transducer</a:t>
            </a:r>
            <a:r>
              <a:rPr lang="en-IN" sz="1600" dirty="0"/>
              <a:t>, which </a:t>
            </a:r>
            <a:r>
              <a:rPr lang="en-IN" sz="1600" dirty="0" smtClean="0"/>
              <a:t>consists of </a:t>
            </a:r>
            <a:r>
              <a:rPr lang="en-IN" sz="1600" dirty="0"/>
              <a:t>a sensor for </a:t>
            </a:r>
            <a:r>
              <a:rPr lang="en-IN" sz="1600" b="1" dirty="0">
                <a:solidFill>
                  <a:schemeClr val="accent1"/>
                </a:solidFill>
              </a:rPr>
              <a:t>measuring the actual value </a:t>
            </a:r>
            <a:r>
              <a:rPr lang="en-IN" sz="1600" dirty="0"/>
              <a:t>and </a:t>
            </a:r>
            <a:r>
              <a:rPr lang="en-IN" sz="1600" dirty="0" smtClean="0"/>
              <a:t>a signal </a:t>
            </a:r>
            <a:r>
              <a:rPr lang="en-IN" sz="1600" dirty="0"/>
              <a:t>conditioner to </a:t>
            </a:r>
            <a:r>
              <a:rPr lang="en-IN" sz="1600" b="1" dirty="0">
                <a:solidFill>
                  <a:schemeClr val="accent1"/>
                </a:solidFill>
              </a:rPr>
              <a:t>convert</a:t>
            </a:r>
            <a:r>
              <a:rPr lang="en-IN" sz="1600" b="1" dirty="0"/>
              <a:t> </a:t>
            </a:r>
            <a:r>
              <a:rPr lang="en-IN" sz="1600" dirty="0"/>
              <a:t>the measurement </a:t>
            </a:r>
            <a:r>
              <a:rPr lang="en-IN" sz="1600" dirty="0" smtClean="0"/>
              <a:t>into </a:t>
            </a:r>
            <a:r>
              <a:rPr lang="en-IN" sz="1600" b="1" dirty="0" smtClean="0">
                <a:solidFill>
                  <a:schemeClr val="accent1"/>
                </a:solidFill>
              </a:rPr>
              <a:t>meaningful </a:t>
            </a:r>
            <a:r>
              <a:rPr lang="en-IN" sz="1600" b="1" dirty="0">
                <a:solidFill>
                  <a:schemeClr val="accent1"/>
                </a:solidFill>
              </a:rPr>
              <a:t>information</a:t>
            </a:r>
            <a:r>
              <a:rPr lang="en-IN" sz="1600" dirty="0"/>
              <a:t>.</a:t>
            </a:r>
            <a:endParaRPr lang="en-IN" sz="1600" dirty="0" smtClean="0">
              <a:solidFill>
                <a:schemeClr val="tx2">
                  <a:lumMod val="50000"/>
                </a:schemeClr>
              </a:solidFill>
            </a:endParaRPr>
          </a:p>
        </p:txBody>
      </p:sp>
      <p:pic>
        <p:nvPicPr>
          <p:cNvPr id="13" name="Picture 12"/>
          <p:cNvPicPr>
            <a:picLocks noChangeAspect="1"/>
          </p:cNvPicPr>
          <p:nvPr/>
        </p:nvPicPr>
        <p:blipFill>
          <a:blip r:embed="rId3"/>
          <a:stretch>
            <a:fillRect/>
          </a:stretch>
        </p:blipFill>
        <p:spPr>
          <a:xfrm>
            <a:off x="4216178" y="2973434"/>
            <a:ext cx="461280" cy="503697"/>
          </a:xfrm>
          <a:prstGeom prst="rect">
            <a:avLst/>
          </a:prstGeom>
        </p:spPr>
      </p:pic>
      <p:sp>
        <p:nvSpPr>
          <p:cNvPr id="14" name="TextBox 13"/>
          <p:cNvSpPr txBox="1"/>
          <p:nvPr/>
        </p:nvSpPr>
        <p:spPr>
          <a:xfrm>
            <a:off x="4685925" y="3000519"/>
            <a:ext cx="4877160" cy="584775"/>
          </a:xfrm>
          <a:prstGeom prst="rect">
            <a:avLst/>
          </a:prstGeom>
          <a:noFill/>
        </p:spPr>
        <p:txBody>
          <a:bodyPr wrap="square" rtlCol="0">
            <a:spAutoFit/>
          </a:bodyPr>
          <a:lstStyle/>
          <a:p>
            <a:r>
              <a:rPr lang="en-IN" sz="1600" dirty="0"/>
              <a:t>If the sensor </a:t>
            </a:r>
            <a:r>
              <a:rPr lang="en-IN" sz="1600" b="1" dirty="0">
                <a:solidFill>
                  <a:schemeClr val="accent1"/>
                </a:solidFill>
              </a:rPr>
              <a:t>detects a change</a:t>
            </a:r>
            <a:r>
              <a:rPr lang="en-IN" sz="1600" b="1" dirty="0"/>
              <a:t> </a:t>
            </a:r>
            <a:r>
              <a:rPr lang="en-IN" sz="1600" dirty="0"/>
              <a:t>in </a:t>
            </a:r>
            <a:r>
              <a:rPr lang="en-IN" sz="1600" dirty="0" smtClean="0"/>
              <a:t>the environment</a:t>
            </a:r>
            <a:r>
              <a:rPr lang="en-IN" sz="1600" dirty="0"/>
              <a:t>, </a:t>
            </a:r>
            <a:r>
              <a:rPr lang="en-IN" sz="1600" dirty="0" smtClean="0"/>
              <a:t>it </a:t>
            </a:r>
            <a:r>
              <a:rPr lang="en-IN" sz="1600" b="1" dirty="0" smtClean="0">
                <a:solidFill>
                  <a:schemeClr val="accent1"/>
                </a:solidFill>
              </a:rPr>
              <a:t>records</a:t>
            </a:r>
            <a:r>
              <a:rPr lang="en-IN" sz="1600" b="1" dirty="0">
                <a:solidFill>
                  <a:schemeClr val="accent1"/>
                </a:solidFill>
              </a:rPr>
              <a:t>, indicates</a:t>
            </a:r>
            <a:r>
              <a:rPr lang="en-IN" sz="1600" dirty="0"/>
              <a:t>, or otherwise </a:t>
            </a:r>
            <a:r>
              <a:rPr lang="en-IN" sz="1600" b="1" dirty="0">
                <a:solidFill>
                  <a:schemeClr val="accent1"/>
                </a:solidFill>
              </a:rPr>
              <a:t>responds</a:t>
            </a:r>
            <a:r>
              <a:rPr lang="en-IN" sz="1600" b="1" dirty="0"/>
              <a:t> </a:t>
            </a:r>
            <a:r>
              <a:rPr lang="en-IN" sz="1600" dirty="0"/>
              <a:t>to it.</a:t>
            </a:r>
            <a:endParaRPr lang="en-IN" sz="1600" dirty="0" smtClean="0">
              <a:solidFill>
                <a:schemeClr val="tx2">
                  <a:lumMod val="50000"/>
                </a:schemeClr>
              </a:solidFill>
            </a:endParaRPr>
          </a:p>
        </p:txBody>
      </p:sp>
      <p:pic>
        <p:nvPicPr>
          <p:cNvPr id="15" name="Picture 14"/>
          <p:cNvPicPr>
            <a:picLocks noChangeAspect="1"/>
          </p:cNvPicPr>
          <p:nvPr/>
        </p:nvPicPr>
        <p:blipFill>
          <a:blip r:embed="rId4"/>
          <a:stretch>
            <a:fillRect/>
          </a:stretch>
        </p:blipFill>
        <p:spPr>
          <a:xfrm>
            <a:off x="4258051" y="1233706"/>
            <a:ext cx="419407" cy="666750"/>
          </a:xfrm>
          <a:prstGeom prst="rect">
            <a:avLst/>
          </a:prstGeom>
        </p:spPr>
      </p:pic>
      <p:sp>
        <p:nvSpPr>
          <p:cNvPr id="16" name="Rounded Rectangle 15"/>
          <p:cNvSpPr/>
          <p:nvPr/>
        </p:nvSpPr>
        <p:spPr>
          <a:xfrm>
            <a:off x="152400" y="4111091"/>
            <a:ext cx="4688618" cy="2137309"/>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pic>
        <p:nvPicPr>
          <p:cNvPr id="17" name="Picture 16"/>
          <p:cNvPicPr>
            <a:picLocks noChangeAspect="1"/>
          </p:cNvPicPr>
          <p:nvPr/>
        </p:nvPicPr>
        <p:blipFill>
          <a:blip r:embed="rId5"/>
          <a:stretch>
            <a:fillRect/>
          </a:stretch>
        </p:blipFill>
        <p:spPr>
          <a:xfrm>
            <a:off x="332866" y="4230023"/>
            <a:ext cx="740283" cy="1692681"/>
          </a:xfrm>
          <a:prstGeom prst="rect">
            <a:avLst/>
          </a:prstGeom>
        </p:spPr>
      </p:pic>
      <p:sp>
        <p:nvSpPr>
          <p:cNvPr id="18" name="TextBox 17"/>
          <p:cNvSpPr txBox="1"/>
          <p:nvPr/>
        </p:nvSpPr>
        <p:spPr>
          <a:xfrm>
            <a:off x="304800" y="5921190"/>
            <a:ext cx="768350" cy="276999"/>
          </a:xfrm>
          <a:prstGeom prst="rect">
            <a:avLst/>
          </a:prstGeom>
          <a:noFill/>
        </p:spPr>
        <p:txBody>
          <a:bodyPr wrap="square" rtlCol="0">
            <a:spAutoFit/>
          </a:bodyPr>
          <a:lstStyle/>
          <a:p>
            <a:r>
              <a:rPr lang="en-IN" sz="1200" dirty="0" smtClean="0">
                <a:solidFill>
                  <a:schemeClr val="tx2">
                    <a:lumMod val="50000"/>
                  </a:schemeClr>
                </a:solidFill>
              </a:rPr>
              <a:t>Sensors</a:t>
            </a:r>
          </a:p>
        </p:txBody>
      </p:sp>
      <p:sp>
        <p:nvSpPr>
          <p:cNvPr id="19" name="Rectangle 18"/>
          <p:cNvSpPr/>
          <p:nvPr/>
        </p:nvSpPr>
        <p:spPr>
          <a:xfrm>
            <a:off x="1753362" y="4242512"/>
            <a:ext cx="1294638" cy="1491700"/>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tx2">
                    <a:lumMod val="50000"/>
                  </a:schemeClr>
                </a:solidFill>
              </a:rPr>
              <a:t>Processors</a:t>
            </a:r>
          </a:p>
        </p:txBody>
      </p:sp>
      <p:sp>
        <p:nvSpPr>
          <p:cNvPr id="54" name="Rectangle 53"/>
          <p:cNvSpPr/>
          <p:nvPr/>
        </p:nvSpPr>
        <p:spPr>
          <a:xfrm>
            <a:off x="3575812" y="4230023"/>
            <a:ext cx="934985" cy="1479646"/>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tx2">
                    <a:lumMod val="50000"/>
                  </a:schemeClr>
                </a:solidFill>
              </a:rPr>
              <a:t>Emitter</a:t>
            </a:r>
          </a:p>
        </p:txBody>
      </p:sp>
      <p:sp>
        <p:nvSpPr>
          <p:cNvPr id="55" name="Rectangle 54"/>
          <p:cNvSpPr/>
          <p:nvPr/>
        </p:nvSpPr>
        <p:spPr>
          <a:xfrm>
            <a:off x="2971800" y="5828246"/>
            <a:ext cx="1544574" cy="343954"/>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Configurations</a:t>
            </a:r>
          </a:p>
        </p:txBody>
      </p:sp>
      <p:sp>
        <p:nvSpPr>
          <p:cNvPr id="56" name="Rectangle 55"/>
          <p:cNvSpPr/>
          <p:nvPr/>
        </p:nvSpPr>
        <p:spPr>
          <a:xfrm>
            <a:off x="1360170" y="5828246"/>
            <a:ext cx="1468374" cy="343954"/>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Security</a:t>
            </a:r>
          </a:p>
        </p:txBody>
      </p:sp>
      <p:sp>
        <p:nvSpPr>
          <p:cNvPr id="20" name="Right Arrow 19"/>
          <p:cNvSpPr/>
          <p:nvPr/>
        </p:nvSpPr>
        <p:spPr>
          <a:xfrm>
            <a:off x="1111631" y="4343400"/>
            <a:ext cx="603250" cy="176520"/>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57" name="Right Arrow 56"/>
          <p:cNvSpPr/>
          <p:nvPr/>
        </p:nvSpPr>
        <p:spPr>
          <a:xfrm>
            <a:off x="1111631" y="4732552"/>
            <a:ext cx="603250" cy="176520"/>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58" name="Right Arrow 57"/>
          <p:cNvSpPr/>
          <p:nvPr/>
        </p:nvSpPr>
        <p:spPr>
          <a:xfrm>
            <a:off x="1111631" y="5143997"/>
            <a:ext cx="603250" cy="176520"/>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59" name="Right Arrow 58"/>
          <p:cNvSpPr/>
          <p:nvPr/>
        </p:nvSpPr>
        <p:spPr>
          <a:xfrm>
            <a:off x="1111631" y="5533149"/>
            <a:ext cx="603250" cy="176520"/>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1" name="TextBox 20"/>
          <p:cNvSpPr txBox="1"/>
          <p:nvPr/>
        </p:nvSpPr>
        <p:spPr>
          <a:xfrm>
            <a:off x="1111631" y="4190390"/>
            <a:ext cx="488569" cy="215444"/>
          </a:xfrm>
          <a:prstGeom prst="rect">
            <a:avLst/>
          </a:prstGeom>
          <a:noFill/>
        </p:spPr>
        <p:txBody>
          <a:bodyPr wrap="square" rtlCol="0">
            <a:spAutoFit/>
          </a:bodyPr>
          <a:lstStyle/>
          <a:p>
            <a:r>
              <a:rPr lang="en-IN" sz="800" dirty="0" smtClean="0">
                <a:solidFill>
                  <a:schemeClr val="accent4">
                    <a:lumMod val="50000"/>
                  </a:schemeClr>
                </a:solidFill>
              </a:rPr>
              <a:t>Signal</a:t>
            </a:r>
          </a:p>
        </p:txBody>
      </p:sp>
      <p:sp>
        <p:nvSpPr>
          <p:cNvPr id="60" name="TextBox 59"/>
          <p:cNvSpPr txBox="1"/>
          <p:nvPr/>
        </p:nvSpPr>
        <p:spPr>
          <a:xfrm>
            <a:off x="1106064" y="4576688"/>
            <a:ext cx="488569" cy="215444"/>
          </a:xfrm>
          <a:prstGeom prst="rect">
            <a:avLst/>
          </a:prstGeom>
          <a:noFill/>
        </p:spPr>
        <p:txBody>
          <a:bodyPr wrap="square" rtlCol="0">
            <a:spAutoFit/>
          </a:bodyPr>
          <a:lstStyle/>
          <a:p>
            <a:r>
              <a:rPr lang="en-IN" sz="800" dirty="0" smtClean="0">
                <a:solidFill>
                  <a:schemeClr val="accent4">
                    <a:lumMod val="50000"/>
                  </a:schemeClr>
                </a:solidFill>
              </a:rPr>
              <a:t>Signal</a:t>
            </a:r>
          </a:p>
        </p:txBody>
      </p:sp>
      <p:sp>
        <p:nvSpPr>
          <p:cNvPr id="61" name="TextBox 60"/>
          <p:cNvSpPr txBox="1"/>
          <p:nvPr/>
        </p:nvSpPr>
        <p:spPr>
          <a:xfrm>
            <a:off x="1106064" y="4993719"/>
            <a:ext cx="488569" cy="215444"/>
          </a:xfrm>
          <a:prstGeom prst="rect">
            <a:avLst/>
          </a:prstGeom>
          <a:noFill/>
        </p:spPr>
        <p:txBody>
          <a:bodyPr wrap="square" rtlCol="0">
            <a:spAutoFit/>
          </a:bodyPr>
          <a:lstStyle/>
          <a:p>
            <a:r>
              <a:rPr lang="en-IN" sz="800" dirty="0" smtClean="0">
                <a:solidFill>
                  <a:schemeClr val="accent4">
                    <a:lumMod val="50000"/>
                  </a:schemeClr>
                </a:solidFill>
              </a:rPr>
              <a:t>Signal</a:t>
            </a:r>
          </a:p>
        </p:txBody>
      </p:sp>
      <p:sp>
        <p:nvSpPr>
          <p:cNvPr id="62" name="TextBox 61"/>
          <p:cNvSpPr txBox="1"/>
          <p:nvPr/>
        </p:nvSpPr>
        <p:spPr>
          <a:xfrm>
            <a:off x="1103524" y="5375656"/>
            <a:ext cx="488569" cy="215444"/>
          </a:xfrm>
          <a:prstGeom prst="rect">
            <a:avLst/>
          </a:prstGeom>
          <a:noFill/>
        </p:spPr>
        <p:txBody>
          <a:bodyPr wrap="square" rtlCol="0">
            <a:spAutoFit/>
          </a:bodyPr>
          <a:lstStyle/>
          <a:p>
            <a:r>
              <a:rPr lang="en-IN" sz="800" dirty="0" smtClean="0">
                <a:solidFill>
                  <a:schemeClr val="accent4">
                    <a:lumMod val="50000"/>
                  </a:schemeClr>
                </a:solidFill>
              </a:rPr>
              <a:t>Signal</a:t>
            </a:r>
          </a:p>
        </p:txBody>
      </p:sp>
      <p:sp>
        <p:nvSpPr>
          <p:cNvPr id="22" name="Right Arrow 21"/>
          <p:cNvSpPr/>
          <p:nvPr/>
        </p:nvSpPr>
        <p:spPr>
          <a:xfrm>
            <a:off x="3083306" y="4905113"/>
            <a:ext cx="457200" cy="196328"/>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4" name="Rectangle 23"/>
          <p:cNvSpPr/>
          <p:nvPr/>
        </p:nvSpPr>
        <p:spPr>
          <a:xfrm>
            <a:off x="7636934" y="4114800"/>
            <a:ext cx="1964266" cy="2133600"/>
          </a:xfrm>
          <a:prstGeom prst="rect">
            <a:avLst/>
          </a:prstGeom>
          <a:solidFill>
            <a:srgbClr val="92D05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tx2">
                    <a:lumMod val="50000"/>
                  </a:schemeClr>
                </a:solidFill>
              </a:rPr>
              <a:t>Message Receiving System</a:t>
            </a:r>
          </a:p>
        </p:txBody>
      </p:sp>
      <p:sp>
        <p:nvSpPr>
          <p:cNvPr id="25" name="TextBox 24"/>
          <p:cNvSpPr txBox="1"/>
          <p:nvPr/>
        </p:nvSpPr>
        <p:spPr>
          <a:xfrm>
            <a:off x="1828800" y="3831869"/>
            <a:ext cx="1684507" cy="304800"/>
          </a:xfrm>
          <a:prstGeom prst="rect">
            <a:avLst/>
          </a:prstGeom>
          <a:noFill/>
        </p:spPr>
        <p:txBody>
          <a:bodyPr wrap="square" rtlCol="0">
            <a:spAutoFit/>
          </a:bodyPr>
          <a:lstStyle/>
          <a:p>
            <a:r>
              <a:rPr lang="en-IN" sz="1400" b="1" dirty="0" smtClean="0">
                <a:solidFill>
                  <a:schemeClr val="tx2">
                    <a:lumMod val="50000"/>
                  </a:schemeClr>
                </a:solidFill>
              </a:rPr>
              <a:t>Sensor Device</a:t>
            </a:r>
          </a:p>
        </p:txBody>
      </p:sp>
      <p:sp>
        <p:nvSpPr>
          <p:cNvPr id="63" name="TextBox 62"/>
          <p:cNvSpPr txBox="1"/>
          <p:nvPr/>
        </p:nvSpPr>
        <p:spPr>
          <a:xfrm>
            <a:off x="7700613" y="3691672"/>
            <a:ext cx="1836907" cy="461665"/>
          </a:xfrm>
          <a:prstGeom prst="rect">
            <a:avLst/>
          </a:prstGeom>
          <a:noFill/>
        </p:spPr>
        <p:txBody>
          <a:bodyPr wrap="square" rtlCol="0">
            <a:spAutoFit/>
          </a:bodyPr>
          <a:lstStyle/>
          <a:p>
            <a:pPr algn="ctr"/>
            <a:r>
              <a:rPr lang="en-IN" sz="1200" b="1" dirty="0" smtClean="0">
                <a:solidFill>
                  <a:schemeClr val="tx2">
                    <a:lumMod val="50000"/>
                  </a:schemeClr>
                </a:solidFill>
              </a:rPr>
              <a:t>Local or Remote Receiving System</a:t>
            </a:r>
          </a:p>
        </p:txBody>
      </p:sp>
      <p:sp>
        <p:nvSpPr>
          <p:cNvPr id="26" name="Right Arrow 25"/>
          <p:cNvSpPr/>
          <p:nvPr/>
        </p:nvSpPr>
        <p:spPr>
          <a:xfrm>
            <a:off x="4571503" y="4958271"/>
            <a:ext cx="3065431" cy="587823"/>
          </a:xfrm>
          <a:prstGeom prst="rightArrow">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smtClean="0">
                <a:solidFill>
                  <a:schemeClr val="bg1"/>
                </a:solidFill>
              </a:rPr>
              <a:t>Protocol: HTTP or MQTT</a:t>
            </a:r>
          </a:p>
        </p:txBody>
      </p:sp>
      <p:sp>
        <p:nvSpPr>
          <p:cNvPr id="35" name="TextBox 34"/>
          <p:cNvSpPr txBox="1"/>
          <p:nvPr/>
        </p:nvSpPr>
        <p:spPr>
          <a:xfrm>
            <a:off x="4927124" y="4630029"/>
            <a:ext cx="1533409" cy="461665"/>
          </a:xfrm>
          <a:prstGeom prst="rect">
            <a:avLst/>
          </a:prstGeom>
          <a:noFill/>
        </p:spPr>
        <p:txBody>
          <a:bodyPr wrap="square" rtlCol="0">
            <a:spAutoFit/>
          </a:bodyPr>
          <a:lstStyle/>
          <a:p>
            <a:r>
              <a:rPr lang="en-IN" sz="1200" dirty="0" smtClean="0">
                <a:solidFill>
                  <a:schemeClr val="tx2">
                    <a:lumMod val="50000"/>
                  </a:schemeClr>
                </a:solidFill>
              </a:rPr>
              <a:t>Message : </a:t>
            </a:r>
          </a:p>
          <a:p>
            <a:r>
              <a:rPr lang="en-IN" sz="1200" dirty="0" smtClean="0">
                <a:solidFill>
                  <a:schemeClr val="tx2">
                    <a:lumMod val="50000"/>
                  </a:schemeClr>
                </a:solidFill>
              </a:rPr>
              <a:t>JSON, XML etc.</a:t>
            </a:r>
          </a:p>
        </p:txBody>
      </p:sp>
      <p:sp>
        <p:nvSpPr>
          <p:cNvPr id="64" name="TextBox 63"/>
          <p:cNvSpPr txBox="1"/>
          <p:nvPr/>
        </p:nvSpPr>
        <p:spPr>
          <a:xfrm>
            <a:off x="4927124" y="5437266"/>
            <a:ext cx="2083276" cy="461665"/>
          </a:xfrm>
          <a:prstGeom prst="rect">
            <a:avLst/>
          </a:prstGeom>
          <a:noFill/>
        </p:spPr>
        <p:txBody>
          <a:bodyPr wrap="square" rtlCol="0">
            <a:spAutoFit/>
          </a:bodyPr>
          <a:lstStyle/>
          <a:p>
            <a:r>
              <a:rPr lang="en-IN" sz="1200" dirty="0" smtClean="0">
                <a:solidFill>
                  <a:schemeClr val="tx2">
                    <a:lumMod val="50000"/>
                  </a:schemeClr>
                </a:solidFill>
              </a:rPr>
              <a:t>Connectivity : </a:t>
            </a:r>
          </a:p>
          <a:p>
            <a:r>
              <a:rPr lang="en-IN" sz="1200" dirty="0" smtClean="0">
                <a:solidFill>
                  <a:schemeClr val="tx2">
                    <a:lumMod val="50000"/>
                  </a:schemeClr>
                </a:solidFill>
              </a:rPr>
              <a:t>BLE, Bluetooth, 4G, 2G etc.</a:t>
            </a:r>
          </a:p>
        </p:txBody>
      </p:sp>
    </p:spTree>
    <p:extLst>
      <p:ext uri="{BB962C8B-B14F-4D97-AF65-F5344CB8AC3E}">
        <p14:creationId xmlns:p14="http://schemas.microsoft.com/office/powerpoint/2010/main" val="38052493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2"/>
                                        </p:tgtEl>
                                        <p:attrNameLst>
                                          <p:attrName>style.visibility</p:attrName>
                                        </p:attrNameLst>
                                      </p:cBhvr>
                                      <p:to>
                                        <p:strVal val="visible"/>
                                      </p:to>
                                    </p:set>
                                    <p:animEffect transition="in" filter="fade">
                                      <p:cBhvr>
                                        <p:cTn id="36" dur="500"/>
                                        <p:tgtEl>
                                          <p:spTgt spid="5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500"/>
                                        <p:tgtEl>
                                          <p:spTgt spid="53"/>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500"/>
                                        <p:tgtEl>
                                          <p:spTgt spid="1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1000"/>
                                        <p:tgtEl>
                                          <p:spTgt spid="16"/>
                                        </p:tgtEl>
                                      </p:cBhvr>
                                    </p:animEffect>
                                    <p:anim calcmode="lin" valueType="num">
                                      <p:cBhvr>
                                        <p:cTn id="58" dur="1000" fill="hold"/>
                                        <p:tgtEl>
                                          <p:spTgt spid="16"/>
                                        </p:tgtEl>
                                        <p:attrNameLst>
                                          <p:attrName>ppt_x</p:attrName>
                                        </p:attrNameLst>
                                      </p:cBhvr>
                                      <p:tavLst>
                                        <p:tav tm="0">
                                          <p:val>
                                            <p:strVal val="#ppt_x"/>
                                          </p:val>
                                        </p:tav>
                                        <p:tav tm="100000">
                                          <p:val>
                                            <p:strVal val="#ppt_x"/>
                                          </p:val>
                                        </p:tav>
                                      </p:tavLst>
                                    </p:anim>
                                    <p:anim calcmode="lin" valueType="num">
                                      <p:cBhvr>
                                        <p:cTn id="59" dur="1000" fill="hold"/>
                                        <p:tgtEl>
                                          <p:spTgt spid="16"/>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anim calcmode="lin" valueType="num">
                                      <p:cBhvr>
                                        <p:cTn id="63" dur="1000" fill="hold"/>
                                        <p:tgtEl>
                                          <p:spTgt spid="17"/>
                                        </p:tgtEl>
                                        <p:attrNameLst>
                                          <p:attrName>ppt_x</p:attrName>
                                        </p:attrNameLst>
                                      </p:cBhvr>
                                      <p:tavLst>
                                        <p:tav tm="0">
                                          <p:val>
                                            <p:strVal val="#ppt_x"/>
                                          </p:val>
                                        </p:tav>
                                        <p:tav tm="100000">
                                          <p:val>
                                            <p:strVal val="#ppt_x"/>
                                          </p:val>
                                        </p:tav>
                                      </p:tavLst>
                                    </p:anim>
                                    <p:anim calcmode="lin" valueType="num">
                                      <p:cBhvr>
                                        <p:cTn id="64" dur="1000" fill="hold"/>
                                        <p:tgtEl>
                                          <p:spTgt spid="17"/>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1000"/>
                                        <p:tgtEl>
                                          <p:spTgt spid="18"/>
                                        </p:tgtEl>
                                      </p:cBhvr>
                                    </p:animEffect>
                                    <p:anim calcmode="lin" valueType="num">
                                      <p:cBhvr>
                                        <p:cTn id="68" dur="1000" fill="hold"/>
                                        <p:tgtEl>
                                          <p:spTgt spid="18"/>
                                        </p:tgtEl>
                                        <p:attrNameLst>
                                          <p:attrName>ppt_x</p:attrName>
                                        </p:attrNameLst>
                                      </p:cBhvr>
                                      <p:tavLst>
                                        <p:tav tm="0">
                                          <p:val>
                                            <p:strVal val="#ppt_x"/>
                                          </p:val>
                                        </p:tav>
                                        <p:tav tm="100000">
                                          <p:val>
                                            <p:strVal val="#ppt_x"/>
                                          </p:val>
                                        </p:tav>
                                      </p:tavLst>
                                    </p:anim>
                                    <p:anim calcmode="lin" valueType="num">
                                      <p:cBhvr>
                                        <p:cTn id="69" dur="1000" fill="hold"/>
                                        <p:tgtEl>
                                          <p:spTgt spid="18"/>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9"/>
                                        </p:tgtEl>
                                        <p:attrNameLst>
                                          <p:attrName>style.visibility</p:attrName>
                                        </p:attrNameLst>
                                      </p:cBhvr>
                                      <p:to>
                                        <p:strVal val="visible"/>
                                      </p:to>
                                    </p:set>
                                    <p:animEffect transition="in" filter="fade">
                                      <p:cBhvr>
                                        <p:cTn id="72" dur="1000"/>
                                        <p:tgtEl>
                                          <p:spTgt spid="19"/>
                                        </p:tgtEl>
                                      </p:cBhvr>
                                    </p:animEffect>
                                    <p:anim calcmode="lin" valueType="num">
                                      <p:cBhvr>
                                        <p:cTn id="73" dur="1000" fill="hold"/>
                                        <p:tgtEl>
                                          <p:spTgt spid="19"/>
                                        </p:tgtEl>
                                        <p:attrNameLst>
                                          <p:attrName>ppt_x</p:attrName>
                                        </p:attrNameLst>
                                      </p:cBhvr>
                                      <p:tavLst>
                                        <p:tav tm="0">
                                          <p:val>
                                            <p:strVal val="#ppt_x"/>
                                          </p:val>
                                        </p:tav>
                                        <p:tav tm="100000">
                                          <p:val>
                                            <p:strVal val="#ppt_x"/>
                                          </p:val>
                                        </p:tav>
                                      </p:tavLst>
                                    </p:anim>
                                    <p:anim calcmode="lin" valueType="num">
                                      <p:cBhvr>
                                        <p:cTn id="74" dur="1000" fill="hold"/>
                                        <p:tgtEl>
                                          <p:spTgt spid="19"/>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54"/>
                                        </p:tgtEl>
                                        <p:attrNameLst>
                                          <p:attrName>style.visibility</p:attrName>
                                        </p:attrNameLst>
                                      </p:cBhvr>
                                      <p:to>
                                        <p:strVal val="visible"/>
                                      </p:to>
                                    </p:set>
                                    <p:animEffect transition="in" filter="fade">
                                      <p:cBhvr>
                                        <p:cTn id="77" dur="1000"/>
                                        <p:tgtEl>
                                          <p:spTgt spid="54"/>
                                        </p:tgtEl>
                                      </p:cBhvr>
                                    </p:animEffect>
                                    <p:anim calcmode="lin" valueType="num">
                                      <p:cBhvr>
                                        <p:cTn id="78" dur="1000" fill="hold"/>
                                        <p:tgtEl>
                                          <p:spTgt spid="54"/>
                                        </p:tgtEl>
                                        <p:attrNameLst>
                                          <p:attrName>ppt_x</p:attrName>
                                        </p:attrNameLst>
                                      </p:cBhvr>
                                      <p:tavLst>
                                        <p:tav tm="0">
                                          <p:val>
                                            <p:strVal val="#ppt_x"/>
                                          </p:val>
                                        </p:tav>
                                        <p:tav tm="100000">
                                          <p:val>
                                            <p:strVal val="#ppt_x"/>
                                          </p:val>
                                        </p:tav>
                                      </p:tavLst>
                                    </p:anim>
                                    <p:anim calcmode="lin" valueType="num">
                                      <p:cBhvr>
                                        <p:cTn id="79" dur="1000" fill="hold"/>
                                        <p:tgtEl>
                                          <p:spTgt spid="54"/>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55"/>
                                        </p:tgtEl>
                                        <p:attrNameLst>
                                          <p:attrName>style.visibility</p:attrName>
                                        </p:attrNameLst>
                                      </p:cBhvr>
                                      <p:to>
                                        <p:strVal val="visible"/>
                                      </p:to>
                                    </p:set>
                                    <p:animEffect transition="in" filter="fade">
                                      <p:cBhvr>
                                        <p:cTn id="82" dur="1000"/>
                                        <p:tgtEl>
                                          <p:spTgt spid="55"/>
                                        </p:tgtEl>
                                      </p:cBhvr>
                                    </p:animEffect>
                                    <p:anim calcmode="lin" valueType="num">
                                      <p:cBhvr>
                                        <p:cTn id="83" dur="1000" fill="hold"/>
                                        <p:tgtEl>
                                          <p:spTgt spid="55"/>
                                        </p:tgtEl>
                                        <p:attrNameLst>
                                          <p:attrName>ppt_x</p:attrName>
                                        </p:attrNameLst>
                                      </p:cBhvr>
                                      <p:tavLst>
                                        <p:tav tm="0">
                                          <p:val>
                                            <p:strVal val="#ppt_x"/>
                                          </p:val>
                                        </p:tav>
                                        <p:tav tm="100000">
                                          <p:val>
                                            <p:strVal val="#ppt_x"/>
                                          </p:val>
                                        </p:tav>
                                      </p:tavLst>
                                    </p:anim>
                                    <p:anim calcmode="lin" valueType="num">
                                      <p:cBhvr>
                                        <p:cTn id="84" dur="1000" fill="hold"/>
                                        <p:tgtEl>
                                          <p:spTgt spid="55"/>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56"/>
                                        </p:tgtEl>
                                        <p:attrNameLst>
                                          <p:attrName>style.visibility</p:attrName>
                                        </p:attrNameLst>
                                      </p:cBhvr>
                                      <p:to>
                                        <p:strVal val="visible"/>
                                      </p:to>
                                    </p:set>
                                    <p:animEffect transition="in" filter="fade">
                                      <p:cBhvr>
                                        <p:cTn id="87" dur="1000"/>
                                        <p:tgtEl>
                                          <p:spTgt spid="56"/>
                                        </p:tgtEl>
                                      </p:cBhvr>
                                    </p:animEffect>
                                    <p:anim calcmode="lin" valueType="num">
                                      <p:cBhvr>
                                        <p:cTn id="88" dur="1000" fill="hold"/>
                                        <p:tgtEl>
                                          <p:spTgt spid="56"/>
                                        </p:tgtEl>
                                        <p:attrNameLst>
                                          <p:attrName>ppt_x</p:attrName>
                                        </p:attrNameLst>
                                      </p:cBhvr>
                                      <p:tavLst>
                                        <p:tav tm="0">
                                          <p:val>
                                            <p:strVal val="#ppt_x"/>
                                          </p:val>
                                        </p:tav>
                                        <p:tav tm="100000">
                                          <p:val>
                                            <p:strVal val="#ppt_x"/>
                                          </p:val>
                                        </p:tav>
                                      </p:tavLst>
                                    </p:anim>
                                    <p:anim calcmode="lin" valueType="num">
                                      <p:cBhvr>
                                        <p:cTn id="89" dur="1000" fill="hold"/>
                                        <p:tgtEl>
                                          <p:spTgt spid="56"/>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20"/>
                                        </p:tgtEl>
                                        <p:attrNameLst>
                                          <p:attrName>style.visibility</p:attrName>
                                        </p:attrNameLst>
                                      </p:cBhvr>
                                      <p:to>
                                        <p:strVal val="visible"/>
                                      </p:to>
                                    </p:set>
                                    <p:animEffect transition="in" filter="fade">
                                      <p:cBhvr>
                                        <p:cTn id="92" dur="1000"/>
                                        <p:tgtEl>
                                          <p:spTgt spid="20"/>
                                        </p:tgtEl>
                                      </p:cBhvr>
                                    </p:animEffect>
                                    <p:anim calcmode="lin" valueType="num">
                                      <p:cBhvr>
                                        <p:cTn id="93" dur="1000" fill="hold"/>
                                        <p:tgtEl>
                                          <p:spTgt spid="20"/>
                                        </p:tgtEl>
                                        <p:attrNameLst>
                                          <p:attrName>ppt_x</p:attrName>
                                        </p:attrNameLst>
                                      </p:cBhvr>
                                      <p:tavLst>
                                        <p:tav tm="0">
                                          <p:val>
                                            <p:strVal val="#ppt_x"/>
                                          </p:val>
                                        </p:tav>
                                        <p:tav tm="100000">
                                          <p:val>
                                            <p:strVal val="#ppt_x"/>
                                          </p:val>
                                        </p:tav>
                                      </p:tavLst>
                                    </p:anim>
                                    <p:anim calcmode="lin" valueType="num">
                                      <p:cBhvr>
                                        <p:cTn id="94" dur="1000" fill="hold"/>
                                        <p:tgtEl>
                                          <p:spTgt spid="20"/>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57"/>
                                        </p:tgtEl>
                                        <p:attrNameLst>
                                          <p:attrName>style.visibility</p:attrName>
                                        </p:attrNameLst>
                                      </p:cBhvr>
                                      <p:to>
                                        <p:strVal val="visible"/>
                                      </p:to>
                                    </p:set>
                                    <p:animEffect transition="in" filter="fade">
                                      <p:cBhvr>
                                        <p:cTn id="97" dur="1000"/>
                                        <p:tgtEl>
                                          <p:spTgt spid="57"/>
                                        </p:tgtEl>
                                      </p:cBhvr>
                                    </p:animEffect>
                                    <p:anim calcmode="lin" valueType="num">
                                      <p:cBhvr>
                                        <p:cTn id="98" dur="1000" fill="hold"/>
                                        <p:tgtEl>
                                          <p:spTgt spid="57"/>
                                        </p:tgtEl>
                                        <p:attrNameLst>
                                          <p:attrName>ppt_x</p:attrName>
                                        </p:attrNameLst>
                                      </p:cBhvr>
                                      <p:tavLst>
                                        <p:tav tm="0">
                                          <p:val>
                                            <p:strVal val="#ppt_x"/>
                                          </p:val>
                                        </p:tav>
                                        <p:tav tm="100000">
                                          <p:val>
                                            <p:strVal val="#ppt_x"/>
                                          </p:val>
                                        </p:tav>
                                      </p:tavLst>
                                    </p:anim>
                                    <p:anim calcmode="lin" valueType="num">
                                      <p:cBhvr>
                                        <p:cTn id="99" dur="1000" fill="hold"/>
                                        <p:tgtEl>
                                          <p:spTgt spid="57"/>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58"/>
                                        </p:tgtEl>
                                        <p:attrNameLst>
                                          <p:attrName>style.visibility</p:attrName>
                                        </p:attrNameLst>
                                      </p:cBhvr>
                                      <p:to>
                                        <p:strVal val="visible"/>
                                      </p:to>
                                    </p:set>
                                    <p:animEffect transition="in" filter="fade">
                                      <p:cBhvr>
                                        <p:cTn id="102" dur="1000"/>
                                        <p:tgtEl>
                                          <p:spTgt spid="58"/>
                                        </p:tgtEl>
                                      </p:cBhvr>
                                    </p:animEffect>
                                    <p:anim calcmode="lin" valueType="num">
                                      <p:cBhvr>
                                        <p:cTn id="103" dur="1000" fill="hold"/>
                                        <p:tgtEl>
                                          <p:spTgt spid="58"/>
                                        </p:tgtEl>
                                        <p:attrNameLst>
                                          <p:attrName>ppt_x</p:attrName>
                                        </p:attrNameLst>
                                      </p:cBhvr>
                                      <p:tavLst>
                                        <p:tav tm="0">
                                          <p:val>
                                            <p:strVal val="#ppt_x"/>
                                          </p:val>
                                        </p:tav>
                                        <p:tav tm="100000">
                                          <p:val>
                                            <p:strVal val="#ppt_x"/>
                                          </p:val>
                                        </p:tav>
                                      </p:tavLst>
                                    </p:anim>
                                    <p:anim calcmode="lin" valueType="num">
                                      <p:cBhvr>
                                        <p:cTn id="104" dur="1000" fill="hold"/>
                                        <p:tgtEl>
                                          <p:spTgt spid="58"/>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59"/>
                                        </p:tgtEl>
                                        <p:attrNameLst>
                                          <p:attrName>style.visibility</p:attrName>
                                        </p:attrNameLst>
                                      </p:cBhvr>
                                      <p:to>
                                        <p:strVal val="visible"/>
                                      </p:to>
                                    </p:set>
                                    <p:animEffect transition="in" filter="fade">
                                      <p:cBhvr>
                                        <p:cTn id="107" dur="1000"/>
                                        <p:tgtEl>
                                          <p:spTgt spid="59"/>
                                        </p:tgtEl>
                                      </p:cBhvr>
                                    </p:animEffect>
                                    <p:anim calcmode="lin" valueType="num">
                                      <p:cBhvr>
                                        <p:cTn id="108" dur="1000" fill="hold"/>
                                        <p:tgtEl>
                                          <p:spTgt spid="59"/>
                                        </p:tgtEl>
                                        <p:attrNameLst>
                                          <p:attrName>ppt_x</p:attrName>
                                        </p:attrNameLst>
                                      </p:cBhvr>
                                      <p:tavLst>
                                        <p:tav tm="0">
                                          <p:val>
                                            <p:strVal val="#ppt_x"/>
                                          </p:val>
                                        </p:tav>
                                        <p:tav tm="100000">
                                          <p:val>
                                            <p:strVal val="#ppt_x"/>
                                          </p:val>
                                        </p:tav>
                                      </p:tavLst>
                                    </p:anim>
                                    <p:anim calcmode="lin" valueType="num">
                                      <p:cBhvr>
                                        <p:cTn id="109" dur="1000" fill="hold"/>
                                        <p:tgtEl>
                                          <p:spTgt spid="59"/>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fade">
                                      <p:cBhvr>
                                        <p:cTn id="112" dur="1000"/>
                                        <p:tgtEl>
                                          <p:spTgt spid="21"/>
                                        </p:tgtEl>
                                      </p:cBhvr>
                                    </p:animEffect>
                                    <p:anim calcmode="lin" valueType="num">
                                      <p:cBhvr>
                                        <p:cTn id="113" dur="1000" fill="hold"/>
                                        <p:tgtEl>
                                          <p:spTgt spid="21"/>
                                        </p:tgtEl>
                                        <p:attrNameLst>
                                          <p:attrName>ppt_x</p:attrName>
                                        </p:attrNameLst>
                                      </p:cBhvr>
                                      <p:tavLst>
                                        <p:tav tm="0">
                                          <p:val>
                                            <p:strVal val="#ppt_x"/>
                                          </p:val>
                                        </p:tav>
                                        <p:tav tm="100000">
                                          <p:val>
                                            <p:strVal val="#ppt_x"/>
                                          </p:val>
                                        </p:tav>
                                      </p:tavLst>
                                    </p:anim>
                                    <p:anim calcmode="lin" valueType="num">
                                      <p:cBhvr>
                                        <p:cTn id="114" dur="1000" fill="hold"/>
                                        <p:tgtEl>
                                          <p:spTgt spid="21"/>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60"/>
                                        </p:tgtEl>
                                        <p:attrNameLst>
                                          <p:attrName>style.visibility</p:attrName>
                                        </p:attrNameLst>
                                      </p:cBhvr>
                                      <p:to>
                                        <p:strVal val="visible"/>
                                      </p:to>
                                    </p:set>
                                    <p:animEffect transition="in" filter="fade">
                                      <p:cBhvr>
                                        <p:cTn id="117" dur="1000"/>
                                        <p:tgtEl>
                                          <p:spTgt spid="60"/>
                                        </p:tgtEl>
                                      </p:cBhvr>
                                    </p:animEffect>
                                    <p:anim calcmode="lin" valueType="num">
                                      <p:cBhvr>
                                        <p:cTn id="118" dur="1000" fill="hold"/>
                                        <p:tgtEl>
                                          <p:spTgt spid="60"/>
                                        </p:tgtEl>
                                        <p:attrNameLst>
                                          <p:attrName>ppt_x</p:attrName>
                                        </p:attrNameLst>
                                      </p:cBhvr>
                                      <p:tavLst>
                                        <p:tav tm="0">
                                          <p:val>
                                            <p:strVal val="#ppt_x"/>
                                          </p:val>
                                        </p:tav>
                                        <p:tav tm="100000">
                                          <p:val>
                                            <p:strVal val="#ppt_x"/>
                                          </p:val>
                                        </p:tav>
                                      </p:tavLst>
                                    </p:anim>
                                    <p:anim calcmode="lin" valueType="num">
                                      <p:cBhvr>
                                        <p:cTn id="119" dur="1000" fill="hold"/>
                                        <p:tgtEl>
                                          <p:spTgt spid="60"/>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61"/>
                                        </p:tgtEl>
                                        <p:attrNameLst>
                                          <p:attrName>style.visibility</p:attrName>
                                        </p:attrNameLst>
                                      </p:cBhvr>
                                      <p:to>
                                        <p:strVal val="visible"/>
                                      </p:to>
                                    </p:set>
                                    <p:animEffect transition="in" filter="fade">
                                      <p:cBhvr>
                                        <p:cTn id="122" dur="1000"/>
                                        <p:tgtEl>
                                          <p:spTgt spid="61"/>
                                        </p:tgtEl>
                                      </p:cBhvr>
                                    </p:animEffect>
                                    <p:anim calcmode="lin" valueType="num">
                                      <p:cBhvr>
                                        <p:cTn id="123" dur="1000" fill="hold"/>
                                        <p:tgtEl>
                                          <p:spTgt spid="61"/>
                                        </p:tgtEl>
                                        <p:attrNameLst>
                                          <p:attrName>ppt_x</p:attrName>
                                        </p:attrNameLst>
                                      </p:cBhvr>
                                      <p:tavLst>
                                        <p:tav tm="0">
                                          <p:val>
                                            <p:strVal val="#ppt_x"/>
                                          </p:val>
                                        </p:tav>
                                        <p:tav tm="100000">
                                          <p:val>
                                            <p:strVal val="#ppt_x"/>
                                          </p:val>
                                        </p:tav>
                                      </p:tavLst>
                                    </p:anim>
                                    <p:anim calcmode="lin" valueType="num">
                                      <p:cBhvr>
                                        <p:cTn id="124" dur="1000" fill="hold"/>
                                        <p:tgtEl>
                                          <p:spTgt spid="61"/>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62"/>
                                        </p:tgtEl>
                                        <p:attrNameLst>
                                          <p:attrName>style.visibility</p:attrName>
                                        </p:attrNameLst>
                                      </p:cBhvr>
                                      <p:to>
                                        <p:strVal val="visible"/>
                                      </p:to>
                                    </p:set>
                                    <p:animEffect transition="in" filter="fade">
                                      <p:cBhvr>
                                        <p:cTn id="127" dur="1000"/>
                                        <p:tgtEl>
                                          <p:spTgt spid="62"/>
                                        </p:tgtEl>
                                      </p:cBhvr>
                                    </p:animEffect>
                                    <p:anim calcmode="lin" valueType="num">
                                      <p:cBhvr>
                                        <p:cTn id="128" dur="1000" fill="hold"/>
                                        <p:tgtEl>
                                          <p:spTgt spid="62"/>
                                        </p:tgtEl>
                                        <p:attrNameLst>
                                          <p:attrName>ppt_x</p:attrName>
                                        </p:attrNameLst>
                                      </p:cBhvr>
                                      <p:tavLst>
                                        <p:tav tm="0">
                                          <p:val>
                                            <p:strVal val="#ppt_x"/>
                                          </p:val>
                                        </p:tav>
                                        <p:tav tm="100000">
                                          <p:val>
                                            <p:strVal val="#ppt_x"/>
                                          </p:val>
                                        </p:tav>
                                      </p:tavLst>
                                    </p:anim>
                                    <p:anim calcmode="lin" valueType="num">
                                      <p:cBhvr>
                                        <p:cTn id="129" dur="1000" fill="hold"/>
                                        <p:tgtEl>
                                          <p:spTgt spid="62"/>
                                        </p:tgtEl>
                                        <p:attrNameLst>
                                          <p:attrName>ppt_y</p:attrName>
                                        </p:attrNameLst>
                                      </p:cBhvr>
                                      <p:tavLst>
                                        <p:tav tm="0">
                                          <p:val>
                                            <p:strVal val="#ppt_y+.1"/>
                                          </p:val>
                                        </p:tav>
                                        <p:tav tm="100000">
                                          <p:val>
                                            <p:strVal val="#ppt_y"/>
                                          </p:val>
                                        </p:tav>
                                      </p:tavLst>
                                    </p:anim>
                                  </p:childTnLst>
                                </p:cTn>
                              </p:par>
                              <p:par>
                                <p:cTn id="130" presetID="42" presetClass="entr" presetSubtype="0" fill="hold" grpId="0" nodeType="withEffect">
                                  <p:stCondLst>
                                    <p:cond delay="0"/>
                                  </p:stCondLst>
                                  <p:childTnLst>
                                    <p:set>
                                      <p:cBhvr>
                                        <p:cTn id="131" dur="1" fill="hold">
                                          <p:stCondLst>
                                            <p:cond delay="0"/>
                                          </p:stCondLst>
                                        </p:cTn>
                                        <p:tgtEl>
                                          <p:spTgt spid="22"/>
                                        </p:tgtEl>
                                        <p:attrNameLst>
                                          <p:attrName>style.visibility</p:attrName>
                                        </p:attrNameLst>
                                      </p:cBhvr>
                                      <p:to>
                                        <p:strVal val="visible"/>
                                      </p:to>
                                    </p:set>
                                    <p:animEffect transition="in" filter="fade">
                                      <p:cBhvr>
                                        <p:cTn id="132" dur="1000"/>
                                        <p:tgtEl>
                                          <p:spTgt spid="22"/>
                                        </p:tgtEl>
                                      </p:cBhvr>
                                    </p:animEffect>
                                    <p:anim calcmode="lin" valueType="num">
                                      <p:cBhvr>
                                        <p:cTn id="133" dur="1000" fill="hold"/>
                                        <p:tgtEl>
                                          <p:spTgt spid="22"/>
                                        </p:tgtEl>
                                        <p:attrNameLst>
                                          <p:attrName>ppt_x</p:attrName>
                                        </p:attrNameLst>
                                      </p:cBhvr>
                                      <p:tavLst>
                                        <p:tav tm="0">
                                          <p:val>
                                            <p:strVal val="#ppt_x"/>
                                          </p:val>
                                        </p:tav>
                                        <p:tav tm="100000">
                                          <p:val>
                                            <p:strVal val="#ppt_x"/>
                                          </p:val>
                                        </p:tav>
                                      </p:tavLst>
                                    </p:anim>
                                    <p:anim calcmode="lin" valueType="num">
                                      <p:cBhvr>
                                        <p:cTn id="134" dur="1000" fill="hold"/>
                                        <p:tgtEl>
                                          <p:spTgt spid="22"/>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25"/>
                                        </p:tgtEl>
                                        <p:attrNameLst>
                                          <p:attrName>style.visibility</p:attrName>
                                        </p:attrNameLst>
                                      </p:cBhvr>
                                      <p:to>
                                        <p:strVal val="visible"/>
                                      </p:to>
                                    </p:set>
                                    <p:animEffect transition="in" filter="fade">
                                      <p:cBhvr>
                                        <p:cTn id="137" dur="1000"/>
                                        <p:tgtEl>
                                          <p:spTgt spid="25"/>
                                        </p:tgtEl>
                                      </p:cBhvr>
                                    </p:animEffect>
                                    <p:anim calcmode="lin" valueType="num">
                                      <p:cBhvr>
                                        <p:cTn id="138" dur="1000" fill="hold"/>
                                        <p:tgtEl>
                                          <p:spTgt spid="25"/>
                                        </p:tgtEl>
                                        <p:attrNameLst>
                                          <p:attrName>ppt_x</p:attrName>
                                        </p:attrNameLst>
                                      </p:cBhvr>
                                      <p:tavLst>
                                        <p:tav tm="0">
                                          <p:val>
                                            <p:strVal val="#ppt_x"/>
                                          </p:val>
                                        </p:tav>
                                        <p:tav tm="100000">
                                          <p:val>
                                            <p:strVal val="#ppt_x"/>
                                          </p:val>
                                        </p:tav>
                                      </p:tavLst>
                                    </p:anim>
                                    <p:anim calcmode="lin" valueType="num">
                                      <p:cBhvr>
                                        <p:cTn id="139"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40" fill="hold">
                      <p:stCondLst>
                        <p:cond delay="indefinite"/>
                      </p:stCondLst>
                      <p:childTnLst>
                        <p:par>
                          <p:cTn id="141" fill="hold">
                            <p:stCondLst>
                              <p:cond delay="0"/>
                            </p:stCondLst>
                            <p:childTnLst>
                              <p:par>
                                <p:cTn id="142" presetID="42" presetClass="entr" presetSubtype="0" fill="hold" grpId="0" nodeType="clickEffect">
                                  <p:stCondLst>
                                    <p:cond delay="0"/>
                                  </p:stCondLst>
                                  <p:childTnLst>
                                    <p:set>
                                      <p:cBhvr>
                                        <p:cTn id="143" dur="1" fill="hold">
                                          <p:stCondLst>
                                            <p:cond delay="0"/>
                                          </p:stCondLst>
                                        </p:cTn>
                                        <p:tgtEl>
                                          <p:spTgt spid="26"/>
                                        </p:tgtEl>
                                        <p:attrNameLst>
                                          <p:attrName>style.visibility</p:attrName>
                                        </p:attrNameLst>
                                      </p:cBhvr>
                                      <p:to>
                                        <p:strVal val="visible"/>
                                      </p:to>
                                    </p:set>
                                    <p:animEffect transition="in" filter="fade">
                                      <p:cBhvr>
                                        <p:cTn id="144" dur="1000"/>
                                        <p:tgtEl>
                                          <p:spTgt spid="26"/>
                                        </p:tgtEl>
                                      </p:cBhvr>
                                    </p:animEffect>
                                    <p:anim calcmode="lin" valueType="num">
                                      <p:cBhvr>
                                        <p:cTn id="145" dur="1000" fill="hold"/>
                                        <p:tgtEl>
                                          <p:spTgt spid="26"/>
                                        </p:tgtEl>
                                        <p:attrNameLst>
                                          <p:attrName>ppt_x</p:attrName>
                                        </p:attrNameLst>
                                      </p:cBhvr>
                                      <p:tavLst>
                                        <p:tav tm="0">
                                          <p:val>
                                            <p:strVal val="#ppt_x"/>
                                          </p:val>
                                        </p:tav>
                                        <p:tav tm="100000">
                                          <p:val>
                                            <p:strVal val="#ppt_x"/>
                                          </p:val>
                                        </p:tav>
                                      </p:tavLst>
                                    </p:anim>
                                    <p:anim calcmode="lin" valueType="num">
                                      <p:cBhvr>
                                        <p:cTn id="146" dur="1000" fill="hold"/>
                                        <p:tgtEl>
                                          <p:spTgt spid="26"/>
                                        </p:tgtEl>
                                        <p:attrNameLst>
                                          <p:attrName>ppt_y</p:attrName>
                                        </p:attrNameLst>
                                      </p:cBhvr>
                                      <p:tavLst>
                                        <p:tav tm="0">
                                          <p:val>
                                            <p:strVal val="#ppt_y+.1"/>
                                          </p:val>
                                        </p:tav>
                                        <p:tav tm="100000">
                                          <p:val>
                                            <p:strVal val="#ppt_y"/>
                                          </p:val>
                                        </p:tav>
                                      </p:tavLst>
                                    </p:anim>
                                  </p:childTnLst>
                                </p:cTn>
                              </p:par>
                              <p:par>
                                <p:cTn id="147" presetID="42" presetClass="entr" presetSubtype="0" fill="hold" grpId="0" nodeType="withEffect">
                                  <p:stCondLst>
                                    <p:cond delay="0"/>
                                  </p:stCondLst>
                                  <p:childTnLst>
                                    <p:set>
                                      <p:cBhvr>
                                        <p:cTn id="148" dur="1" fill="hold">
                                          <p:stCondLst>
                                            <p:cond delay="0"/>
                                          </p:stCondLst>
                                        </p:cTn>
                                        <p:tgtEl>
                                          <p:spTgt spid="24"/>
                                        </p:tgtEl>
                                        <p:attrNameLst>
                                          <p:attrName>style.visibility</p:attrName>
                                        </p:attrNameLst>
                                      </p:cBhvr>
                                      <p:to>
                                        <p:strVal val="visible"/>
                                      </p:to>
                                    </p:set>
                                    <p:animEffect transition="in" filter="fade">
                                      <p:cBhvr>
                                        <p:cTn id="149" dur="1000"/>
                                        <p:tgtEl>
                                          <p:spTgt spid="24"/>
                                        </p:tgtEl>
                                      </p:cBhvr>
                                    </p:animEffect>
                                    <p:anim calcmode="lin" valueType="num">
                                      <p:cBhvr>
                                        <p:cTn id="150" dur="1000" fill="hold"/>
                                        <p:tgtEl>
                                          <p:spTgt spid="24"/>
                                        </p:tgtEl>
                                        <p:attrNameLst>
                                          <p:attrName>ppt_x</p:attrName>
                                        </p:attrNameLst>
                                      </p:cBhvr>
                                      <p:tavLst>
                                        <p:tav tm="0">
                                          <p:val>
                                            <p:strVal val="#ppt_x"/>
                                          </p:val>
                                        </p:tav>
                                        <p:tav tm="100000">
                                          <p:val>
                                            <p:strVal val="#ppt_x"/>
                                          </p:val>
                                        </p:tav>
                                      </p:tavLst>
                                    </p:anim>
                                    <p:anim calcmode="lin" valueType="num">
                                      <p:cBhvr>
                                        <p:cTn id="151" dur="1000" fill="hold"/>
                                        <p:tgtEl>
                                          <p:spTgt spid="24"/>
                                        </p:tgtEl>
                                        <p:attrNameLst>
                                          <p:attrName>ppt_y</p:attrName>
                                        </p:attrNameLst>
                                      </p:cBhvr>
                                      <p:tavLst>
                                        <p:tav tm="0">
                                          <p:val>
                                            <p:strVal val="#ppt_y+.1"/>
                                          </p:val>
                                        </p:tav>
                                        <p:tav tm="100000">
                                          <p:val>
                                            <p:strVal val="#ppt_y"/>
                                          </p:val>
                                        </p:tav>
                                      </p:tavLst>
                                    </p:anim>
                                  </p:childTnLst>
                                </p:cTn>
                              </p:par>
                              <p:par>
                                <p:cTn id="152" presetID="42" presetClass="entr" presetSubtype="0" fill="hold" grpId="0" nodeType="withEffect">
                                  <p:stCondLst>
                                    <p:cond delay="0"/>
                                  </p:stCondLst>
                                  <p:childTnLst>
                                    <p:set>
                                      <p:cBhvr>
                                        <p:cTn id="153" dur="1" fill="hold">
                                          <p:stCondLst>
                                            <p:cond delay="0"/>
                                          </p:stCondLst>
                                        </p:cTn>
                                        <p:tgtEl>
                                          <p:spTgt spid="63"/>
                                        </p:tgtEl>
                                        <p:attrNameLst>
                                          <p:attrName>style.visibility</p:attrName>
                                        </p:attrNameLst>
                                      </p:cBhvr>
                                      <p:to>
                                        <p:strVal val="visible"/>
                                      </p:to>
                                    </p:set>
                                    <p:animEffect transition="in" filter="fade">
                                      <p:cBhvr>
                                        <p:cTn id="154" dur="1000"/>
                                        <p:tgtEl>
                                          <p:spTgt spid="63"/>
                                        </p:tgtEl>
                                      </p:cBhvr>
                                    </p:animEffect>
                                    <p:anim calcmode="lin" valueType="num">
                                      <p:cBhvr>
                                        <p:cTn id="155" dur="1000" fill="hold"/>
                                        <p:tgtEl>
                                          <p:spTgt spid="63"/>
                                        </p:tgtEl>
                                        <p:attrNameLst>
                                          <p:attrName>ppt_x</p:attrName>
                                        </p:attrNameLst>
                                      </p:cBhvr>
                                      <p:tavLst>
                                        <p:tav tm="0">
                                          <p:val>
                                            <p:strVal val="#ppt_x"/>
                                          </p:val>
                                        </p:tav>
                                        <p:tav tm="100000">
                                          <p:val>
                                            <p:strVal val="#ppt_x"/>
                                          </p:val>
                                        </p:tav>
                                      </p:tavLst>
                                    </p:anim>
                                    <p:anim calcmode="lin" valueType="num">
                                      <p:cBhvr>
                                        <p:cTn id="156"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157" fill="hold">
                      <p:stCondLst>
                        <p:cond delay="indefinite"/>
                      </p:stCondLst>
                      <p:childTnLst>
                        <p:par>
                          <p:cTn id="158" fill="hold">
                            <p:stCondLst>
                              <p:cond delay="0"/>
                            </p:stCondLst>
                            <p:childTnLst>
                              <p:par>
                                <p:cTn id="159" presetID="10" presetClass="entr" presetSubtype="0" fill="hold" grpId="0" nodeType="clickEffect">
                                  <p:stCondLst>
                                    <p:cond delay="0"/>
                                  </p:stCondLst>
                                  <p:childTnLst>
                                    <p:set>
                                      <p:cBhvr>
                                        <p:cTn id="160" dur="1" fill="hold">
                                          <p:stCondLst>
                                            <p:cond delay="0"/>
                                          </p:stCondLst>
                                        </p:cTn>
                                        <p:tgtEl>
                                          <p:spTgt spid="35"/>
                                        </p:tgtEl>
                                        <p:attrNameLst>
                                          <p:attrName>style.visibility</p:attrName>
                                        </p:attrNameLst>
                                      </p:cBhvr>
                                      <p:to>
                                        <p:strVal val="visible"/>
                                      </p:to>
                                    </p:set>
                                    <p:animEffect transition="in" filter="fade">
                                      <p:cBhvr>
                                        <p:cTn id="161" dur="500"/>
                                        <p:tgtEl>
                                          <p:spTgt spid="35"/>
                                        </p:tgtEl>
                                      </p:cBhvr>
                                    </p:animEffect>
                                  </p:childTnLst>
                                </p:cTn>
                              </p:par>
                              <p:par>
                                <p:cTn id="162" presetID="10" presetClass="entr" presetSubtype="0" fill="hold" grpId="0" nodeType="withEffect">
                                  <p:stCondLst>
                                    <p:cond delay="0"/>
                                  </p:stCondLst>
                                  <p:childTnLst>
                                    <p:set>
                                      <p:cBhvr>
                                        <p:cTn id="163" dur="1" fill="hold">
                                          <p:stCondLst>
                                            <p:cond delay="0"/>
                                          </p:stCondLst>
                                        </p:cTn>
                                        <p:tgtEl>
                                          <p:spTgt spid="64"/>
                                        </p:tgtEl>
                                        <p:attrNameLst>
                                          <p:attrName>style.visibility</p:attrName>
                                        </p:attrNameLst>
                                      </p:cBhvr>
                                      <p:to>
                                        <p:strVal val="visible"/>
                                      </p:to>
                                    </p:set>
                                    <p:animEffect transition="in" filter="fade">
                                      <p:cBhvr>
                                        <p:cTn id="164"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animBg="1"/>
      <p:bldP spid="8" grpId="0" animBg="1"/>
      <p:bldP spid="9" grpId="0" animBg="1"/>
      <p:bldP spid="10" grpId="0" animBg="1"/>
      <p:bldP spid="34" grpId="0" animBg="1"/>
      <p:bldP spid="11" grpId="0" animBg="1"/>
      <p:bldP spid="51" grpId="0" animBg="1"/>
      <p:bldP spid="52" grpId="0" animBg="1"/>
      <p:bldP spid="53" grpId="0" animBg="1"/>
      <p:bldP spid="12" grpId="0"/>
      <p:bldP spid="14" grpId="0"/>
      <p:bldP spid="16" grpId="0" animBg="1"/>
      <p:bldP spid="18" grpId="0"/>
      <p:bldP spid="19" grpId="0" animBg="1"/>
      <p:bldP spid="54" grpId="0" animBg="1"/>
      <p:bldP spid="55" grpId="0" animBg="1"/>
      <p:bldP spid="56" grpId="0" animBg="1"/>
      <p:bldP spid="20" grpId="0" animBg="1"/>
      <p:bldP spid="57" grpId="0" animBg="1"/>
      <p:bldP spid="58" grpId="0" animBg="1"/>
      <p:bldP spid="59" grpId="0" animBg="1"/>
      <p:bldP spid="21" grpId="0"/>
      <p:bldP spid="60" grpId="0"/>
      <p:bldP spid="61" grpId="0"/>
      <p:bldP spid="62" grpId="0"/>
      <p:bldP spid="22" grpId="0" animBg="1"/>
      <p:bldP spid="24" grpId="0" animBg="1"/>
      <p:bldP spid="25" grpId="0"/>
      <p:bldP spid="63" grpId="0"/>
      <p:bldP spid="26" grpId="0" animBg="1"/>
      <p:bldP spid="35" grpId="0"/>
      <p:bldP spid="6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85800" y="1371600"/>
            <a:ext cx="1447800" cy="338554"/>
          </a:xfrm>
          <a:prstGeom prst="rect">
            <a:avLst/>
          </a:prstGeom>
          <a:noFill/>
        </p:spPr>
        <p:txBody>
          <a:bodyPr wrap="square" rtlCol="0">
            <a:spAutoFit/>
          </a:bodyPr>
          <a:lstStyle/>
          <a:p>
            <a:r>
              <a:rPr lang="en-US" sz="1600" dirty="0" smtClean="0">
                <a:solidFill>
                  <a:schemeClr val="tx2">
                    <a:lumMod val="50000"/>
                  </a:schemeClr>
                </a:solidFill>
              </a:rPr>
              <a:t>Connectivity : </a:t>
            </a:r>
          </a:p>
        </p:txBody>
      </p:sp>
      <p:sp>
        <p:nvSpPr>
          <p:cNvPr id="15" name="Title 3"/>
          <p:cNvSpPr txBox="1">
            <a:spLocks/>
          </p:cNvSpPr>
          <p:nvPr/>
        </p:nvSpPr>
        <p:spPr>
          <a:xfrm>
            <a:off x="304800" y="433322"/>
            <a:ext cx="8915040" cy="313932"/>
          </a:xfrm>
          <a:prstGeom prst="rect">
            <a:avLst/>
          </a:prstGeom>
        </p:spPr>
        <p:txBody>
          <a:bodyPr vert="horz" lIns="0" tIns="0" rIns="0" bIns="0" rtlCol="0" anchor="ctr">
            <a:spAutoFit/>
          </a:bodyPr>
          <a:lstStyle>
            <a:lvl1pPr algn="l" defTabSz="914342" rtl="0" eaLnBrk="1" latinLnBrk="0" hangingPunct="1">
              <a:lnSpc>
                <a:spcPct val="85000"/>
              </a:lnSpc>
              <a:spcBef>
                <a:spcPct val="0"/>
              </a:spcBef>
              <a:buNone/>
              <a:defRPr sz="3200" b="1" kern="1200">
                <a:solidFill>
                  <a:schemeClr val="tx1"/>
                </a:solidFill>
                <a:latin typeface="+mj-lt"/>
                <a:ea typeface="+mj-ea"/>
                <a:cs typeface="+mj-cs"/>
              </a:defRPr>
            </a:lvl1pPr>
          </a:lstStyle>
          <a:p>
            <a:r>
              <a:rPr lang="en-US" sz="2400" b="0" dirty="0" smtClean="0"/>
              <a:t>Sensors, Connectivity &amp; SAP Cloud Platform</a:t>
            </a:r>
            <a:endParaRPr lang="en-US" sz="2400" b="0" dirty="0"/>
          </a:p>
        </p:txBody>
      </p:sp>
      <p:sp>
        <p:nvSpPr>
          <p:cNvPr id="6" name="Rounded Rectangle 5"/>
          <p:cNvSpPr/>
          <p:nvPr/>
        </p:nvSpPr>
        <p:spPr>
          <a:xfrm>
            <a:off x="4495800" y="1159877"/>
            <a:ext cx="1524000" cy="76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          Bluetooth</a:t>
            </a:r>
          </a:p>
        </p:txBody>
      </p:sp>
      <p:sp>
        <p:nvSpPr>
          <p:cNvPr id="17" name="Rounded Rectangle 16"/>
          <p:cNvSpPr/>
          <p:nvPr/>
        </p:nvSpPr>
        <p:spPr>
          <a:xfrm>
            <a:off x="2590800" y="1159877"/>
            <a:ext cx="1447800" cy="76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solidFill>
                  <a:schemeClr val="tx2">
                    <a:lumMod val="50000"/>
                  </a:schemeClr>
                </a:solidFill>
              </a:rPr>
              <a:t>            Wi-Fi</a:t>
            </a:r>
          </a:p>
        </p:txBody>
      </p:sp>
      <p:sp>
        <p:nvSpPr>
          <p:cNvPr id="18" name="Rounded Rectangle 17"/>
          <p:cNvSpPr/>
          <p:nvPr/>
        </p:nvSpPr>
        <p:spPr>
          <a:xfrm>
            <a:off x="6480439" y="1155114"/>
            <a:ext cx="1447800" cy="76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          RFID</a:t>
            </a:r>
          </a:p>
        </p:txBody>
      </p:sp>
      <p:pic>
        <p:nvPicPr>
          <p:cNvPr id="8" name="Picture 7"/>
          <p:cNvPicPr>
            <a:picLocks noChangeAspect="1"/>
          </p:cNvPicPr>
          <p:nvPr/>
        </p:nvPicPr>
        <p:blipFill>
          <a:blip r:embed="rId2"/>
          <a:stretch>
            <a:fillRect/>
          </a:stretch>
        </p:blipFill>
        <p:spPr>
          <a:xfrm>
            <a:off x="2667000" y="1305133"/>
            <a:ext cx="542051" cy="471488"/>
          </a:xfrm>
          <a:prstGeom prst="rect">
            <a:avLst/>
          </a:prstGeom>
        </p:spPr>
      </p:pic>
      <p:pic>
        <p:nvPicPr>
          <p:cNvPr id="9" name="Picture 8"/>
          <p:cNvPicPr>
            <a:picLocks noChangeAspect="1"/>
          </p:cNvPicPr>
          <p:nvPr/>
        </p:nvPicPr>
        <p:blipFill>
          <a:blip r:embed="rId3"/>
          <a:stretch>
            <a:fillRect/>
          </a:stretch>
        </p:blipFill>
        <p:spPr>
          <a:xfrm>
            <a:off x="4537159" y="1265704"/>
            <a:ext cx="524429" cy="512233"/>
          </a:xfrm>
          <a:prstGeom prst="rect">
            <a:avLst/>
          </a:prstGeom>
        </p:spPr>
      </p:pic>
      <p:pic>
        <p:nvPicPr>
          <p:cNvPr id="11" name="Picture 10"/>
          <p:cNvPicPr>
            <a:picLocks noChangeAspect="1"/>
          </p:cNvPicPr>
          <p:nvPr/>
        </p:nvPicPr>
        <p:blipFill>
          <a:blip r:embed="rId4"/>
          <a:stretch>
            <a:fillRect/>
          </a:stretch>
        </p:blipFill>
        <p:spPr>
          <a:xfrm>
            <a:off x="6563419" y="1313696"/>
            <a:ext cx="481013" cy="481013"/>
          </a:xfrm>
          <a:prstGeom prst="rect">
            <a:avLst/>
          </a:prstGeom>
        </p:spPr>
      </p:pic>
      <p:sp>
        <p:nvSpPr>
          <p:cNvPr id="13" name="TextBox 12"/>
          <p:cNvSpPr txBox="1"/>
          <p:nvPr/>
        </p:nvSpPr>
        <p:spPr>
          <a:xfrm>
            <a:off x="304800" y="2209800"/>
            <a:ext cx="5105400" cy="3754874"/>
          </a:xfrm>
          <a:prstGeom prst="rect">
            <a:avLst/>
          </a:prstGeom>
          <a:noFill/>
        </p:spPr>
        <p:txBody>
          <a:bodyPr wrap="square" rtlCol="0">
            <a:spAutoFit/>
          </a:bodyPr>
          <a:lstStyle/>
          <a:p>
            <a:pPr marL="285750" indent="-285750">
              <a:buFont typeface="Wingdings" panose="05000000000000000000" pitchFamily="2" charset="2"/>
              <a:buChar char="Ø"/>
            </a:pPr>
            <a:r>
              <a:rPr lang="en-IN" sz="1400" dirty="0" smtClean="0">
                <a:solidFill>
                  <a:schemeClr val="tx2">
                    <a:lumMod val="50000"/>
                  </a:schemeClr>
                </a:solidFill>
              </a:rPr>
              <a:t>Cloud Connected</a:t>
            </a:r>
          </a:p>
          <a:p>
            <a:pPr marL="764628" lvl="1" indent="-285750">
              <a:buFont typeface="Arial" panose="020B0604020202020204" pitchFamily="34" charset="0"/>
              <a:buChar char="•"/>
            </a:pPr>
            <a:r>
              <a:rPr lang="en-IN" sz="1400" dirty="0" smtClean="0"/>
              <a:t>A </a:t>
            </a:r>
            <a:r>
              <a:rPr lang="en-IN" sz="1400" i="1" dirty="0">
                <a:solidFill>
                  <a:schemeClr val="accent1">
                    <a:lumMod val="60000"/>
                    <a:lumOff val="40000"/>
                  </a:schemeClr>
                </a:solidFill>
              </a:rPr>
              <a:t>directly connected</a:t>
            </a:r>
            <a:r>
              <a:rPr lang="en-IN" sz="1400" i="1" dirty="0"/>
              <a:t> </a:t>
            </a:r>
            <a:r>
              <a:rPr lang="en-IN" sz="1400" dirty="0"/>
              <a:t>sensor can connect to </a:t>
            </a:r>
            <a:r>
              <a:rPr lang="en-IN" sz="1400" dirty="0" smtClean="0"/>
              <a:t>back-end systems and </a:t>
            </a:r>
            <a:r>
              <a:rPr lang="en-IN" sz="1400" dirty="0"/>
              <a:t>send data using high-speed Internet</a:t>
            </a:r>
            <a:r>
              <a:rPr lang="en-IN" sz="1400" dirty="0" smtClean="0"/>
              <a:t>.</a:t>
            </a:r>
          </a:p>
          <a:p>
            <a:pPr lvl="1"/>
            <a:endParaRPr lang="en-IN" sz="1400" dirty="0" smtClean="0"/>
          </a:p>
          <a:p>
            <a:pPr marL="764628" lvl="1" indent="-285750">
              <a:buFont typeface="Arial" panose="020B0604020202020204" pitchFamily="34" charset="0"/>
              <a:buChar char="•"/>
            </a:pPr>
            <a:r>
              <a:rPr lang="en-IN" sz="1400" dirty="0">
                <a:latin typeface="Arial" panose="020B0604020202020204" pitchFamily="34" charset="0"/>
              </a:rPr>
              <a:t>These types of sensors are based on Wi-Fi, 2G, 3G, 4G LTE, etc</a:t>
            </a:r>
            <a:r>
              <a:rPr lang="en-IN" sz="1400" dirty="0" smtClean="0">
                <a:latin typeface="Arial" panose="020B0604020202020204" pitchFamily="34" charset="0"/>
              </a:rPr>
              <a:t>.</a:t>
            </a:r>
          </a:p>
          <a:p>
            <a:pPr marL="764628" lvl="1" indent="-285750">
              <a:buFont typeface="Arial" panose="020B0604020202020204" pitchFamily="34" charset="0"/>
              <a:buChar char="•"/>
            </a:pPr>
            <a:endParaRPr lang="en-IN" sz="1400" dirty="0">
              <a:solidFill>
                <a:schemeClr val="tx2">
                  <a:lumMod val="50000"/>
                </a:schemeClr>
              </a:solidFill>
              <a:latin typeface="Arial" panose="020B0604020202020204" pitchFamily="34" charset="0"/>
            </a:endParaRPr>
          </a:p>
          <a:p>
            <a:pPr marL="764628" lvl="1" indent="-285750">
              <a:buFont typeface="Arial" panose="020B0604020202020204" pitchFamily="34" charset="0"/>
              <a:buChar char="•"/>
            </a:pPr>
            <a:endParaRPr lang="en-IN" sz="1400" dirty="0" smtClean="0">
              <a:solidFill>
                <a:schemeClr val="tx2">
                  <a:lumMod val="50000"/>
                </a:schemeClr>
              </a:solidFill>
            </a:endParaRPr>
          </a:p>
          <a:p>
            <a:pPr marL="764628" lvl="1" indent="-285750">
              <a:buFont typeface="Arial" panose="020B0604020202020204" pitchFamily="34" charset="0"/>
              <a:buChar char="•"/>
            </a:pPr>
            <a:endParaRPr lang="en-IN" sz="1400" dirty="0">
              <a:solidFill>
                <a:schemeClr val="tx2">
                  <a:lumMod val="50000"/>
                </a:schemeClr>
              </a:solidFill>
            </a:endParaRPr>
          </a:p>
          <a:p>
            <a:pPr marL="764628" lvl="1" indent="-285750">
              <a:buFont typeface="Arial" panose="020B0604020202020204" pitchFamily="34" charset="0"/>
              <a:buChar char="•"/>
            </a:pPr>
            <a:endParaRPr lang="en-IN" sz="1400" dirty="0">
              <a:solidFill>
                <a:schemeClr val="tx2">
                  <a:lumMod val="50000"/>
                </a:schemeClr>
              </a:solidFill>
            </a:endParaRPr>
          </a:p>
          <a:p>
            <a:pPr marL="285750" indent="-285750">
              <a:buFont typeface="Wingdings" panose="05000000000000000000" pitchFamily="2" charset="2"/>
              <a:buChar char="Ø"/>
            </a:pPr>
            <a:r>
              <a:rPr lang="en-IN" sz="1400" dirty="0" smtClean="0">
                <a:solidFill>
                  <a:schemeClr val="tx2">
                    <a:lumMod val="50000"/>
                  </a:schemeClr>
                </a:solidFill>
                <a:latin typeface="Arial" panose="020B0604020202020204" pitchFamily="34" charset="0"/>
              </a:rPr>
              <a:t>Locally Connected</a:t>
            </a:r>
          </a:p>
          <a:p>
            <a:pPr marL="764628" lvl="1" indent="-285750">
              <a:buFont typeface="Arial" panose="020B0604020202020204" pitchFamily="34" charset="0"/>
              <a:buChar char="•"/>
            </a:pPr>
            <a:r>
              <a:rPr lang="en-IN" sz="1400" dirty="0" smtClean="0">
                <a:latin typeface="Arial" panose="020B0604020202020204" pitchFamily="34" charset="0"/>
              </a:rPr>
              <a:t>A </a:t>
            </a:r>
            <a:r>
              <a:rPr lang="en-IN" sz="1400" i="1" dirty="0">
                <a:solidFill>
                  <a:schemeClr val="accent1">
                    <a:lumMod val="60000"/>
                    <a:lumOff val="40000"/>
                  </a:schemeClr>
                </a:solidFill>
                <a:latin typeface="Arial" panose="020B0604020202020204" pitchFamily="34" charset="0"/>
              </a:rPr>
              <a:t>locally connected </a:t>
            </a:r>
            <a:r>
              <a:rPr lang="en-IN" sz="1400" dirty="0">
                <a:latin typeface="Arial" panose="020B0604020202020204" pitchFamily="34" charset="0"/>
              </a:rPr>
              <a:t>sensor depends on nearby </a:t>
            </a:r>
            <a:r>
              <a:rPr lang="en-IN" sz="1400" dirty="0" smtClean="0">
                <a:latin typeface="Arial" panose="020B0604020202020204" pitchFamily="34" charset="0"/>
              </a:rPr>
              <a:t>gateways, smartphones</a:t>
            </a:r>
            <a:r>
              <a:rPr lang="en-IN" sz="1400" dirty="0">
                <a:latin typeface="Arial" panose="020B0604020202020204" pitchFamily="34" charset="0"/>
              </a:rPr>
              <a:t>, or other means to </a:t>
            </a:r>
            <a:r>
              <a:rPr lang="en-IN" sz="1400" dirty="0" smtClean="0">
                <a:latin typeface="Arial" panose="020B0604020202020204" pitchFamily="34" charset="0"/>
              </a:rPr>
              <a:t>deliver messages to back-end </a:t>
            </a:r>
            <a:r>
              <a:rPr lang="en-IN" sz="1400" dirty="0">
                <a:latin typeface="Arial" panose="020B0604020202020204" pitchFamily="34" charset="0"/>
              </a:rPr>
              <a:t>systems</a:t>
            </a:r>
            <a:r>
              <a:rPr lang="en-IN" sz="1400" dirty="0" smtClean="0">
                <a:latin typeface="Arial" panose="020B0604020202020204" pitchFamily="34" charset="0"/>
              </a:rPr>
              <a:t>.</a:t>
            </a:r>
          </a:p>
          <a:p>
            <a:pPr marL="764628" lvl="1" indent="-285750">
              <a:buFont typeface="Arial" panose="020B0604020202020204" pitchFamily="34" charset="0"/>
              <a:buChar char="•"/>
            </a:pPr>
            <a:endParaRPr lang="en-IN" sz="1400" dirty="0">
              <a:solidFill>
                <a:schemeClr val="tx2">
                  <a:lumMod val="50000"/>
                </a:schemeClr>
              </a:solidFill>
              <a:latin typeface="Arial" panose="020B0604020202020204" pitchFamily="34" charset="0"/>
            </a:endParaRPr>
          </a:p>
          <a:p>
            <a:pPr marL="764628" lvl="1" indent="-285750">
              <a:buFont typeface="Arial" panose="020B0604020202020204" pitchFamily="34" charset="0"/>
              <a:buChar char="•"/>
            </a:pPr>
            <a:r>
              <a:rPr lang="en-IN" sz="1400" dirty="0">
                <a:latin typeface="Arial" panose="020B0604020202020204" pitchFamily="34" charset="0"/>
              </a:rPr>
              <a:t>These sensors are based on Bluetooth/BLE or </a:t>
            </a:r>
            <a:r>
              <a:rPr lang="en-IN" sz="1400" dirty="0" err="1">
                <a:latin typeface="Arial" panose="020B0604020202020204" pitchFamily="34" charset="0"/>
              </a:rPr>
              <a:t>ZigBee</a:t>
            </a:r>
            <a:r>
              <a:rPr lang="en-IN" sz="1400" dirty="0">
                <a:latin typeface="Arial" panose="020B0604020202020204" pitchFamily="34" charset="0"/>
              </a:rPr>
              <a:t>.</a:t>
            </a:r>
            <a:endParaRPr lang="en-IN" sz="1400" dirty="0" smtClean="0">
              <a:solidFill>
                <a:schemeClr val="tx2">
                  <a:lumMod val="50000"/>
                </a:schemeClr>
              </a:solidFill>
              <a:latin typeface="Arial" panose="020B0604020202020204" pitchFamily="34" charset="0"/>
            </a:endParaRPr>
          </a:p>
        </p:txBody>
      </p:sp>
      <p:pic>
        <p:nvPicPr>
          <p:cNvPr id="27" name="Picture 26"/>
          <p:cNvPicPr>
            <a:picLocks noChangeAspect="1"/>
          </p:cNvPicPr>
          <p:nvPr/>
        </p:nvPicPr>
        <p:blipFill>
          <a:blip r:embed="rId5"/>
          <a:stretch>
            <a:fillRect/>
          </a:stretch>
        </p:blipFill>
        <p:spPr>
          <a:xfrm>
            <a:off x="5504220" y="3039779"/>
            <a:ext cx="1161730" cy="735762"/>
          </a:xfrm>
          <a:prstGeom prst="rect">
            <a:avLst/>
          </a:prstGeom>
        </p:spPr>
      </p:pic>
      <p:pic>
        <p:nvPicPr>
          <p:cNvPr id="28" name="Picture 27"/>
          <p:cNvPicPr>
            <a:picLocks noChangeAspect="1"/>
          </p:cNvPicPr>
          <p:nvPr/>
        </p:nvPicPr>
        <p:blipFill>
          <a:blip r:embed="rId5"/>
          <a:stretch>
            <a:fillRect/>
          </a:stretch>
        </p:blipFill>
        <p:spPr>
          <a:xfrm>
            <a:off x="5507164" y="2314676"/>
            <a:ext cx="1161730" cy="735762"/>
          </a:xfrm>
          <a:prstGeom prst="rect">
            <a:avLst/>
          </a:prstGeom>
        </p:spPr>
      </p:pic>
      <p:sp>
        <p:nvSpPr>
          <p:cNvPr id="29" name="TextBox 28"/>
          <p:cNvSpPr txBox="1"/>
          <p:nvPr/>
        </p:nvSpPr>
        <p:spPr>
          <a:xfrm rot="5400000">
            <a:off x="6042119" y="2917487"/>
            <a:ext cx="1523614" cy="276999"/>
          </a:xfrm>
          <a:prstGeom prst="rect">
            <a:avLst/>
          </a:prstGeom>
          <a:noFill/>
        </p:spPr>
        <p:txBody>
          <a:bodyPr wrap="square" rtlCol="0">
            <a:spAutoFit/>
          </a:bodyPr>
          <a:lstStyle/>
          <a:p>
            <a:r>
              <a:rPr lang="en-IN" sz="1200" dirty="0" smtClean="0"/>
              <a:t>Directly Connected</a:t>
            </a:r>
            <a:endParaRPr lang="en-IN" sz="1200" dirty="0"/>
          </a:p>
        </p:txBody>
      </p:sp>
      <p:sp>
        <p:nvSpPr>
          <p:cNvPr id="30" name="Rounded Rectangle 29"/>
          <p:cNvSpPr/>
          <p:nvPr/>
        </p:nvSpPr>
        <p:spPr>
          <a:xfrm>
            <a:off x="7670839" y="2486528"/>
            <a:ext cx="1869215" cy="276786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TextBox 30"/>
          <p:cNvSpPr txBox="1"/>
          <p:nvPr/>
        </p:nvSpPr>
        <p:spPr>
          <a:xfrm>
            <a:off x="7517877" y="2101807"/>
            <a:ext cx="2265827" cy="384721"/>
          </a:xfrm>
          <a:prstGeom prst="rect">
            <a:avLst/>
          </a:prstGeom>
          <a:noFill/>
        </p:spPr>
        <p:txBody>
          <a:bodyPr wrap="square" rtlCol="0">
            <a:spAutoFit/>
          </a:bodyPr>
          <a:lstStyle/>
          <a:p>
            <a:r>
              <a:rPr lang="en-IN" dirty="0" smtClean="0">
                <a:solidFill>
                  <a:schemeClr val="accent2">
                    <a:lumMod val="50000"/>
                  </a:schemeClr>
                </a:solidFill>
              </a:rPr>
              <a:t>Back-End Systems</a:t>
            </a:r>
            <a:endParaRPr lang="en-IN" dirty="0">
              <a:solidFill>
                <a:schemeClr val="accent2">
                  <a:lumMod val="50000"/>
                </a:schemeClr>
              </a:solidFill>
            </a:endParaRPr>
          </a:p>
        </p:txBody>
      </p:sp>
      <p:cxnSp>
        <p:nvCxnSpPr>
          <p:cNvPr id="32" name="Straight Connector 31"/>
          <p:cNvCxnSpPr/>
          <p:nvPr/>
        </p:nvCxnSpPr>
        <p:spPr>
          <a:xfrm>
            <a:off x="7685521" y="3277227"/>
            <a:ext cx="1853932" cy="33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685521" y="4057436"/>
            <a:ext cx="1853932" cy="33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8017480" y="2518394"/>
            <a:ext cx="1202360" cy="344011"/>
          </a:xfrm>
          <a:prstGeom prst="rect">
            <a:avLst/>
          </a:prstGeom>
          <a:noFill/>
        </p:spPr>
        <p:txBody>
          <a:bodyPr wrap="square" rtlCol="0">
            <a:spAutoFit/>
          </a:bodyPr>
          <a:lstStyle/>
          <a:p>
            <a:r>
              <a:rPr lang="en-IN" sz="1600" dirty="0" smtClean="0"/>
              <a:t>Business</a:t>
            </a:r>
            <a:endParaRPr lang="en-IN" sz="1600" dirty="0"/>
          </a:p>
        </p:txBody>
      </p:sp>
      <p:sp>
        <p:nvSpPr>
          <p:cNvPr id="37" name="Rectangle 36"/>
          <p:cNvSpPr/>
          <p:nvPr/>
        </p:nvSpPr>
        <p:spPr>
          <a:xfrm>
            <a:off x="8094352" y="2887360"/>
            <a:ext cx="918506" cy="241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ERP</a:t>
            </a:r>
            <a:endParaRPr lang="en-IN" sz="1600" dirty="0"/>
          </a:p>
        </p:txBody>
      </p:sp>
      <p:sp>
        <p:nvSpPr>
          <p:cNvPr id="38" name="TextBox 37"/>
          <p:cNvSpPr txBox="1"/>
          <p:nvPr/>
        </p:nvSpPr>
        <p:spPr>
          <a:xfrm>
            <a:off x="7864187" y="3308421"/>
            <a:ext cx="1481955" cy="344011"/>
          </a:xfrm>
          <a:prstGeom prst="rect">
            <a:avLst/>
          </a:prstGeom>
          <a:noFill/>
        </p:spPr>
        <p:txBody>
          <a:bodyPr wrap="square" rtlCol="0">
            <a:spAutoFit/>
          </a:bodyPr>
          <a:lstStyle/>
          <a:p>
            <a:r>
              <a:rPr lang="en-IN" sz="1600" dirty="0" smtClean="0"/>
              <a:t>IoT Platform</a:t>
            </a:r>
            <a:endParaRPr lang="en-IN" sz="1600" dirty="0"/>
          </a:p>
        </p:txBody>
      </p:sp>
      <p:sp>
        <p:nvSpPr>
          <p:cNvPr id="39" name="Rectangle 38"/>
          <p:cNvSpPr/>
          <p:nvPr/>
        </p:nvSpPr>
        <p:spPr>
          <a:xfrm>
            <a:off x="7889935" y="3677008"/>
            <a:ext cx="1428349" cy="243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t>Sensor Data</a:t>
            </a:r>
            <a:endParaRPr lang="en-IN" sz="1600" dirty="0"/>
          </a:p>
        </p:txBody>
      </p:sp>
      <p:sp>
        <p:nvSpPr>
          <p:cNvPr id="40" name="Cloud 39"/>
          <p:cNvSpPr/>
          <p:nvPr/>
        </p:nvSpPr>
        <p:spPr>
          <a:xfrm>
            <a:off x="7803477" y="4117229"/>
            <a:ext cx="445544" cy="271382"/>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TextBox 40"/>
          <p:cNvSpPr txBox="1"/>
          <p:nvPr/>
        </p:nvSpPr>
        <p:spPr>
          <a:xfrm>
            <a:off x="7641197" y="4376253"/>
            <a:ext cx="1172301" cy="344011"/>
          </a:xfrm>
          <a:prstGeom prst="rect">
            <a:avLst/>
          </a:prstGeom>
          <a:noFill/>
        </p:spPr>
        <p:txBody>
          <a:bodyPr wrap="square" rtlCol="0">
            <a:spAutoFit/>
          </a:bodyPr>
          <a:lstStyle/>
          <a:p>
            <a:r>
              <a:rPr lang="en-IN" sz="1600" dirty="0" smtClean="0"/>
              <a:t>On-Cloud</a:t>
            </a:r>
            <a:endParaRPr lang="en-IN" sz="1600" dirty="0"/>
          </a:p>
        </p:txBody>
      </p:sp>
      <p:sp>
        <p:nvSpPr>
          <p:cNvPr id="42" name="Cube 41"/>
          <p:cNvSpPr/>
          <p:nvPr/>
        </p:nvSpPr>
        <p:spPr>
          <a:xfrm>
            <a:off x="8899989" y="4124827"/>
            <a:ext cx="337658" cy="52732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3" name="TextBox 42"/>
          <p:cNvSpPr txBox="1"/>
          <p:nvPr/>
        </p:nvSpPr>
        <p:spPr>
          <a:xfrm>
            <a:off x="8242578" y="4902650"/>
            <a:ext cx="1404294" cy="344011"/>
          </a:xfrm>
          <a:prstGeom prst="rect">
            <a:avLst/>
          </a:prstGeom>
          <a:noFill/>
        </p:spPr>
        <p:txBody>
          <a:bodyPr wrap="square" rtlCol="0">
            <a:spAutoFit/>
          </a:bodyPr>
          <a:lstStyle/>
          <a:p>
            <a:r>
              <a:rPr lang="en-IN" sz="1600" dirty="0" smtClean="0"/>
              <a:t>On-Premise</a:t>
            </a:r>
            <a:endParaRPr lang="en-IN" sz="1600" dirty="0"/>
          </a:p>
        </p:txBody>
      </p:sp>
      <p:sp>
        <p:nvSpPr>
          <p:cNvPr id="44" name="Right Arrow 43"/>
          <p:cNvSpPr/>
          <p:nvPr/>
        </p:nvSpPr>
        <p:spPr>
          <a:xfrm>
            <a:off x="6922087" y="2832124"/>
            <a:ext cx="719110" cy="297199"/>
          </a:xfrm>
          <a:prstGeom prst="rightArrow">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7" name="Rounded Rectangle 46"/>
          <p:cNvSpPr/>
          <p:nvPr/>
        </p:nvSpPr>
        <p:spPr>
          <a:xfrm>
            <a:off x="5588917" y="4659251"/>
            <a:ext cx="1129228" cy="1391362"/>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8" name="TextBox 47"/>
          <p:cNvSpPr txBox="1"/>
          <p:nvPr/>
        </p:nvSpPr>
        <p:spPr>
          <a:xfrm>
            <a:off x="5577116" y="4291477"/>
            <a:ext cx="1159065" cy="384721"/>
          </a:xfrm>
          <a:prstGeom prst="rect">
            <a:avLst/>
          </a:prstGeom>
          <a:noFill/>
        </p:spPr>
        <p:txBody>
          <a:bodyPr wrap="square" rtlCol="0">
            <a:spAutoFit/>
          </a:bodyPr>
          <a:lstStyle/>
          <a:p>
            <a:r>
              <a:rPr lang="en-IN" dirty="0" smtClean="0">
                <a:solidFill>
                  <a:schemeClr val="accent6">
                    <a:lumMod val="75000"/>
                  </a:schemeClr>
                </a:solidFill>
              </a:rPr>
              <a:t>Gateway</a:t>
            </a:r>
            <a:endParaRPr lang="en-IN" dirty="0">
              <a:solidFill>
                <a:schemeClr val="accent6">
                  <a:lumMod val="75000"/>
                </a:schemeClr>
              </a:solidFill>
            </a:endParaRPr>
          </a:p>
        </p:txBody>
      </p:sp>
      <p:pic>
        <p:nvPicPr>
          <p:cNvPr id="49" name="Picture 48"/>
          <p:cNvPicPr>
            <a:picLocks noChangeAspect="1"/>
          </p:cNvPicPr>
          <p:nvPr/>
        </p:nvPicPr>
        <p:blipFill>
          <a:blip r:embed="rId6"/>
          <a:stretch>
            <a:fillRect/>
          </a:stretch>
        </p:blipFill>
        <p:spPr>
          <a:xfrm>
            <a:off x="5730060" y="4807703"/>
            <a:ext cx="480362" cy="480362"/>
          </a:xfrm>
          <a:prstGeom prst="rect">
            <a:avLst/>
          </a:prstGeom>
        </p:spPr>
      </p:pic>
      <p:pic>
        <p:nvPicPr>
          <p:cNvPr id="50" name="Picture 49"/>
          <p:cNvPicPr>
            <a:picLocks noChangeAspect="1"/>
          </p:cNvPicPr>
          <p:nvPr/>
        </p:nvPicPr>
        <p:blipFill>
          <a:blip r:embed="rId7"/>
          <a:stretch>
            <a:fillRect/>
          </a:stretch>
        </p:blipFill>
        <p:spPr>
          <a:xfrm>
            <a:off x="5909210" y="5507551"/>
            <a:ext cx="709950" cy="378640"/>
          </a:xfrm>
          <a:prstGeom prst="rect">
            <a:avLst/>
          </a:prstGeom>
        </p:spPr>
      </p:pic>
      <p:sp>
        <p:nvSpPr>
          <p:cNvPr id="55" name="TextBox 54"/>
          <p:cNvSpPr txBox="1"/>
          <p:nvPr/>
        </p:nvSpPr>
        <p:spPr>
          <a:xfrm>
            <a:off x="5312127" y="3741819"/>
            <a:ext cx="1499443" cy="279943"/>
          </a:xfrm>
          <a:prstGeom prst="rect">
            <a:avLst/>
          </a:prstGeom>
          <a:noFill/>
        </p:spPr>
        <p:txBody>
          <a:bodyPr wrap="square" rtlCol="0">
            <a:spAutoFit/>
          </a:bodyPr>
          <a:lstStyle/>
          <a:p>
            <a:r>
              <a:rPr lang="en-IN" sz="1200" dirty="0" smtClean="0"/>
              <a:t>Locally Connected</a:t>
            </a:r>
            <a:endParaRPr lang="en-IN" sz="1200" dirty="0"/>
          </a:p>
        </p:txBody>
      </p:sp>
      <p:sp>
        <p:nvSpPr>
          <p:cNvPr id="21" name="Down Arrow 20"/>
          <p:cNvSpPr/>
          <p:nvPr/>
        </p:nvSpPr>
        <p:spPr>
          <a:xfrm>
            <a:off x="6013778" y="3972952"/>
            <a:ext cx="255691" cy="403301"/>
          </a:xfrm>
          <a:prstGeom prst="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45" name="Bent-Up Arrow 44"/>
          <p:cNvSpPr/>
          <p:nvPr/>
        </p:nvSpPr>
        <p:spPr>
          <a:xfrm>
            <a:off x="6755430" y="5281511"/>
            <a:ext cx="1867928" cy="544539"/>
          </a:xfrm>
          <a:prstGeom prst="bentUp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Tree>
    <p:extLst>
      <p:ext uri="{BB962C8B-B14F-4D97-AF65-F5344CB8AC3E}">
        <p14:creationId xmlns:p14="http://schemas.microsoft.com/office/powerpoint/2010/main" val="12837503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1000"/>
                                        <p:tgtEl>
                                          <p:spTgt spid="11"/>
                                        </p:tgtEl>
                                      </p:cBhvr>
                                    </p:animEffect>
                                    <p:anim calcmode="lin" valueType="num">
                                      <p:cBhvr>
                                        <p:cTn id="33" dur="1000" fill="hold"/>
                                        <p:tgtEl>
                                          <p:spTgt spid="11"/>
                                        </p:tgtEl>
                                        <p:attrNameLst>
                                          <p:attrName>ppt_x</p:attrName>
                                        </p:attrNameLst>
                                      </p:cBhvr>
                                      <p:tavLst>
                                        <p:tav tm="0">
                                          <p:val>
                                            <p:strVal val="#ppt_x"/>
                                          </p:val>
                                        </p:tav>
                                        <p:tav tm="100000">
                                          <p:val>
                                            <p:strVal val="#ppt_x"/>
                                          </p:val>
                                        </p:tav>
                                      </p:tavLst>
                                    </p:anim>
                                    <p:anim calcmode="lin" valueType="num">
                                      <p:cBhvr>
                                        <p:cTn id="3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13">
                                            <p:txEl>
                                              <p:pRg st="0" end="0"/>
                                            </p:txEl>
                                          </p:spTgt>
                                        </p:tgtEl>
                                        <p:attrNameLst>
                                          <p:attrName>style.visibility</p:attrName>
                                        </p:attrNameLst>
                                      </p:cBhvr>
                                      <p:to>
                                        <p:strVal val="visible"/>
                                      </p:to>
                                    </p:set>
                                    <p:animEffect transition="in" filter="fade">
                                      <p:cBhvr>
                                        <p:cTn id="39" dur="1000"/>
                                        <p:tgtEl>
                                          <p:spTgt spid="13">
                                            <p:txEl>
                                              <p:pRg st="0" end="0"/>
                                            </p:txEl>
                                          </p:spTgt>
                                        </p:tgtEl>
                                      </p:cBhvr>
                                    </p:animEffect>
                                    <p:anim calcmode="lin" valueType="num">
                                      <p:cBhvr>
                                        <p:cTn id="40" dur="1000" fill="hold"/>
                                        <p:tgtEl>
                                          <p:spTgt spid="13">
                                            <p:txEl>
                                              <p:pRg st="0" end="0"/>
                                            </p:txEl>
                                          </p:spTgt>
                                        </p:tgtEl>
                                        <p:attrNameLst>
                                          <p:attrName>ppt_x</p:attrName>
                                        </p:attrNameLst>
                                      </p:cBhvr>
                                      <p:tavLst>
                                        <p:tav tm="0">
                                          <p:val>
                                            <p:strVal val="#ppt_x"/>
                                          </p:val>
                                        </p:tav>
                                        <p:tav tm="100000">
                                          <p:val>
                                            <p:strVal val="#ppt_x"/>
                                          </p:val>
                                        </p:tav>
                                      </p:tavLst>
                                    </p:anim>
                                    <p:anim calcmode="lin" valueType="num">
                                      <p:cBhvr>
                                        <p:cTn id="41" dur="1000" fill="hold"/>
                                        <p:tgtEl>
                                          <p:spTgt spid="13">
                                            <p:txEl>
                                              <p:pRg st="0" end="0"/>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3">
                                            <p:txEl>
                                              <p:pRg st="1" end="1"/>
                                            </p:txEl>
                                          </p:spTgt>
                                        </p:tgtEl>
                                        <p:attrNameLst>
                                          <p:attrName>style.visibility</p:attrName>
                                        </p:attrNameLst>
                                      </p:cBhvr>
                                      <p:to>
                                        <p:strVal val="visible"/>
                                      </p:to>
                                    </p:set>
                                    <p:animEffect transition="in" filter="fade">
                                      <p:cBhvr>
                                        <p:cTn id="44" dur="1000"/>
                                        <p:tgtEl>
                                          <p:spTgt spid="13">
                                            <p:txEl>
                                              <p:pRg st="1" end="1"/>
                                            </p:txEl>
                                          </p:spTgt>
                                        </p:tgtEl>
                                      </p:cBhvr>
                                    </p:animEffect>
                                    <p:anim calcmode="lin" valueType="num">
                                      <p:cBhvr>
                                        <p:cTn id="45"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46" dur="1000" fill="hold"/>
                                        <p:tgtEl>
                                          <p:spTgt spid="13">
                                            <p:txEl>
                                              <p:pRg st="1" end="1"/>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3">
                                            <p:txEl>
                                              <p:pRg st="3" end="3"/>
                                            </p:txEl>
                                          </p:spTgt>
                                        </p:tgtEl>
                                        <p:attrNameLst>
                                          <p:attrName>style.visibility</p:attrName>
                                        </p:attrNameLst>
                                      </p:cBhvr>
                                      <p:to>
                                        <p:strVal val="visible"/>
                                      </p:to>
                                    </p:set>
                                    <p:animEffect transition="in" filter="fade">
                                      <p:cBhvr>
                                        <p:cTn id="49" dur="1000"/>
                                        <p:tgtEl>
                                          <p:spTgt spid="13">
                                            <p:txEl>
                                              <p:pRg st="3" end="3"/>
                                            </p:txEl>
                                          </p:spTgt>
                                        </p:tgtEl>
                                      </p:cBhvr>
                                    </p:animEffect>
                                    <p:anim calcmode="lin" valueType="num">
                                      <p:cBhvr>
                                        <p:cTn id="50" dur="1000" fill="hold"/>
                                        <p:tgtEl>
                                          <p:spTgt spid="13">
                                            <p:txEl>
                                              <p:pRg st="3" end="3"/>
                                            </p:txEl>
                                          </p:spTgt>
                                        </p:tgtEl>
                                        <p:attrNameLst>
                                          <p:attrName>ppt_x</p:attrName>
                                        </p:attrNameLst>
                                      </p:cBhvr>
                                      <p:tavLst>
                                        <p:tav tm="0">
                                          <p:val>
                                            <p:strVal val="#ppt_x"/>
                                          </p:val>
                                        </p:tav>
                                        <p:tav tm="100000">
                                          <p:val>
                                            <p:strVal val="#ppt_x"/>
                                          </p:val>
                                        </p:tav>
                                      </p:tavLst>
                                    </p:anim>
                                    <p:anim calcmode="lin" valueType="num">
                                      <p:cBhvr>
                                        <p:cTn id="51" dur="1000" fill="hold"/>
                                        <p:tgtEl>
                                          <p:spTgt spid="1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1000"/>
                                        <p:tgtEl>
                                          <p:spTgt spid="27"/>
                                        </p:tgtEl>
                                      </p:cBhvr>
                                    </p:animEffect>
                                    <p:anim calcmode="lin" valueType="num">
                                      <p:cBhvr>
                                        <p:cTn id="57" dur="1000" fill="hold"/>
                                        <p:tgtEl>
                                          <p:spTgt spid="27"/>
                                        </p:tgtEl>
                                        <p:attrNameLst>
                                          <p:attrName>ppt_x</p:attrName>
                                        </p:attrNameLst>
                                      </p:cBhvr>
                                      <p:tavLst>
                                        <p:tav tm="0">
                                          <p:val>
                                            <p:strVal val="#ppt_x"/>
                                          </p:val>
                                        </p:tav>
                                        <p:tav tm="100000">
                                          <p:val>
                                            <p:strVal val="#ppt_x"/>
                                          </p:val>
                                        </p:tav>
                                      </p:tavLst>
                                    </p:anim>
                                    <p:anim calcmode="lin" valueType="num">
                                      <p:cBhvr>
                                        <p:cTn id="58" dur="1000" fill="hold"/>
                                        <p:tgtEl>
                                          <p:spTgt spid="27"/>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28"/>
                                        </p:tgtEl>
                                        <p:attrNameLst>
                                          <p:attrName>style.visibility</p:attrName>
                                        </p:attrNameLst>
                                      </p:cBhvr>
                                      <p:to>
                                        <p:strVal val="visible"/>
                                      </p:to>
                                    </p:set>
                                    <p:animEffect transition="in" filter="fade">
                                      <p:cBhvr>
                                        <p:cTn id="61" dur="1000"/>
                                        <p:tgtEl>
                                          <p:spTgt spid="28"/>
                                        </p:tgtEl>
                                      </p:cBhvr>
                                    </p:animEffect>
                                    <p:anim calcmode="lin" valueType="num">
                                      <p:cBhvr>
                                        <p:cTn id="62" dur="1000" fill="hold"/>
                                        <p:tgtEl>
                                          <p:spTgt spid="28"/>
                                        </p:tgtEl>
                                        <p:attrNameLst>
                                          <p:attrName>ppt_x</p:attrName>
                                        </p:attrNameLst>
                                      </p:cBhvr>
                                      <p:tavLst>
                                        <p:tav tm="0">
                                          <p:val>
                                            <p:strVal val="#ppt_x"/>
                                          </p:val>
                                        </p:tav>
                                        <p:tav tm="100000">
                                          <p:val>
                                            <p:strVal val="#ppt_x"/>
                                          </p:val>
                                        </p:tav>
                                      </p:tavLst>
                                    </p:anim>
                                    <p:anim calcmode="lin" valueType="num">
                                      <p:cBhvr>
                                        <p:cTn id="63" dur="1000" fill="hold"/>
                                        <p:tgtEl>
                                          <p:spTgt spid="28"/>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29"/>
                                        </p:tgtEl>
                                        <p:attrNameLst>
                                          <p:attrName>style.visibility</p:attrName>
                                        </p:attrNameLst>
                                      </p:cBhvr>
                                      <p:to>
                                        <p:strVal val="visible"/>
                                      </p:to>
                                    </p:set>
                                    <p:animEffect transition="in" filter="fade">
                                      <p:cBhvr>
                                        <p:cTn id="66" dur="1000"/>
                                        <p:tgtEl>
                                          <p:spTgt spid="29"/>
                                        </p:tgtEl>
                                      </p:cBhvr>
                                    </p:animEffect>
                                    <p:anim calcmode="lin" valueType="num">
                                      <p:cBhvr>
                                        <p:cTn id="67" dur="1000" fill="hold"/>
                                        <p:tgtEl>
                                          <p:spTgt spid="29"/>
                                        </p:tgtEl>
                                        <p:attrNameLst>
                                          <p:attrName>ppt_x</p:attrName>
                                        </p:attrNameLst>
                                      </p:cBhvr>
                                      <p:tavLst>
                                        <p:tav tm="0">
                                          <p:val>
                                            <p:strVal val="#ppt_x"/>
                                          </p:val>
                                        </p:tav>
                                        <p:tav tm="100000">
                                          <p:val>
                                            <p:strVal val="#ppt_x"/>
                                          </p:val>
                                        </p:tav>
                                      </p:tavLst>
                                    </p:anim>
                                    <p:anim calcmode="lin" valueType="num">
                                      <p:cBhvr>
                                        <p:cTn id="68" dur="1000" fill="hold"/>
                                        <p:tgtEl>
                                          <p:spTgt spid="29"/>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30"/>
                                        </p:tgtEl>
                                        <p:attrNameLst>
                                          <p:attrName>style.visibility</p:attrName>
                                        </p:attrNameLst>
                                      </p:cBhvr>
                                      <p:to>
                                        <p:strVal val="visible"/>
                                      </p:to>
                                    </p:set>
                                    <p:animEffect transition="in" filter="fade">
                                      <p:cBhvr>
                                        <p:cTn id="71" dur="1000"/>
                                        <p:tgtEl>
                                          <p:spTgt spid="30"/>
                                        </p:tgtEl>
                                      </p:cBhvr>
                                    </p:animEffect>
                                    <p:anim calcmode="lin" valueType="num">
                                      <p:cBhvr>
                                        <p:cTn id="72" dur="1000" fill="hold"/>
                                        <p:tgtEl>
                                          <p:spTgt spid="30"/>
                                        </p:tgtEl>
                                        <p:attrNameLst>
                                          <p:attrName>ppt_x</p:attrName>
                                        </p:attrNameLst>
                                      </p:cBhvr>
                                      <p:tavLst>
                                        <p:tav tm="0">
                                          <p:val>
                                            <p:strVal val="#ppt_x"/>
                                          </p:val>
                                        </p:tav>
                                        <p:tav tm="100000">
                                          <p:val>
                                            <p:strVal val="#ppt_x"/>
                                          </p:val>
                                        </p:tav>
                                      </p:tavLst>
                                    </p:anim>
                                    <p:anim calcmode="lin" valueType="num">
                                      <p:cBhvr>
                                        <p:cTn id="73" dur="1000" fill="hold"/>
                                        <p:tgtEl>
                                          <p:spTgt spid="30"/>
                                        </p:tgtEl>
                                        <p:attrNameLst>
                                          <p:attrName>ppt_y</p:attrName>
                                        </p:attrNameLst>
                                      </p:cBhvr>
                                      <p:tavLst>
                                        <p:tav tm="0">
                                          <p:val>
                                            <p:strVal val="#ppt_y+.1"/>
                                          </p:val>
                                        </p:tav>
                                        <p:tav tm="100000">
                                          <p:val>
                                            <p:strVal val="#ppt_y"/>
                                          </p:val>
                                        </p:tav>
                                      </p:tavLst>
                                    </p:anim>
                                  </p:childTnLst>
                                </p:cTn>
                              </p:par>
                              <p:par>
                                <p:cTn id="74" presetID="42" presetClass="entr" presetSubtype="0" fill="hold" nodeType="withEffect">
                                  <p:stCondLst>
                                    <p:cond delay="0"/>
                                  </p:stCondLst>
                                  <p:childTnLst>
                                    <p:set>
                                      <p:cBhvr>
                                        <p:cTn id="75" dur="1" fill="hold">
                                          <p:stCondLst>
                                            <p:cond delay="0"/>
                                          </p:stCondLst>
                                        </p:cTn>
                                        <p:tgtEl>
                                          <p:spTgt spid="32"/>
                                        </p:tgtEl>
                                        <p:attrNameLst>
                                          <p:attrName>style.visibility</p:attrName>
                                        </p:attrNameLst>
                                      </p:cBhvr>
                                      <p:to>
                                        <p:strVal val="visible"/>
                                      </p:to>
                                    </p:set>
                                    <p:animEffect transition="in" filter="fade">
                                      <p:cBhvr>
                                        <p:cTn id="76" dur="1000"/>
                                        <p:tgtEl>
                                          <p:spTgt spid="32"/>
                                        </p:tgtEl>
                                      </p:cBhvr>
                                    </p:animEffect>
                                    <p:anim calcmode="lin" valueType="num">
                                      <p:cBhvr>
                                        <p:cTn id="77" dur="1000" fill="hold"/>
                                        <p:tgtEl>
                                          <p:spTgt spid="32"/>
                                        </p:tgtEl>
                                        <p:attrNameLst>
                                          <p:attrName>ppt_x</p:attrName>
                                        </p:attrNameLst>
                                      </p:cBhvr>
                                      <p:tavLst>
                                        <p:tav tm="0">
                                          <p:val>
                                            <p:strVal val="#ppt_x"/>
                                          </p:val>
                                        </p:tav>
                                        <p:tav tm="100000">
                                          <p:val>
                                            <p:strVal val="#ppt_x"/>
                                          </p:val>
                                        </p:tav>
                                      </p:tavLst>
                                    </p:anim>
                                    <p:anim calcmode="lin" valueType="num">
                                      <p:cBhvr>
                                        <p:cTn id="78" dur="1000" fill="hold"/>
                                        <p:tgtEl>
                                          <p:spTgt spid="32"/>
                                        </p:tgtEl>
                                        <p:attrNameLst>
                                          <p:attrName>ppt_y</p:attrName>
                                        </p:attrNameLst>
                                      </p:cBhvr>
                                      <p:tavLst>
                                        <p:tav tm="0">
                                          <p:val>
                                            <p:strVal val="#ppt_y+.1"/>
                                          </p:val>
                                        </p:tav>
                                        <p:tav tm="100000">
                                          <p:val>
                                            <p:strVal val="#ppt_y"/>
                                          </p:val>
                                        </p:tav>
                                      </p:tavLst>
                                    </p:anim>
                                  </p:childTnLst>
                                </p:cTn>
                              </p:par>
                              <p:par>
                                <p:cTn id="79" presetID="42" presetClass="entr" presetSubtype="0" fill="hold" nodeType="withEffect">
                                  <p:stCondLst>
                                    <p:cond delay="0"/>
                                  </p:stCondLst>
                                  <p:childTnLst>
                                    <p:set>
                                      <p:cBhvr>
                                        <p:cTn id="80" dur="1" fill="hold">
                                          <p:stCondLst>
                                            <p:cond delay="0"/>
                                          </p:stCondLst>
                                        </p:cTn>
                                        <p:tgtEl>
                                          <p:spTgt spid="33"/>
                                        </p:tgtEl>
                                        <p:attrNameLst>
                                          <p:attrName>style.visibility</p:attrName>
                                        </p:attrNameLst>
                                      </p:cBhvr>
                                      <p:to>
                                        <p:strVal val="visible"/>
                                      </p:to>
                                    </p:set>
                                    <p:animEffect transition="in" filter="fade">
                                      <p:cBhvr>
                                        <p:cTn id="81" dur="1000"/>
                                        <p:tgtEl>
                                          <p:spTgt spid="33"/>
                                        </p:tgtEl>
                                      </p:cBhvr>
                                    </p:animEffect>
                                    <p:anim calcmode="lin" valueType="num">
                                      <p:cBhvr>
                                        <p:cTn id="82" dur="1000" fill="hold"/>
                                        <p:tgtEl>
                                          <p:spTgt spid="33"/>
                                        </p:tgtEl>
                                        <p:attrNameLst>
                                          <p:attrName>ppt_x</p:attrName>
                                        </p:attrNameLst>
                                      </p:cBhvr>
                                      <p:tavLst>
                                        <p:tav tm="0">
                                          <p:val>
                                            <p:strVal val="#ppt_x"/>
                                          </p:val>
                                        </p:tav>
                                        <p:tav tm="100000">
                                          <p:val>
                                            <p:strVal val="#ppt_x"/>
                                          </p:val>
                                        </p:tav>
                                      </p:tavLst>
                                    </p:anim>
                                    <p:anim calcmode="lin" valueType="num">
                                      <p:cBhvr>
                                        <p:cTn id="83" dur="1000" fill="hold"/>
                                        <p:tgtEl>
                                          <p:spTgt spid="33"/>
                                        </p:tgtEl>
                                        <p:attrNameLst>
                                          <p:attrName>ppt_y</p:attrName>
                                        </p:attrNameLst>
                                      </p:cBhvr>
                                      <p:tavLst>
                                        <p:tav tm="0">
                                          <p:val>
                                            <p:strVal val="#ppt_y+.1"/>
                                          </p:val>
                                        </p:tav>
                                        <p:tav tm="100000">
                                          <p:val>
                                            <p:strVal val="#ppt_y"/>
                                          </p:val>
                                        </p:tav>
                                      </p:tavLst>
                                    </p:anim>
                                  </p:childTnLst>
                                </p:cTn>
                              </p:par>
                              <p:par>
                                <p:cTn id="84" presetID="42" presetClass="entr" presetSubtype="0" fill="hold" grpId="0"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fade">
                                      <p:cBhvr>
                                        <p:cTn id="86" dur="1000"/>
                                        <p:tgtEl>
                                          <p:spTgt spid="36"/>
                                        </p:tgtEl>
                                      </p:cBhvr>
                                    </p:animEffect>
                                    <p:anim calcmode="lin" valueType="num">
                                      <p:cBhvr>
                                        <p:cTn id="87" dur="1000" fill="hold"/>
                                        <p:tgtEl>
                                          <p:spTgt spid="36"/>
                                        </p:tgtEl>
                                        <p:attrNameLst>
                                          <p:attrName>ppt_x</p:attrName>
                                        </p:attrNameLst>
                                      </p:cBhvr>
                                      <p:tavLst>
                                        <p:tav tm="0">
                                          <p:val>
                                            <p:strVal val="#ppt_x"/>
                                          </p:val>
                                        </p:tav>
                                        <p:tav tm="100000">
                                          <p:val>
                                            <p:strVal val="#ppt_x"/>
                                          </p:val>
                                        </p:tav>
                                      </p:tavLst>
                                    </p:anim>
                                    <p:anim calcmode="lin" valueType="num">
                                      <p:cBhvr>
                                        <p:cTn id="88" dur="1000" fill="hold"/>
                                        <p:tgtEl>
                                          <p:spTgt spid="36"/>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37"/>
                                        </p:tgtEl>
                                        <p:attrNameLst>
                                          <p:attrName>style.visibility</p:attrName>
                                        </p:attrNameLst>
                                      </p:cBhvr>
                                      <p:to>
                                        <p:strVal val="visible"/>
                                      </p:to>
                                    </p:set>
                                    <p:animEffect transition="in" filter="fade">
                                      <p:cBhvr>
                                        <p:cTn id="91" dur="1000"/>
                                        <p:tgtEl>
                                          <p:spTgt spid="37"/>
                                        </p:tgtEl>
                                      </p:cBhvr>
                                    </p:animEffect>
                                    <p:anim calcmode="lin" valueType="num">
                                      <p:cBhvr>
                                        <p:cTn id="92" dur="1000" fill="hold"/>
                                        <p:tgtEl>
                                          <p:spTgt spid="37"/>
                                        </p:tgtEl>
                                        <p:attrNameLst>
                                          <p:attrName>ppt_x</p:attrName>
                                        </p:attrNameLst>
                                      </p:cBhvr>
                                      <p:tavLst>
                                        <p:tav tm="0">
                                          <p:val>
                                            <p:strVal val="#ppt_x"/>
                                          </p:val>
                                        </p:tav>
                                        <p:tav tm="100000">
                                          <p:val>
                                            <p:strVal val="#ppt_x"/>
                                          </p:val>
                                        </p:tav>
                                      </p:tavLst>
                                    </p:anim>
                                    <p:anim calcmode="lin" valueType="num">
                                      <p:cBhvr>
                                        <p:cTn id="93" dur="1000" fill="hold"/>
                                        <p:tgtEl>
                                          <p:spTgt spid="37"/>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38"/>
                                        </p:tgtEl>
                                        <p:attrNameLst>
                                          <p:attrName>style.visibility</p:attrName>
                                        </p:attrNameLst>
                                      </p:cBhvr>
                                      <p:to>
                                        <p:strVal val="visible"/>
                                      </p:to>
                                    </p:set>
                                    <p:animEffect transition="in" filter="fade">
                                      <p:cBhvr>
                                        <p:cTn id="96" dur="1000"/>
                                        <p:tgtEl>
                                          <p:spTgt spid="38"/>
                                        </p:tgtEl>
                                      </p:cBhvr>
                                    </p:animEffect>
                                    <p:anim calcmode="lin" valueType="num">
                                      <p:cBhvr>
                                        <p:cTn id="97" dur="1000" fill="hold"/>
                                        <p:tgtEl>
                                          <p:spTgt spid="38"/>
                                        </p:tgtEl>
                                        <p:attrNameLst>
                                          <p:attrName>ppt_x</p:attrName>
                                        </p:attrNameLst>
                                      </p:cBhvr>
                                      <p:tavLst>
                                        <p:tav tm="0">
                                          <p:val>
                                            <p:strVal val="#ppt_x"/>
                                          </p:val>
                                        </p:tav>
                                        <p:tav tm="100000">
                                          <p:val>
                                            <p:strVal val="#ppt_x"/>
                                          </p:val>
                                        </p:tav>
                                      </p:tavLst>
                                    </p:anim>
                                    <p:anim calcmode="lin" valueType="num">
                                      <p:cBhvr>
                                        <p:cTn id="98" dur="1000" fill="hold"/>
                                        <p:tgtEl>
                                          <p:spTgt spid="38"/>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39"/>
                                        </p:tgtEl>
                                        <p:attrNameLst>
                                          <p:attrName>style.visibility</p:attrName>
                                        </p:attrNameLst>
                                      </p:cBhvr>
                                      <p:to>
                                        <p:strVal val="visible"/>
                                      </p:to>
                                    </p:set>
                                    <p:animEffect transition="in" filter="fade">
                                      <p:cBhvr>
                                        <p:cTn id="101" dur="1000"/>
                                        <p:tgtEl>
                                          <p:spTgt spid="39"/>
                                        </p:tgtEl>
                                      </p:cBhvr>
                                    </p:animEffect>
                                    <p:anim calcmode="lin" valueType="num">
                                      <p:cBhvr>
                                        <p:cTn id="102" dur="1000" fill="hold"/>
                                        <p:tgtEl>
                                          <p:spTgt spid="39"/>
                                        </p:tgtEl>
                                        <p:attrNameLst>
                                          <p:attrName>ppt_x</p:attrName>
                                        </p:attrNameLst>
                                      </p:cBhvr>
                                      <p:tavLst>
                                        <p:tav tm="0">
                                          <p:val>
                                            <p:strVal val="#ppt_x"/>
                                          </p:val>
                                        </p:tav>
                                        <p:tav tm="100000">
                                          <p:val>
                                            <p:strVal val="#ppt_x"/>
                                          </p:val>
                                        </p:tav>
                                      </p:tavLst>
                                    </p:anim>
                                    <p:anim calcmode="lin" valueType="num">
                                      <p:cBhvr>
                                        <p:cTn id="103" dur="1000" fill="hold"/>
                                        <p:tgtEl>
                                          <p:spTgt spid="39"/>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0"/>
                                  </p:stCondLst>
                                  <p:childTnLst>
                                    <p:set>
                                      <p:cBhvr>
                                        <p:cTn id="105" dur="1" fill="hold">
                                          <p:stCondLst>
                                            <p:cond delay="0"/>
                                          </p:stCondLst>
                                        </p:cTn>
                                        <p:tgtEl>
                                          <p:spTgt spid="40"/>
                                        </p:tgtEl>
                                        <p:attrNameLst>
                                          <p:attrName>style.visibility</p:attrName>
                                        </p:attrNameLst>
                                      </p:cBhvr>
                                      <p:to>
                                        <p:strVal val="visible"/>
                                      </p:to>
                                    </p:set>
                                    <p:animEffect transition="in" filter="fade">
                                      <p:cBhvr>
                                        <p:cTn id="106" dur="1000"/>
                                        <p:tgtEl>
                                          <p:spTgt spid="40"/>
                                        </p:tgtEl>
                                      </p:cBhvr>
                                    </p:animEffect>
                                    <p:anim calcmode="lin" valueType="num">
                                      <p:cBhvr>
                                        <p:cTn id="107" dur="1000" fill="hold"/>
                                        <p:tgtEl>
                                          <p:spTgt spid="40"/>
                                        </p:tgtEl>
                                        <p:attrNameLst>
                                          <p:attrName>ppt_x</p:attrName>
                                        </p:attrNameLst>
                                      </p:cBhvr>
                                      <p:tavLst>
                                        <p:tav tm="0">
                                          <p:val>
                                            <p:strVal val="#ppt_x"/>
                                          </p:val>
                                        </p:tav>
                                        <p:tav tm="100000">
                                          <p:val>
                                            <p:strVal val="#ppt_x"/>
                                          </p:val>
                                        </p:tav>
                                      </p:tavLst>
                                    </p:anim>
                                    <p:anim calcmode="lin" valueType="num">
                                      <p:cBhvr>
                                        <p:cTn id="108" dur="1000" fill="hold"/>
                                        <p:tgtEl>
                                          <p:spTgt spid="40"/>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0"/>
                                  </p:stCondLst>
                                  <p:childTnLst>
                                    <p:set>
                                      <p:cBhvr>
                                        <p:cTn id="110" dur="1" fill="hold">
                                          <p:stCondLst>
                                            <p:cond delay="0"/>
                                          </p:stCondLst>
                                        </p:cTn>
                                        <p:tgtEl>
                                          <p:spTgt spid="41"/>
                                        </p:tgtEl>
                                        <p:attrNameLst>
                                          <p:attrName>style.visibility</p:attrName>
                                        </p:attrNameLst>
                                      </p:cBhvr>
                                      <p:to>
                                        <p:strVal val="visible"/>
                                      </p:to>
                                    </p:set>
                                    <p:animEffect transition="in" filter="fade">
                                      <p:cBhvr>
                                        <p:cTn id="111" dur="1000"/>
                                        <p:tgtEl>
                                          <p:spTgt spid="41"/>
                                        </p:tgtEl>
                                      </p:cBhvr>
                                    </p:animEffect>
                                    <p:anim calcmode="lin" valueType="num">
                                      <p:cBhvr>
                                        <p:cTn id="112" dur="1000" fill="hold"/>
                                        <p:tgtEl>
                                          <p:spTgt spid="41"/>
                                        </p:tgtEl>
                                        <p:attrNameLst>
                                          <p:attrName>ppt_x</p:attrName>
                                        </p:attrNameLst>
                                      </p:cBhvr>
                                      <p:tavLst>
                                        <p:tav tm="0">
                                          <p:val>
                                            <p:strVal val="#ppt_x"/>
                                          </p:val>
                                        </p:tav>
                                        <p:tav tm="100000">
                                          <p:val>
                                            <p:strVal val="#ppt_x"/>
                                          </p:val>
                                        </p:tav>
                                      </p:tavLst>
                                    </p:anim>
                                    <p:anim calcmode="lin" valueType="num">
                                      <p:cBhvr>
                                        <p:cTn id="113" dur="1000" fill="hold"/>
                                        <p:tgtEl>
                                          <p:spTgt spid="41"/>
                                        </p:tgtEl>
                                        <p:attrNameLst>
                                          <p:attrName>ppt_y</p:attrName>
                                        </p:attrNameLst>
                                      </p:cBhvr>
                                      <p:tavLst>
                                        <p:tav tm="0">
                                          <p:val>
                                            <p:strVal val="#ppt_y+.1"/>
                                          </p:val>
                                        </p:tav>
                                        <p:tav tm="100000">
                                          <p:val>
                                            <p:strVal val="#ppt_y"/>
                                          </p:val>
                                        </p:tav>
                                      </p:tavLst>
                                    </p:anim>
                                  </p:childTnLst>
                                </p:cTn>
                              </p:par>
                              <p:par>
                                <p:cTn id="114" presetID="42" presetClass="entr" presetSubtype="0" fill="hold" grpId="0" nodeType="withEffect">
                                  <p:stCondLst>
                                    <p:cond delay="0"/>
                                  </p:stCondLst>
                                  <p:childTnLst>
                                    <p:set>
                                      <p:cBhvr>
                                        <p:cTn id="115" dur="1" fill="hold">
                                          <p:stCondLst>
                                            <p:cond delay="0"/>
                                          </p:stCondLst>
                                        </p:cTn>
                                        <p:tgtEl>
                                          <p:spTgt spid="42"/>
                                        </p:tgtEl>
                                        <p:attrNameLst>
                                          <p:attrName>style.visibility</p:attrName>
                                        </p:attrNameLst>
                                      </p:cBhvr>
                                      <p:to>
                                        <p:strVal val="visible"/>
                                      </p:to>
                                    </p:set>
                                    <p:animEffect transition="in" filter="fade">
                                      <p:cBhvr>
                                        <p:cTn id="116" dur="1000"/>
                                        <p:tgtEl>
                                          <p:spTgt spid="42"/>
                                        </p:tgtEl>
                                      </p:cBhvr>
                                    </p:animEffect>
                                    <p:anim calcmode="lin" valueType="num">
                                      <p:cBhvr>
                                        <p:cTn id="117" dur="1000" fill="hold"/>
                                        <p:tgtEl>
                                          <p:spTgt spid="42"/>
                                        </p:tgtEl>
                                        <p:attrNameLst>
                                          <p:attrName>ppt_x</p:attrName>
                                        </p:attrNameLst>
                                      </p:cBhvr>
                                      <p:tavLst>
                                        <p:tav tm="0">
                                          <p:val>
                                            <p:strVal val="#ppt_x"/>
                                          </p:val>
                                        </p:tav>
                                        <p:tav tm="100000">
                                          <p:val>
                                            <p:strVal val="#ppt_x"/>
                                          </p:val>
                                        </p:tav>
                                      </p:tavLst>
                                    </p:anim>
                                    <p:anim calcmode="lin" valueType="num">
                                      <p:cBhvr>
                                        <p:cTn id="118" dur="1000" fill="hold"/>
                                        <p:tgtEl>
                                          <p:spTgt spid="42"/>
                                        </p:tgtEl>
                                        <p:attrNameLst>
                                          <p:attrName>ppt_y</p:attrName>
                                        </p:attrNameLst>
                                      </p:cBhvr>
                                      <p:tavLst>
                                        <p:tav tm="0">
                                          <p:val>
                                            <p:strVal val="#ppt_y+.1"/>
                                          </p:val>
                                        </p:tav>
                                        <p:tav tm="100000">
                                          <p:val>
                                            <p:strVal val="#ppt_y"/>
                                          </p:val>
                                        </p:tav>
                                      </p:tavLst>
                                    </p:anim>
                                  </p:childTnLst>
                                </p:cTn>
                              </p:par>
                              <p:par>
                                <p:cTn id="119" presetID="42" presetClass="entr" presetSubtype="0" fill="hold" grpId="0" nodeType="withEffect">
                                  <p:stCondLst>
                                    <p:cond delay="0"/>
                                  </p:stCondLst>
                                  <p:childTnLst>
                                    <p:set>
                                      <p:cBhvr>
                                        <p:cTn id="120" dur="1" fill="hold">
                                          <p:stCondLst>
                                            <p:cond delay="0"/>
                                          </p:stCondLst>
                                        </p:cTn>
                                        <p:tgtEl>
                                          <p:spTgt spid="43"/>
                                        </p:tgtEl>
                                        <p:attrNameLst>
                                          <p:attrName>style.visibility</p:attrName>
                                        </p:attrNameLst>
                                      </p:cBhvr>
                                      <p:to>
                                        <p:strVal val="visible"/>
                                      </p:to>
                                    </p:set>
                                    <p:animEffect transition="in" filter="fade">
                                      <p:cBhvr>
                                        <p:cTn id="121" dur="1000"/>
                                        <p:tgtEl>
                                          <p:spTgt spid="43"/>
                                        </p:tgtEl>
                                      </p:cBhvr>
                                    </p:animEffect>
                                    <p:anim calcmode="lin" valueType="num">
                                      <p:cBhvr>
                                        <p:cTn id="122" dur="1000" fill="hold"/>
                                        <p:tgtEl>
                                          <p:spTgt spid="43"/>
                                        </p:tgtEl>
                                        <p:attrNameLst>
                                          <p:attrName>ppt_x</p:attrName>
                                        </p:attrNameLst>
                                      </p:cBhvr>
                                      <p:tavLst>
                                        <p:tav tm="0">
                                          <p:val>
                                            <p:strVal val="#ppt_x"/>
                                          </p:val>
                                        </p:tav>
                                        <p:tav tm="100000">
                                          <p:val>
                                            <p:strVal val="#ppt_x"/>
                                          </p:val>
                                        </p:tav>
                                      </p:tavLst>
                                    </p:anim>
                                    <p:anim calcmode="lin" valueType="num">
                                      <p:cBhvr>
                                        <p:cTn id="123" dur="1000" fill="hold"/>
                                        <p:tgtEl>
                                          <p:spTgt spid="43"/>
                                        </p:tgtEl>
                                        <p:attrNameLst>
                                          <p:attrName>ppt_y</p:attrName>
                                        </p:attrNameLst>
                                      </p:cBhvr>
                                      <p:tavLst>
                                        <p:tav tm="0">
                                          <p:val>
                                            <p:strVal val="#ppt_y+.1"/>
                                          </p:val>
                                        </p:tav>
                                        <p:tav tm="100000">
                                          <p:val>
                                            <p:strVal val="#ppt_y"/>
                                          </p:val>
                                        </p:tav>
                                      </p:tavLst>
                                    </p:anim>
                                  </p:childTnLst>
                                </p:cTn>
                              </p:par>
                              <p:par>
                                <p:cTn id="124" presetID="42" presetClass="entr" presetSubtype="0" fill="hold" grpId="0" nodeType="withEffect">
                                  <p:stCondLst>
                                    <p:cond delay="0"/>
                                  </p:stCondLst>
                                  <p:childTnLst>
                                    <p:set>
                                      <p:cBhvr>
                                        <p:cTn id="125" dur="1" fill="hold">
                                          <p:stCondLst>
                                            <p:cond delay="0"/>
                                          </p:stCondLst>
                                        </p:cTn>
                                        <p:tgtEl>
                                          <p:spTgt spid="44"/>
                                        </p:tgtEl>
                                        <p:attrNameLst>
                                          <p:attrName>style.visibility</p:attrName>
                                        </p:attrNameLst>
                                      </p:cBhvr>
                                      <p:to>
                                        <p:strVal val="visible"/>
                                      </p:to>
                                    </p:set>
                                    <p:animEffect transition="in" filter="fade">
                                      <p:cBhvr>
                                        <p:cTn id="126" dur="1000"/>
                                        <p:tgtEl>
                                          <p:spTgt spid="44"/>
                                        </p:tgtEl>
                                      </p:cBhvr>
                                    </p:animEffect>
                                    <p:anim calcmode="lin" valueType="num">
                                      <p:cBhvr>
                                        <p:cTn id="127" dur="1000" fill="hold"/>
                                        <p:tgtEl>
                                          <p:spTgt spid="44"/>
                                        </p:tgtEl>
                                        <p:attrNameLst>
                                          <p:attrName>ppt_x</p:attrName>
                                        </p:attrNameLst>
                                      </p:cBhvr>
                                      <p:tavLst>
                                        <p:tav tm="0">
                                          <p:val>
                                            <p:strVal val="#ppt_x"/>
                                          </p:val>
                                        </p:tav>
                                        <p:tav tm="100000">
                                          <p:val>
                                            <p:strVal val="#ppt_x"/>
                                          </p:val>
                                        </p:tav>
                                      </p:tavLst>
                                    </p:anim>
                                    <p:anim calcmode="lin" valueType="num">
                                      <p:cBhvr>
                                        <p:cTn id="128" dur="1000" fill="hold"/>
                                        <p:tgtEl>
                                          <p:spTgt spid="44"/>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0"/>
                                  </p:stCondLst>
                                  <p:childTnLst>
                                    <p:set>
                                      <p:cBhvr>
                                        <p:cTn id="130" dur="1" fill="hold">
                                          <p:stCondLst>
                                            <p:cond delay="0"/>
                                          </p:stCondLst>
                                        </p:cTn>
                                        <p:tgtEl>
                                          <p:spTgt spid="31"/>
                                        </p:tgtEl>
                                        <p:attrNameLst>
                                          <p:attrName>style.visibility</p:attrName>
                                        </p:attrNameLst>
                                      </p:cBhvr>
                                      <p:to>
                                        <p:strVal val="visible"/>
                                      </p:to>
                                    </p:set>
                                    <p:animEffect transition="in" filter="fade">
                                      <p:cBhvr>
                                        <p:cTn id="131" dur="1000"/>
                                        <p:tgtEl>
                                          <p:spTgt spid="31"/>
                                        </p:tgtEl>
                                      </p:cBhvr>
                                    </p:animEffect>
                                    <p:anim calcmode="lin" valueType="num">
                                      <p:cBhvr>
                                        <p:cTn id="132" dur="1000" fill="hold"/>
                                        <p:tgtEl>
                                          <p:spTgt spid="31"/>
                                        </p:tgtEl>
                                        <p:attrNameLst>
                                          <p:attrName>ppt_x</p:attrName>
                                        </p:attrNameLst>
                                      </p:cBhvr>
                                      <p:tavLst>
                                        <p:tav tm="0">
                                          <p:val>
                                            <p:strVal val="#ppt_x"/>
                                          </p:val>
                                        </p:tav>
                                        <p:tav tm="100000">
                                          <p:val>
                                            <p:strVal val="#ppt_x"/>
                                          </p:val>
                                        </p:tav>
                                      </p:tavLst>
                                    </p:anim>
                                    <p:anim calcmode="lin" valueType="num">
                                      <p:cBhvr>
                                        <p:cTn id="133"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nodeType="clickEffect">
                                  <p:stCondLst>
                                    <p:cond delay="0"/>
                                  </p:stCondLst>
                                  <p:childTnLst>
                                    <p:set>
                                      <p:cBhvr>
                                        <p:cTn id="137" dur="1" fill="hold">
                                          <p:stCondLst>
                                            <p:cond delay="0"/>
                                          </p:stCondLst>
                                        </p:cTn>
                                        <p:tgtEl>
                                          <p:spTgt spid="13">
                                            <p:txEl>
                                              <p:pRg st="8" end="8"/>
                                            </p:txEl>
                                          </p:spTgt>
                                        </p:tgtEl>
                                        <p:attrNameLst>
                                          <p:attrName>style.visibility</p:attrName>
                                        </p:attrNameLst>
                                      </p:cBhvr>
                                      <p:to>
                                        <p:strVal val="visible"/>
                                      </p:to>
                                    </p:set>
                                    <p:animEffect transition="in" filter="fade">
                                      <p:cBhvr>
                                        <p:cTn id="138" dur="500"/>
                                        <p:tgtEl>
                                          <p:spTgt spid="13">
                                            <p:txEl>
                                              <p:pRg st="8" end="8"/>
                                            </p:txEl>
                                          </p:spTgt>
                                        </p:tgtEl>
                                      </p:cBhvr>
                                    </p:animEffect>
                                  </p:childTnLst>
                                </p:cTn>
                              </p:par>
                              <p:par>
                                <p:cTn id="139" presetID="10" presetClass="entr" presetSubtype="0" fill="hold" nodeType="withEffect">
                                  <p:stCondLst>
                                    <p:cond delay="0"/>
                                  </p:stCondLst>
                                  <p:childTnLst>
                                    <p:set>
                                      <p:cBhvr>
                                        <p:cTn id="140" dur="1" fill="hold">
                                          <p:stCondLst>
                                            <p:cond delay="0"/>
                                          </p:stCondLst>
                                        </p:cTn>
                                        <p:tgtEl>
                                          <p:spTgt spid="13">
                                            <p:txEl>
                                              <p:pRg st="9" end="9"/>
                                            </p:txEl>
                                          </p:spTgt>
                                        </p:tgtEl>
                                        <p:attrNameLst>
                                          <p:attrName>style.visibility</p:attrName>
                                        </p:attrNameLst>
                                      </p:cBhvr>
                                      <p:to>
                                        <p:strVal val="visible"/>
                                      </p:to>
                                    </p:set>
                                    <p:animEffect transition="in" filter="fade">
                                      <p:cBhvr>
                                        <p:cTn id="141" dur="500"/>
                                        <p:tgtEl>
                                          <p:spTgt spid="13">
                                            <p:txEl>
                                              <p:pRg st="9" end="9"/>
                                            </p:txEl>
                                          </p:spTgt>
                                        </p:tgtEl>
                                      </p:cBhvr>
                                    </p:animEffect>
                                  </p:childTnLst>
                                </p:cTn>
                              </p:par>
                              <p:par>
                                <p:cTn id="142" presetID="10" presetClass="entr" presetSubtype="0" fill="hold" nodeType="withEffect">
                                  <p:stCondLst>
                                    <p:cond delay="0"/>
                                  </p:stCondLst>
                                  <p:childTnLst>
                                    <p:set>
                                      <p:cBhvr>
                                        <p:cTn id="143" dur="1" fill="hold">
                                          <p:stCondLst>
                                            <p:cond delay="0"/>
                                          </p:stCondLst>
                                        </p:cTn>
                                        <p:tgtEl>
                                          <p:spTgt spid="13">
                                            <p:txEl>
                                              <p:pRg st="11" end="11"/>
                                            </p:txEl>
                                          </p:spTgt>
                                        </p:tgtEl>
                                        <p:attrNameLst>
                                          <p:attrName>style.visibility</p:attrName>
                                        </p:attrNameLst>
                                      </p:cBhvr>
                                      <p:to>
                                        <p:strVal val="visible"/>
                                      </p:to>
                                    </p:set>
                                    <p:animEffect transition="in" filter="fade">
                                      <p:cBhvr>
                                        <p:cTn id="144" dur="500"/>
                                        <p:tgtEl>
                                          <p:spTgt spid="13">
                                            <p:txEl>
                                              <p:pRg st="11" end="11"/>
                                            </p:txEl>
                                          </p:spTgt>
                                        </p:tgtEl>
                                      </p:cBhvr>
                                    </p:animEffect>
                                  </p:childTnLst>
                                </p:cTn>
                              </p:par>
                            </p:childTnLst>
                          </p:cTn>
                        </p:par>
                      </p:childTnLst>
                    </p:cTn>
                  </p:par>
                  <p:par>
                    <p:cTn id="145" fill="hold">
                      <p:stCondLst>
                        <p:cond delay="indefinite"/>
                      </p:stCondLst>
                      <p:childTnLst>
                        <p:par>
                          <p:cTn id="146" fill="hold">
                            <p:stCondLst>
                              <p:cond delay="0"/>
                            </p:stCondLst>
                            <p:childTnLst>
                              <p:par>
                                <p:cTn id="147" presetID="42" presetClass="entr" presetSubtype="0" fill="hold" grpId="0" nodeType="clickEffect">
                                  <p:stCondLst>
                                    <p:cond delay="0"/>
                                  </p:stCondLst>
                                  <p:childTnLst>
                                    <p:set>
                                      <p:cBhvr>
                                        <p:cTn id="148" dur="1" fill="hold">
                                          <p:stCondLst>
                                            <p:cond delay="0"/>
                                          </p:stCondLst>
                                        </p:cTn>
                                        <p:tgtEl>
                                          <p:spTgt spid="55"/>
                                        </p:tgtEl>
                                        <p:attrNameLst>
                                          <p:attrName>style.visibility</p:attrName>
                                        </p:attrNameLst>
                                      </p:cBhvr>
                                      <p:to>
                                        <p:strVal val="visible"/>
                                      </p:to>
                                    </p:set>
                                    <p:animEffect transition="in" filter="fade">
                                      <p:cBhvr>
                                        <p:cTn id="149" dur="1000"/>
                                        <p:tgtEl>
                                          <p:spTgt spid="55"/>
                                        </p:tgtEl>
                                      </p:cBhvr>
                                    </p:animEffect>
                                    <p:anim calcmode="lin" valueType="num">
                                      <p:cBhvr>
                                        <p:cTn id="150" dur="1000" fill="hold"/>
                                        <p:tgtEl>
                                          <p:spTgt spid="55"/>
                                        </p:tgtEl>
                                        <p:attrNameLst>
                                          <p:attrName>ppt_x</p:attrName>
                                        </p:attrNameLst>
                                      </p:cBhvr>
                                      <p:tavLst>
                                        <p:tav tm="0">
                                          <p:val>
                                            <p:strVal val="#ppt_x"/>
                                          </p:val>
                                        </p:tav>
                                        <p:tav tm="100000">
                                          <p:val>
                                            <p:strVal val="#ppt_x"/>
                                          </p:val>
                                        </p:tav>
                                      </p:tavLst>
                                    </p:anim>
                                    <p:anim calcmode="lin" valueType="num">
                                      <p:cBhvr>
                                        <p:cTn id="151" dur="1000" fill="hold"/>
                                        <p:tgtEl>
                                          <p:spTgt spid="55"/>
                                        </p:tgtEl>
                                        <p:attrNameLst>
                                          <p:attrName>ppt_y</p:attrName>
                                        </p:attrNameLst>
                                      </p:cBhvr>
                                      <p:tavLst>
                                        <p:tav tm="0">
                                          <p:val>
                                            <p:strVal val="#ppt_y+.1"/>
                                          </p:val>
                                        </p:tav>
                                        <p:tav tm="100000">
                                          <p:val>
                                            <p:strVal val="#ppt_y"/>
                                          </p:val>
                                        </p:tav>
                                      </p:tavLst>
                                    </p:anim>
                                  </p:childTnLst>
                                </p:cTn>
                              </p:par>
                              <p:par>
                                <p:cTn id="152" presetID="42" presetClass="entr" presetSubtype="0" fill="hold" grpId="0" nodeType="withEffect">
                                  <p:stCondLst>
                                    <p:cond delay="0"/>
                                  </p:stCondLst>
                                  <p:childTnLst>
                                    <p:set>
                                      <p:cBhvr>
                                        <p:cTn id="153" dur="1" fill="hold">
                                          <p:stCondLst>
                                            <p:cond delay="0"/>
                                          </p:stCondLst>
                                        </p:cTn>
                                        <p:tgtEl>
                                          <p:spTgt spid="21"/>
                                        </p:tgtEl>
                                        <p:attrNameLst>
                                          <p:attrName>style.visibility</p:attrName>
                                        </p:attrNameLst>
                                      </p:cBhvr>
                                      <p:to>
                                        <p:strVal val="visible"/>
                                      </p:to>
                                    </p:set>
                                    <p:animEffect transition="in" filter="fade">
                                      <p:cBhvr>
                                        <p:cTn id="154" dur="1000"/>
                                        <p:tgtEl>
                                          <p:spTgt spid="21"/>
                                        </p:tgtEl>
                                      </p:cBhvr>
                                    </p:animEffect>
                                    <p:anim calcmode="lin" valueType="num">
                                      <p:cBhvr>
                                        <p:cTn id="155" dur="1000" fill="hold"/>
                                        <p:tgtEl>
                                          <p:spTgt spid="21"/>
                                        </p:tgtEl>
                                        <p:attrNameLst>
                                          <p:attrName>ppt_x</p:attrName>
                                        </p:attrNameLst>
                                      </p:cBhvr>
                                      <p:tavLst>
                                        <p:tav tm="0">
                                          <p:val>
                                            <p:strVal val="#ppt_x"/>
                                          </p:val>
                                        </p:tav>
                                        <p:tav tm="100000">
                                          <p:val>
                                            <p:strVal val="#ppt_x"/>
                                          </p:val>
                                        </p:tav>
                                      </p:tavLst>
                                    </p:anim>
                                    <p:anim calcmode="lin" valueType="num">
                                      <p:cBhvr>
                                        <p:cTn id="156" dur="1000" fill="hold"/>
                                        <p:tgtEl>
                                          <p:spTgt spid="21"/>
                                        </p:tgtEl>
                                        <p:attrNameLst>
                                          <p:attrName>ppt_y</p:attrName>
                                        </p:attrNameLst>
                                      </p:cBhvr>
                                      <p:tavLst>
                                        <p:tav tm="0">
                                          <p:val>
                                            <p:strVal val="#ppt_y+.1"/>
                                          </p:val>
                                        </p:tav>
                                        <p:tav tm="100000">
                                          <p:val>
                                            <p:strVal val="#ppt_y"/>
                                          </p:val>
                                        </p:tav>
                                      </p:tavLst>
                                    </p:anim>
                                  </p:childTnLst>
                                </p:cTn>
                              </p:par>
                              <p:par>
                                <p:cTn id="157" presetID="42" presetClass="entr" presetSubtype="0" fill="hold" grpId="0" nodeType="withEffect">
                                  <p:stCondLst>
                                    <p:cond delay="0"/>
                                  </p:stCondLst>
                                  <p:childTnLst>
                                    <p:set>
                                      <p:cBhvr>
                                        <p:cTn id="158" dur="1" fill="hold">
                                          <p:stCondLst>
                                            <p:cond delay="0"/>
                                          </p:stCondLst>
                                        </p:cTn>
                                        <p:tgtEl>
                                          <p:spTgt spid="48"/>
                                        </p:tgtEl>
                                        <p:attrNameLst>
                                          <p:attrName>style.visibility</p:attrName>
                                        </p:attrNameLst>
                                      </p:cBhvr>
                                      <p:to>
                                        <p:strVal val="visible"/>
                                      </p:to>
                                    </p:set>
                                    <p:animEffect transition="in" filter="fade">
                                      <p:cBhvr>
                                        <p:cTn id="159" dur="1000"/>
                                        <p:tgtEl>
                                          <p:spTgt spid="48"/>
                                        </p:tgtEl>
                                      </p:cBhvr>
                                    </p:animEffect>
                                    <p:anim calcmode="lin" valueType="num">
                                      <p:cBhvr>
                                        <p:cTn id="160" dur="1000" fill="hold"/>
                                        <p:tgtEl>
                                          <p:spTgt spid="48"/>
                                        </p:tgtEl>
                                        <p:attrNameLst>
                                          <p:attrName>ppt_x</p:attrName>
                                        </p:attrNameLst>
                                      </p:cBhvr>
                                      <p:tavLst>
                                        <p:tav tm="0">
                                          <p:val>
                                            <p:strVal val="#ppt_x"/>
                                          </p:val>
                                        </p:tav>
                                        <p:tav tm="100000">
                                          <p:val>
                                            <p:strVal val="#ppt_x"/>
                                          </p:val>
                                        </p:tav>
                                      </p:tavLst>
                                    </p:anim>
                                    <p:anim calcmode="lin" valueType="num">
                                      <p:cBhvr>
                                        <p:cTn id="161" dur="1000" fill="hold"/>
                                        <p:tgtEl>
                                          <p:spTgt spid="48"/>
                                        </p:tgtEl>
                                        <p:attrNameLst>
                                          <p:attrName>ppt_y</p:attrName>
                                        </p:attrNameLst>
                                      </p:cBhvr>
                                      <p:tavLst>
                                        <p:tav tm="0">
                                          <p:val>
                                            <p:strVal val="#ppt_y+.1"/>
                                          </p:val>
                                        </p:tav>
                                        <p:tav tm="100000">
                                          <p:val>
                                            <p:strVal val="#ppt_y"/>
                                          </p:val>
                                        </p:tav>
                                      </p:tavLst>
                                    </p:anim>
                                  </p:childTnLst>
                                </p:cTn>
                              </p:par>
                              <p:par>
                                <p:cTn id="162" presetID="42" presetClass="entr" presetSubtype="0" fill="hold" grpId="0" nodeType="withEffect">
                                  <p:stCondLst>
                                    <p:cond delay="0"/>
                                  </p:stCondLst>
                                  <p:childTnLst>
                                    <p:set>
                                      <p:cBhvr>
                                        <p:cTn id="163" dur="1" fill="hold">
                                          <p:stCondLst>
                                            <p:cond delay="0"/>
                                          </p:stCondLst>
                                        </p:cTn>
                                        <p:tgtEl>
                                          <p:spTgt spid="47"/>
                                        </p:tgtEl>
                                        <p:attrNameLst>
                                          <p:attrName>style.visibility</p:attrName>
                                        </p:attrNameLst>
                                      </p:cBhvr>
                                      <p:to>
                                        <p:strVal val="visible"/>
                                      </p:to>
                                    </p:set>
                                    <p:animEffect transition="in" filter="fade">
                                      <p:cBhvr>
                                        <p:cTn id="164" dur="1000"/>
                                        <p:tgtEl>
                                          <p:spTgt spid="47"/>
                                        </p:tgtEl>
                                      </p:cBhvr>
                                    </p:animEffect>
                                    <p:anim calcmode="lin" valueType="num">
                                      <p:cBhvr>
                                        <p:cTn id="165" dur="1000" fill="hold"/>
                                        <p:tgtEl>
                                          <p:spTgt spid="47"/>
                                        </p:tgtEl>
                                        <p:attrNameLst>
                                          <p:attrName>ppt_x</p:attrName>
                                        </p:attrNameLst>
                                      </p:cBhvr>
                                      <p:tavLst>
                                        <p:tav tm="0">
                                          <p:val>
                                            <p:strVal val="#ppt_x"/>
                                          </p:val>
                                        </p:tav>
                                        <p:tav tm="100000">
                                          <p:val>
                                            <p:strVal val="#ppt_x"/>
                                          </p:val>
                                        </p:tav>
                                      </p:tavLst>
                                    </p:anim>
                                    <p:anim calcmode="lin" valueType="num">
                                      <p:cBhvr>
                                        <p:cTn id="166" dur="1000" fill="hold"/>
                                        <p:tgtEl>
                                          <p:spTgt spid="47"/>
                                        </p:tgtEl>
                                        <p:attrNameLst>
                                          <p:attrName>ppt_y</p:attrName>
                                        </p:attrNameLst>
                                      </p:cBhvr>
                                      <p:tavLst>
                                        <p:tav tm="0">
                                          <p:val>
                                            <p:strVal val="#ppt_y+.1"/>
                                          </p:val>
                                        </p:tav>
                                        <p:tav tm="100000">
                                          <p:val>
                                            <p:strVal val="#ppt_y"/>
                                          </p:val>
                                        </p:tav>
                                      </p:tavLst>
                                    </p:anim>
                                  </p:childTnLst>
                                </p:cTn>
                              </p:par>
                              <p:par>
                                <p:cTn id="167" presetID="42" presetClass="entr" presetSubtype="0" fill="hold" nodeType="withEffect">
                                  <p:stCondLst>
                                    <p:cond delay="0"/>
                                  </p:stCondLst>
                                  <p:childTnLst>
                                    <p:set>
                                      <p:cBhvr>
                                        <p:cTn id="168" dur="1" fill="hold">
                                          <p:stCondLst>
                                            <p:cond delay="0"/>
                                          </p:stCondLst>
                                        </p:cTn>
                                        <p:tgtEl>
                                          <p:spTgt spid="49"/>
                                        </p:tgtEl>
                                        <p:attrNameLst>
                                          <p:attrName>style.visibility</p:attrName>
                                        </p:attrNameLst>
                                      </p:cBhvr>
                                      <p:to>
                                        <p:strVal val="visible"/>
                                      </p:to>
                                    </p:set>
                                    <p:animEffect transition="in" filter="fade">
                                      <p:cBhvr>
                                        <p:cTn id="169" dur="1000"/>
                                        <p:tgtEl>
                                          <p:spTgt spid="49"/>
                                        </p:tgtEl>
                                      </p:cBhvr>
                                    </p:animEffect>
                                    <p:anim calcmode="lin" valueType="num">
                                      <p:cBhvr>
                                        <p:cTn id="170" dur="1000" fill="hold"/>
                                        <p:tgtEl>
                                          <p:spTgt spid="49"/>
                                        </p:tgtEl>
                                        <p:attrNameLst>
                                          <p:attrName>ppt_x</p:attrName>
                                        </p:attrNameLst>
                                      </p:cBhvr>
                                      <p:tavLst>
                                        <p:tav tm="0">
                                          <p:val>
                                            <p:strVal val="#ppt_x"/>
                                          </p:val>
                                        </p:tav>
                                        <p:tav tm="100000">
                                          <p:val>
                                            <p:strVal val="#ppt_x"/>
                                          </p:val>
                                        </p:tav>
                                      </p:tavLst>
                                    </p:anim>
                                    <p:anim calcmode="lin" valueType="num">
                                      <p:cBhvr>
                                        <p:cTn id="171" dur="1000" fill="hold"/>
                                        <p:tgtEl>
                                          <p:spTgt spid="49"/>
                                        </p:tgtEl>
                                        <p:attrNameLst>
                                          <p:attrName>ppt_y</p:attrName>
                                        </p:attrNameLst>
                                      </p:cBhvr>
                                      <p:tavLst>
                                        <p:tav tm="0">
                                          <p:val>
                                            <p:strVal val="#ppt_y+.1"/>
                                          </p:val>
                                        </p:tav>
                                        <p:tav tm="100000">
                                          <p:val>
                                            <p:strVal val="#ppt_y"/>
                                          </p:val>
                                        </p:tav>
                                      </p:tavLst>
                                    </p:anim>
                                  </p:childTnLst>
                                </p:cTn>
                              </p:par>
                              <p:par>
                                <p:cTn id="172" presetID="42" presetClass="entr" presetSubtype="0" fill="hold" nodeType="withEffect">
                                  <p:stCondLst>
                                    <p:cond delay="0"/>
                                  </p:stCondLst>
                                  <p:childTnLst>
                                    <p:set>
                                      <p:cBhvr>
                                        <p:cTn id="173" dur="1" fill="hold">
                                          <p:stCondLst>
                                            <p:cond delay="0"/>
                                          </p:stCondLst>
                                        </p:cTn>
                                        <p:tgtEl>
                                          <p:spTgt spid="50"/>
                                        </p:tgtEl>
                                        <p:attrNameLst>
                                          <p:attrName>style.visibility</p:attrName>
                                        </p:attrNameLst>
                                      </p:cBhvr>
                                      <p:to>
                                        <p:strVal val="visible"/>
                                      </p:to>
                                    </p:set>
                                    <p:animEffect transition="in" filter="fade">
                                      <p:cBhvr>
                                        <p:cTn id="174" dur="1000"/>
                                        <p:tgtEl>
                                          <p:spTgt spid="50"/>
                                        </p:tgtEl>
                                      </p:cBhvr>
                                    </p:animEffect>
                                    <p:anim calcmode="lin" valueType="num">
                                      <p:cBhvr>
                                        <p:cTn id="175" dur="1000" fill="hold"/>
                                        <p:tgtEl>
                                          <p:spTgt spid="50"/>
                                        </p:tgtEl>
                                        <p:attrNameLst>
                                          <p:attrName>ppt_x</p:attrName>
                                        </p:attrNameLst>
                                      </p:cBhvr>
                                      <p:tavLst>
                                        <p:tav tm="0">
                                          <p:val>
                                            <p:strVal val="#ppt_x"/>
                                          </p:val>
                                        </p:tav>
                                        <p:tav tm="100000">
                                          <p:val>
                                            <p:strVal val="#ppt_x"/>
                                          </p:val>
                                        </p:tav>
                                      </p:tavLst>
                                    </p:anim>
                                    <p:anim calcmode="lin" valueType="num">
                                      <p:cBhvr>
                                        <p:cTn id="176" dur="1000" fill="hold"/>
                                        <p:tgtEl>
                                          <p:spTgt spid="50"/>
                                        </p:tgtEl>
                                        <p:attrNameLst>
                                          <p:attrName>ppt_y</p:attrName>
                                        </p:attrNameLst>
                                      </p:cBhvr>
                                      <p:tavLst>
                                        <p:tav tm="0">
                                          <p:val>
                                            <p:strVal val="#ppt_y+.1"/>
                                          </p:val>
                                        </p:tav>
                                        <p:tav tm="100000">
                                          <p:val>
                                            <p:strVal val="#ppt_y"/>
                                          </p:val>
                                        </p:tav>
                                      </p:tavLst>
                                    </p:anim>
                                  </p:childTnLst>
                                </p:cTn>
                              </p:par>
                              <p:par>
                                <p:cTn id="177" presetID="42" presetClass="entr" presetSubtype="0" fill="hold" grpId="0" nodeType="withEffect">
                                  <p:stCondLst>
                                    <p:cond delay="0"/>
                                  </p:stCondLst>
                                  <p:childTnLst>
                                    <p:set>
                                      <p:cBhvr>
                                        <p:cTn id="178" dur="1" fill="hold">
                                          <p:stCondLst>
                                            <p:cond delay="0"/>
                                          </p:stCondLst>
                                        </p:cTn>
                                        <p:tgtEl>
                                          <p:spTgt spid="45"/>
                                        </p:tgtEl>
                                        <p:attrNameLst>
                                          <p:attrName>style.visibility</p:attrName>
                                        </p:attrNameLst>
                                      </p:cBhvr>
                                      <p:to>
                                        <p:strVal val="visible"/>
                                      </p:to>
                                    </p:set>
                                    <p:animEffect transition="in" filter="fade">
                                      <p:cBhvr>
                                        <p:cTn id="179" dur="1000"/>
                                        <p:tgtEl>
                                          <p:spTgt spid="45"/>
                                        </p:tgtEl>
                                      </p:cBhvr>
                                    </p:animEffect>
                                    <p:anim calcmode="lin" valueType="num">
                                      <p:cBhvr>
                                        <p:cTn id="180" dur="1000" fill="hold"/>
                                        <p:tgtEl>
                                          <p:spTgt spid="45"/>
                                        </p:tgtEl>
                                        <p:attrNameLst>
                                          <p:attrName>ppt_x</p:attrName>
                                        </p:attrNameLst>
                                      </p:cBhvr>
                                      <p:tavLst>
                                        <p:tav tm="0">
                                          <p:val>
                                            <p:strVal val="#ppt_x"/>
                                          </p:val>
                                        </p:tav>
                                        <p:tav tm="100000">
                                          <p:val>
                                            <p:strVal val="#ppt_x"/>
                                          </p:val>
                                        </p:tav>
                                      </p:tavLst>
                                    </p:anim>
                                    <p:anim calcmode="lin" valueType="num">
                                      <p:cBhvr>
                                        <p:cTn id="181"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7" grpId="0" animBg="1"/>
      <p:bldP spid="18" grpId="0" animBg="1"/>
      <p:bldP spid="29" grpId="0"/>
      <p:bldP spid="30" grpId="0" animBg="1"/>
      <p:bldP spid="31" grpId="0"/>
      <p:bldP spid="36" grpId="0"/>
      <p:bldP spid="37" grpId="0" animBg="1"/>
      <p:bldP spid="38" grpId="0"/>
      <p:bldP spid="39" grpId="0" animBg="1"/>
      <p:bldP spid="40" grpId="0" animBg="1"/>
      <p:bldP spid="41" grpId="0"/>
      <p:bldP spid="42" grpId="0" animBg="1"/>
      <p:bldP spid="43" grpId="0"/>
      <p:bldP spid="44" grpId="0" animBg="1"/>
      <p:bldP spid="47" grpId="0" animBg="1"/>
      <p:bldP spid="48" grpId="0"/>
      <p:bldP spid="55" grpId="0"/>
      <p:bldP spid="21" grpId="0" animBg="1"/>
      <p:bldP spid="4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5800" y="1295400"/>
            <a:ext cx="2895600" cy="304800"/>
          </a:xfrm>
          <a:prstGeom prst="rect">
            <a:avLst/>
          </a:prstGeom>
          <a:noFill/>
        </p:spPr>
        <p:txBody>
          <a:bodyPr wrap="square" rtlCol="0">
            <a:spAutoFit/>
          </a:bodyPr>
          <a:lstStyle/>
          <a:p>
            <a:r>
              <a:rPr lang="en-IN" sz="1400" dirty="0"/>
              <a:t>SAP Cloud Platform – What is it?</a:t>
            </a:r>
            <a:endParaRPr lang="en-IN" sz="1400" dirty="0" smtClean="0">
              <a:solidFill>
                <a:schemeClr val="tx2">
                  <a:lumMod val="50000"/>
                </a:schemeClr>
              </a:solidFill>
            </a:endParaRPr>
          </a:p>
        </p:txBody>
      </p:sp>
      <p:sp>
        <p:nvSpPr>
          <p:cNvPr id="2" name="Title 1"/>
          <p:cNvSpPr>
            <a:spLocks noGrp="1"/>
          </p:cNvSpPr>
          <p:nvPr>
            <p:ph type="title"/>
          </p:nvPr>
        </p:nvSpPr>
        <p:spPr/>
        <p:txBody>
          <a:bodyPr/>
          <a:lstStyle/>
          <a:p>
            <a:r>
              <a:rPr lang="en-US" sz="2400" dirty="0"/>
              <a:t>Sensors, Connectivity &amp; SAP Cloud </a:t>
            </a:r>
            <a:r>
              <a:rPr lang="en-US" sz="2400" dirty="0" smtClean="0"/>
              <a:t>Platform</a:t>
            </a:r>
            <a:endParaRPr lang="en-IN" sz="2400" dirty="0"/>
          </a:p>
        </p:txBody>
      </p:sp>
      <p:sp>
        <p:nvSpPr>
          <p:cNvPr id="8" name="TextBox 7"/>
          <p:cNvSpPr txBox="1"/>
          <p:nvPr/>
        </p:nvSpPr>
        <p:spPr>
          <a:xfrm>
            <a:off x="3733800" y="1600200"/>
            <a:ext cx="5867400" cy="1200329"/>
          </a:xfrm>
          <a:prstGeom prst="rect">
            <a:avLst/>
          </a:prstGeom>
          <a:noFill/>
        </p:spPr>
        <p:txBody>
          <a:bodyPr wrap="square" rtlCol="0">
            <a:spAutoFit/>
          </a:bodyPr>
          <a:lstStyle/>
          <a:p>
            <a:r>
              <a:rPr lang="en-IN" sz="1800" b="1" dirty="0">
                <a:solidFill>
                  <a:schemeClr val="accent1">
                    <a:lumMod val="60000"/>
                    <a:lumOff val="40000"/>
                  </a:schemeClr>
                </a:solidFill>
              </a:rPr>
              <a:t>SAP Cloud Platform</a:t>
            </a:r>
            <a:r>
              <a:rPr lang="en-IN" sz="1800" dirty="0"/>
              <a:t> is an open </a:t>
            </a:r>
            <a:r>
              <a:rPr lang="en-IN" sz="1800" dirty="0">
                <a:solidFill>
                  <a:schemeClr val="accent1">
                    <a:lumMod val="60000"/>
                    <a:lumOff val="40000"/>
                  </a:schemeClr>
                </a:solidFill>
              </a:rPr>
              <a:t>platform-as-a-service</a:t>
            </a:r>
            <a:r>
              <a:rPr lang="en-IN" sz="1800" dirty="0"/>
              <a:t> (</a:t>
            </a:r>
            <a:r>
              <a:rPr lang="en-IN" sz="1800" dirty="0" err="1">
                <a:solidFill>
                  <a:schemeClr val="accent1">
                    <a:lumMod val="60000"/>
                    <a:lumOff val="40000"/>
                  </a:schemeClr>
                </a:solidFill>
              </a:rPr>
              <a:t>PaaS</a:t>
            </a:r>
            <a:r>
              <a:rPr lang="en-IN" sz="1800" dirty="0"/>
              <a:t>) </a:t>
            </a:r>
            <a:r>
              <a:rPr lang="en-IN" sz="1800" dirty="0" smtClean="0"/>
              <a:t>that delivers </a:t>
            </a:r>
            <a:r>
              <a:rPr lang="en-IN" sz="1800" dirty="0"/>
              <a:t>in-memory capabilities, </a:t>
            </a:r>
            <a:r>
              <a:rPr lang="en-IN" sz="1800" dirty="0" smtClean="0"/>
              <a:t>core platform </a:t>
            </a:r>
            <a:r>
              <a:rPr lang="en-IN" sz="1800" dirty="0"/>
              <a:t>services, and </a:t>
            </a:r>
            <a:r>
              <a:rPr lang="en-IN" sz="1800" dirty="0" smtClean="0"/>
              <a:t>unique micro-services </a:t>
            </a:r>
            <a:r>
              <a:rPr lang="en-IN" sz="1800" dirty="0"/>
              <a:t>for building and extending intelligent applications.</a:t>
            </a:r>
            <a:endParaRPr lang="en-IN" sz="1800" dirty="0" smtClean="0">
              <a:solidFill>
                <a:schemeClr val="tx2">
                  <a:lumMod val="50000"/>
                </a:schemeClr>
              </a:solidFill>
            </a:endParaRPr>
          </a:p>
        </p:txBody>
      </p:sp>
      <p:pic>
        <p:nvPicPr>
          <p:cNvPr id="9" name="Picture 8"/>
          <p:cNvPicPr>
            <a:picLocks noChangeAspect="1"/>
          </p:cNvPicPr>
          <p:nvPr/>
        </p:nvPicPr>
        <p:blipFill>
          <a:blip r:embed="rId2"/>
          <a:stretch>
            <a:fillRect/>
          </a:stretch>
        </p:blipFill>
        <p:spPr>
          <a:xfrm>
            <a:off x="228600" y="1752600"/>
            <a:ext cx="3352800" cy="1177392"/>
          </a:xfrm>
          <a:prstGeom prst="rect">
            <a:avLst/>
          </a:prstGeom>
        </p:spPr>
      </p:pic>
      <p:sp>
        <p:nvSpPr>
          <p:cNvPr id="10" name="TextBox 9"/>
          <p:cNvSpPr txBox="1"/>
          <p:nvPr/>
        </p:nvSpPr>
        <p:spPr>
          <a:xfrm>
            <a:off x="228600" y="3050464"/>
            <a:ext cx="5105400" cy="307777"/>
          </a:xfrm>
          <a:prstGeom prst="rect">
            <a:avLst/>
          </a:prstGeom>
          <a:noFill/>
        </p:spPr>
        <p:txBody>
          <a:bodyPr wrap="square" rtlCol="0">
            <a:spAutoFit/>
          </a:bodyPr>
          <a:lstStyle/>
          <a:p>
            <a:r>
              <a:rPr lang="en-IN" sz="1400" b="1" dirty="0" smtClean="0">
                <a:solidFill>
                  <a:schemeClr val="tx2">
                    <a:lumMod val="50000"/>
                  </a:schemeClr>
                </a:solidFill>
              </a:rPr>
              <a:t>Combine Data from different sources for deeper insights</a:t>
            </a:r>
          </a:p>
        </p:txBody>
      </p:sp>
      <p:sp>
        <p:nvSpPr>
          <p:cNvPr id="11" name="Rectangle 10"/>
          <p:cNvSpPr/>
          <p:nvPr/>
        </p:nvSpPr>
        <p:spPr>
          <a:xfrm>
            <a:off x="304800" y="3810000"/>
            <a:ext cx="1828800" cy="2438400"/>
          </a:xfrm>
          <a:prstGeom prst="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2" name="Rounded Rectangle 11"/>
          <p:cNvSpPr/>
          <p:nvPr/>
        </p:nvSpPr>
        <p:spPr>
          <a:xfrm>
            <a:off x="615696" y="4857248"/>
            <a:ext cx="1143000" cy="53340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3" name="Rounded Rectangle 12"/>
          <p:cNvSpPr/>
          <p:nvPr/>
        </p:nvSpPr>
        <p:spPr>
          <a:xfrm>
            <a:off x="615696" y="4084361"/>
            <a:ext cx="1143000" cy="53340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800" dirty="0" smtClean="0">
              <a:solidFill>
                <a:schemeClr val="tx2">
                  <a:lumMod val="50000"/>
                </a:schemeClr>
              </a:solidFill>
            </a:endParaRPr>
          </a:p>
        </p:txBody>
      </p:sp>
      <p:sp>
        <p:nvSpPr>
          <p:cNvPr id="14" name="Rounded Rectangle 13"/>
          <p:cNvSpPr/>
          <p:nvPr/>
        </p:nvSpPr>
        <p:spPr>
          <a:xfrm>
            <a:off x="615696" y="5630135"/>
            <a:ext cx="1143000" cy="53340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smtClean="0">
                <a:solidFill>
                  <a:schemeClr val="tx2">
                    <a:lumMod val="50000"/>
                  </a:schemeClr>
                </a:solidFill>
              </a:rPr>
              <a:t>ERP</a:t>
            </a:r>
          </a:p>
          <a:p>
            <a:pPr algn="ctr"/>
            <a:r>
              <a:rPr lang="en-IN" sz="800" dirty="0" smtClean="0">
                <a:solidFill>
                  <a:schemeClr val="tx2">
                    <a:lumMod val="50000"/>
                  </a:schemeClr>
                </a:solidFill>
              </a:rPr>
              <a:t>(CRM, HCM, SCM)</a:t>
            </a:r>
          </a:p>
          <a:p>
            <a:pPr algn="ctr"/>
            <a:r>
              <a:rPr lang="en-IN" sz="800" dirty="0" smtClean="0">
                <a:solidFill>
                  <a:schemeClr val="tx2">
                    <a:lumMod val="50000"/>
                  </a:schemeClr>
                </a:solidFill>
              </a:rPr>
              <a:t>And IOT Platform</a:t>
            </a:r>
          </a:p>
        </p:txBody>
      </p:sp>
      <p:sp>
        <p:nvSpPr>
          <p:cNvPr id="15" name="TextBox 14"/>
          <p:cNvSpPr txBox="1"/>
          <p:nvPr/>
        </p:nvSpPr>
        <p:spPr>
          <a:xfrm>
            <a:off x="844296" y="5422159"/>
            <a:ext cx="679704" cy="246221"/>
          </a:xfrm>
          <a:prstGeom prst="rect">
            <a:avLst/>
          </a:prstGeom>
          <a:noFill/>
        </p:spPr>
        <p:txBody>
          <a:bodyPr wrap="square" rtlCol="0">
            <a:spAutoFit/>
          </a:bodyPr>
          <a:lstStyle/>
          <a:p>
            <a:r>
              <a:rPr lang="en-IN" sz="1000" dirty="0" smtClean="0">
                <a:solidFill>
                  <a:schemeClr val="tx2">
                    <a:lumMod val="50000"/>
                  </a:schemeClr>
                </a:solidFill>
              </a:rPr>
              <a:t>Systems</a:t>
            </a:r>
          </a:p>
        </p:txBody>
      </p:sp>
      <p:sp>
        <p:nvSpPr>
          <p:cNvPr id="16" name="TextBox 15"/>
          <p:cNvSpPr txBox="1"/>
          <p:nvPr/>
        </p:nvSpPr>
        <p:spPr>
          <a:xfrm>
            <a:off x="653796" y="4645901"/>
            <a:ext cx="1060704" cy="246221"/>
          </a:xfrm>
          <a:prstGeom prst="rect">
            <a:avLst/>
          </a:prstGeom>
          <a:noFill/>
        </p:spPr>
        <p:txBody>
          <a:bodyPr wrap="square" rtlCol="0">
            <a:spAutoFit/>
          </a:bodyPr>
          <a:lstStyle/>
          <a:p>
            <a:r>
              <a:rPr lang="en-IN" sz="1000" dirty="0" smtClean="0">
                <a:solidFill>
                  <a:schemeClr val="tx2">
                    <a:lumMod val="50000"/>
                  </a:schemeClr>
                </a:solidFill>
              </a:rPr>
              <a:t>Business Data</a:t>
            </a:r>
          </a:p>
        </p:txBody>
      </p:sp>
      <p:sp>
        <p:nvSpPr>
          <p:cNvPr id="17" name="TextBox 16"/>
          <p:cNvSpPr txBox="1"/>
          <p:nvPr/>
        </p:nvSpPr>
        <p:spPr>
          <a:xfrm>
            <a:off x="729996" y="3876385"/>
            <a:ext cx="1060704" cy="246221"/>
          </a:xfrm>
          <a:prstGeom prst="rect">
            <a:avLst/>
          </a:prstGeom>
          <a:noFill/>
        </p:spPr>
        <p:txBody>
          <a:bodyPr wrap="square" rtlCol="0">
            <a:spAutoFit/>
          </a:bodyPr>
          <a:lstStyle/>
          <a:p>
            <a:r>
              <a:rPr lang="en-IN" sz="1000" dirty="0" smtClean="0">
                <a:solidFill>
                  <a:schemeClr val="tx2">
                    <a:lumMod val="50000"/>
                  </a:schemeClr>
                </a:solidFill>
              </a:rPr>
              <a:t>Device Data</a:t>
            </a:r>
          </a:p>
        </p:txBody>
      </p:sp>
      <p:pic>
        <p:nvPicPr>
          <p:cNvPr id="320514" name="Picture 2" descr="Image result for data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3795" y="4926816"/>
            <a:ext cx="425767" cy="42576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mage result for data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3131" y="4149209"/>
            <a:ext cx="425767" cy="42576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1038653" y="4181523"/>
            <a:ext cx="752048" cy="338554"/>
          </a:xfrm>
          <a:prstGeom prst="rect">
            <a:avLst/>
          </a:prstGeom>
          <a:noFill/>
        </p:spPr>
        <p:txBody>
          <a:bodyPr wrap="square" rtlCol="0">
            <a:spAutoFit/>
          </a:bodyPr>
          <a:lstStyle/>
          <a:p>
            <a:r>
              <a:rPr lang="en-IN" sz="800" dirty="0" smtClean="0">
                <a:solidFill>
                  <a:schemeClr val="tx2">
                    <a:lumMod val="50000"/>
                  </a:schemeClr>
                </a:solidFill>
              </a:rPr>
              <a:t>Sensor Data</a:t>
            </a:r>
          </a:p>
          <a:p>
            <a:r>
              <a:rPr lang="en-IN" sz="800" dirty="0" smtClean="0">
                <a:solidFill>
                  <a:schemeClr val="tx2">
                    <a:lumMod val="50000"/>
                  </a:schemeClr>
                </a:solidFill>
              </a:rPr>
              <a:t>Master Data</a:t>
            </a:r>
          </a:p>
        </p:txBody>
      </p:sp>
      <p:sp>
        <p:nvSpPr>
          <p:cNvPr id="21" name="TextBox 20"/>
          <p:cNvSpPr txBox="1"/>
          <p:nvPr/>
        </p:nvSpPr>
        <p:spPr>
          <a:xfrm>
            <a:off x="1028493" y="4899172"/>
            <a:ext cx="752048" cy="461665"/>
          </a:xfrm>
          <a:prstGeom prst="rect">
            <a:avLst/>
          </a:prstGeom>
          <a:noFill/>
        </p:spPr>
        <p:txBody>
          <a:bodyPr wrap="square" rtlCol="0">
            <a:spAutoFit/>
          </a:bodyPr>
          <a:lstStyle/>
          <a:p>
            <a:r>
              <a:rPr lang="en-IN" sz="800" dirty="0" smtClean="0">
                <a:solidFill>
                  <a:schemeClr val="tx2">
                    <a:lumMod val="50000"/>
                  </a:schemeClr>
                </a:solidFill>
              </a:rPr>
              <a:t>Rules</a:t>
            </a:r>
          </a:p>
          <a:p>
            <a:r>
              <a:rPr lang="en-IN" sz="800" dirty="0" smtClean="0">
                <a:solidFill>
                  <a:schemeClr val="tx2">
                    <a:lumMod val="50000"/>
                  </a:schemeClr>
                </a:solidFill>
              </a:rPr>
              <a:t>Processes</a:t>
            </a:r>
          </a:p>
          <a:p>
            <a:r>
              <a:rPr lang="en-IN" sz="800" dirty="0" smtClean="0">
                <a:solidFill>
                  <a:schemeClr val="tx2">
                    <a:lumMod val="50000"/>
                  </a:schemeClr>
                </a:solidFill>
              </a:rPr>
              <a:t>Historical</a:t>
            </a:r>
          </a:p>
        </p:txBody>
      </p:sp>
      <p:sp>
        <p:nvSpPr>
          <p:cNvPr id="20" name="TextBox 19"/>
          <p:cNvSpPr txBox="1"/>
          <p:nvPr/>
        </p:nvSpPr>
        <p:spPr>
          <a:xfrm>
            <a:off x="304800" y="3429000"/>
            <a:ext cx="1828800" cy="304800"/>
          </a:xfrm>
          <a:prstGeom prst="rect">
            <a:avLst/>
          </a:prstGeom>
          <a:noFill/>
        </p:spPr>
        <p:txBody>
          <a:bodyPr wrap="square" rtlCol="0">
            <a:spAutoFit/>
          </a:bodyPr>
          <a:lstStyle/>
          <a:p>
            <a:r>
              <a:rPr lang="en-IN" sz="1400" b="1" dirty="0" smtClean="0">
                <a:solidFill>
                  <a:schemeClr val="tx1">
                    <a:lumMod val="60000"/>
                    <a:lumOff val="40000"/>
                  </a:schemeClr>
                </a:solidFill>
              </a:rPr>
              <a:t>Back-End Systems</a:t>
            </a:r>
          </a:p>
        </p:txBody>
      </p:sp>
      <p:pic>
        <p:nvPicPr>
          <p:cNvPr id="23" name="Picture 22"/>
          <p:cNvPicPr>
            <a:picLocks noChangeAspect="1"/>
          </p:cNvPicPr>
          <p:nvPr/>
        </p:nvPicPr>
        <p:blipFill>
          <a:blip r:embed="rId4"/>
          <a:stretch>
            <a:fillRect/>
          </a:stretch>
        </p:blipFill>
        <p:spPr>
          <a:xfrm>
            <a:off x="3509680" y="3429000"/>
            <a:ext cx="281361" cy="293912"/>
          </a:xfrm>
          <a:prstGeom prst="rect">
            <a:avLst/>
          </a:prstGeom>
        </p:spPr>
      </p:pic>
      <p:sp>
        <p:nvSpPr>
          <p:cNvPr id="24" name="TextBox 23"/>
          <p:cNvSpPr txBox="1"/>
          <p:nvPr/>
        </p:nvSpPr>
        <p:spPr>
          <a:xfrm>
            <a:off x="3791041" y="3423556"/>
            <a:ext cx="1828800" cy="304800"/>
          </a:xfrm>
          <a:prstGeom prst="rect">
            <a:avLst/>
          </a:prstGeom>
          <a:noFill/>
        </p:spPr>
        <p:txBody>
          <a:bodyPr wrap="square" rtlCol="0">
            <a:spAutoFit/>
          </a:bodyPr>
          <a:lstStyle/>
          <a:p>
            <a:r>
              <a:rPr lang="en-IN" sz="1400" b="1" dirty="0" smtClean="0">
                <a:solidFill>
                  <a:srgbClr val="00B050"/>
                </a:solidFill>
              </a:rPr>
              <a:t>Applications</a:t>
            </a:r>
          </a:p>
        </p:txBody>
      </p:sp>
      <p:sp>
        <p:nvSpPr>
          <p:cNvPr id="22" name="Rounded Rectangle 21"/>
          <p:cNvSpPr/>
          <p:nvPr/>
        </p:nvSpPr>
        <p:spPr>
          <a:xfrm>
            <a:off x="3314128" y="3746361"/>
            <a:ext cx="1828800" cy="25146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pic>
        <p:nvPicPr>
          <p:cNvPr id="25" name="Picture 24"/>
          <p:cNvPicPr>
            <a:picLocks noChangeAspect="1"/>
          </p:cNvPicPr>
          <p:nvPr/>
        </p:nvPicPr>
        <p:blipFill>
          <a:blip r:embed="rId5"/>
          <a:stretch>
            <a:fillRect/>
          </a:stretch>
        </p:blipFill>
        <p:spPr>
          <a:xfrm>
            <a:off x="3427759" y="4019442"/>
            <a:ext cx="462921" cy="373171"/>
          </a:xfrm>
          <a:prstGeom prst="rect">
            <a:avLst/>
          </a:prstGeom>
        </p:spPr>
      </p:pic>
      <p:pic>
        <p:nvPicPr>
          <p:cNvPr id="26" name="Picture 25"/>
          <p:cNvPicPr>
            <a:picLocks noChangeAspect="1"/>
          </p:cNvPicPr>
          <p:nvPr/>
        </p:nvPicPr>
        <p:blipFill>
          <a:blip r:embed="rId6"/>
          <a:stretch>
            <a:fillRect/>
          </a:stretch>
        </p:blipFill>
        <p:spPr>
          <a:xfrm>
            <a:off x="3431429" y="4769011"/>
            <a:ext cx="437861" cy="437861"/>
          </a:xfrm>
          <a:prstGeom prst="rect">
            <a:avLst/>
          </a:prstGeom>
        </p:spPr>
      </p:pic>
      <p:pic>
        <p:nvPicPr>
          <p:cNvPr id="27" name="Picture 26"/>
          <p:cNvPicPr>
            <a:picLocks noChangeAspect="1"/>
          </p:cNvPicPr>
          <p:nvPr/>
        </p:nvPicPr>
        <p:blipFill>
          <a:blip r:embed="rId7"/>
          <a:stretch>
            <a:fillRect/>
          </a:stretch>
        </p:blipFill>
        <p:spPr>
          <a:xfrm>
            <a:off x="3427759" y="5583270"/>
            <a:ext cx="447387" cy="452414"/>
          </a:xfrm>
          <a:prstGeom prst="rect">
            <a:avLst/>
          </a:prstGeom>
        </p:spPr>
      </p:pic>
      <p:sp>
        <p:nvSpPr>
          <p:cNvPr id="28" name="TextBox 27"/>
          <p:cNvSpPr txBox="1"/>
          <p:nvPr/>
        </p:nvSpPr>
        <p:spPr>
          <a:xfrm>
            <a:off x="3890680" y="4085093"/>
            <a:ext cx="914400" cy="276999"/>
          </a:xfrm>
          <a:prstGeom prst="rect">
            <a:avLst/>
          </a:prstGeom>
          <a:noFill/>
        </p:spPr>
        <p:txBody>
          <a:bodyPr wrap="square" rtlCol="0">
            <a:spAutoFit/>
          </a:bodyPr>
          <a:lstStyle/>
          <a:p>
            <a:r>
              <a:rPr lang="en-IN" sz="1200" dirty="0" smtClean="0">
                <a:solidFill>
                  <a:schemeClr val="tx2">
                    <a:lumMod val="50000"/>
                  </a:schemeClr>
                </a:solidFill>
              </a:rPr>
              <a:t>Monitoring</a:t>
            </a:r>
          </a:p>
        </p:txBody>
      </p:sp>
      <p:sp>
        <p:nvSpPr>
          <p:cNvPr id="30" name="TextBox 29"/>
          <p:cNvSpPr txBox="1"/>
          <p:nvPr/>
        </p:nvSpPr>
        <p:spPr>
          <a:xfrm>
            <a:off x="3890680" y="4862700"/>
            <a:ext cx="1066800" cy="276999"/>
          </a:xfrm>
          <a:prstGeom prst="rect">
            <a:avLst/>
          </a:prstGeom>
          <a:noFill/>
        </p:spPr>
        <p:txBody>
          <a:bodyPr wrap="square" rtlCol="0">
            <a:spAutoFit/>
          </a:bodyPr>
          <a:lstStyle/>
          <a:p>
            <a:r>
              <a:rPr lang="en-IN" sz="1200" dirty="0" smtClean="0">
                <a:solidFill>
                  <a:schemeClr val="tx2">
                    <a:lumMod val="50000"/>
                  </a:schemeClr>
                </a:solidFill>
              </a:rPr>
              <a:t>Notifications</a:t>
            </a:r>
          </a:p>
        </p:txBody>
      </p:sp>
      <p:sp>
        <p:nvSpPr>
          <p:cNvPr id="31" name="TextBox 30"/>
          <p:cNvSpPr txBox="1"/>
          <p:nvPr/>
        </p:nvSpPr>
        <p:spPr>
          <a:xfrm>
            <a:off x="3890680" y="5653140"/>
            <a:ext cx="1066800" cy="276999"/>
          </a:xfrm>
          <a:prstGeom prst="rect">
            <a:avLst/>
          </a:prstGeom>
          <a:noFill/>
        </p:spPr>
        <p:txBody>
          <a:bodyPr wrap="square" rtlCol="0">
            <a:spAutoFit/>
          </a:bodyPr>
          <a:lstStyle/>
          <a:p>
            <a:r>
              <a:rPr lang="en-IN" sz="1200" dirty="0" smtClean="0">
                <a:solidFill>
                  <a:schemeClr val="tx2">
                    <a:lumMod val="50000"/>
                  </a:schemeClr>
                </a:solidFill>
              </a:rPr>
              <a:t>Analytics</a:t>
            </a:r>
          </a:p>
        </p:txBody>
      </p:sp>
      <p:sp>
        <p:nvSpPr>
          <p:cNvPr id="29" name="Rectangle 28"/>
          <p:cNvSpPr/>
          <p:nvPr/>
        </p:nvSpPr>
        <p:spPr>
          <a:xfrm>
            <a:off x="6400800" y="3810000"/>
            <a:ext cx="1676400" cy="24384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pic>
        <p:nvPicPr>
          <p:cNvPr id="320512" name="Picture 320511"/>
          <p:cNvPicPr>
            <a:picLocks noChangeAspect="1"/>
          </p:cNvPicPr>
          <p:nvPr/>
        </p:nvPicPr>
        <p:blipFill>
          <a:blip r:embed="rId8"/>
          <a:stretch>
            <a:fillRect/>
          </a:stretch>
        </p:blipFill>
        <p:spPr>
          <a:xfrm>
            <a:off x="6653212" y="4239485"/>
            <a:ext cx="1171575" cy="1390650"/>
          </a:xfrm>
          <a:prstGeom prst="rect">
            <a:avLst/>
          </a:prstGeom>
        </p:spPr>
      </p:pic>
      <p:sp>
        <p:nvSpPr>
          <p:cNvPr id="34" name="TextBox 33"/>
          <p:cNvSpPr txBox="1"/>
          <p:nvPr/>
        </p:nvSpPr>
        <p:spPr>
          <a:xfrm>
            <a:off x="6513569" y="3438584"/>
            <a:ext cx="2171700" cy="307777"/>
          </a:xfrm>
          <a:prstGeom prst="rect">
            <a:avLst/>
          </a:prstGeom>
          <a:noFill/>
        </p:spPr>
        <p:txBody>
          <a:bodyPr wrap="square" rtlCol="0">
            <a:spAutoFit/>
          </a:bodyPr>
          <a:lstStyle/>
          <a:p>
            <a:r>
              <a:rPr lang="en-IN" sz="1400" b="1" dirty="0" smtClean="0">
                <a:solidFill>
                  <a:schemeClr val="accent1">
                    <a:lumMod val="60000"/>
                    <a:lumOff val="40000"/>
                  </a:schemeClr>
                </a:solidFill>
              </a:rPr>
              <a:t>Insights and Actions</a:t>
            </a:r>
          </a:p>
        </p:txBody>
      </p:sp>
      <p:pic>
        <p:nvPicPr>
          <p:cNvPr id="320513" name="Picture 320512"/>
          <p:cNvPicPr>
            <a:picLocks noChangeAspect="1"/>
          </p:cNvPicPr>
          <p:nvPr/>
        </p:nvPicPr>
        <p:blipFill>
          <a:blip r:embed="rId9"/>
          <a:stretch>
            <a:fillRect/>
          </a:stretch>
        </p:blipFill>
        <p:spPr>
          <a:xfrm>
            <a:off x="6133141" y="3384417"/>
            <a:ext cx="380428" cy="380428"/>
          </a:xfrm>
          <a:prstGeom prst="rect">
            <a:avLst/>
          </a:prstGeom>
        </p:spPr>
      </p:pic>
      <p:sp>
        <p:nvSpPr>
          <p:cNvPr id="320515" name="Right Arrow 320514"/>
          <p:cNvSpPr/>
          <p:nvPr/>
        </p:nvSpPr>
        <p:spPr>
          <a:xfrm>
            <a:off x="2188224" y="4269858"/>
            <a:ext cx="1030372" cy="378276"/>
          </a:xfrm>
          <a:prstGeom prst="rightArrow">
            <a:avLst/>
          </a:prstGeom>
          <a:solidFill>
            <a:schemeClr val="accent5">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20516" name="Left Arrow 320515"/>
          <p:cNvSpPr/>
          <p:nvPr/>
        </p:nvSpPr>
        <p:spPr>
          <a:xfrm>
            <a:off x="2171700" y="5352583"/>
            <a:ext cx="1046896" cy="315797"/>
          </a:xfrm>
          <a:prstGeom prst="leftArrow">
            <a:avLst/>
          </a:prstGeom>
          <a:solidFill>
            <a:schemeClr val="bg1">
              <a:lumMod val="6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20517" name="Right Arrow 320516"/>
          <p:cNvSpPr/>
          <p:nvPr/>
        </p:nvSpPr>
        <p:spPr>
          <a:xfrm>
            <a:off x="5238460" y="4262913"/>
            <a:ext cx="1123617" cy="376043"/>
          </a:xfrm>
          <a:prstGeom prst="rightArrow">
            <a:avLst/>
          </a:prstGeom>
          <a:solidFill>
            <a:schemeClr val="bg1">
              <a:lumMod val="6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20518" name="Left Arrow 320517"/>
          <p:cNvSpPr/>
          <p:nvPr/>
        </p:nvSpPr>
        <p:spPr>
          <a:xfrm>
            <a:off x="5232252" y="5367714"/>
            <a:ext cx="1135576" cy="387318"/>
          </a:xfrm>
          <a:prstGeom prst="leftArrow">
            <a:avLst/>
          </a:prstGeom>
          <a:solidFill>
            <a:schemeClr val="accent3">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Tree>
    <p:extLst>
      <p:ext uri="{BB962C8B-B14F-4D97-AF65-F5344CB8AC3E}">
        <p14:creationId xmlns:p14="http://schemas.microsoft.com/office/powerpoint/2010/main" val="23047002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1000"/>
                                        <p:tgtEl>
                                          <p:spTgt spid="10"/>
                                        </p:tgtEl>
                                      </p:cBhvr>
                                    </p:animEffect>
                                    <p:anim calcmode="lin" valueType="num">
                                      <p:cBhvr>
                                        <p:cTn id="16" dur="1000" fill="hold"/>
                                        <p:tgtEl>
                                          <p:spTgt spid="10"/>
                                        </p:tgtEl>
                                        <p:attrNameLst>
                                          <p:attrName>ppt_x</p:attrName>
                                        </p:attrNameLst>
                                      </p:cBhvr>
                                      <p:tavLst>
                                        <p:tav tm="0">
                                          <p:val>
                                            <p:strVal val="#ppt_x"/>
                                          </p:val>
                                        </p:tav>
                                        <p:tav tm="100000">
                                          <p:val>
                                            <p:strVal val="#ppt_x"/>
                                          </p:val>
                                        </p:tav>
                                      </p:tavLst>
                                    </p:anim>
                                    <p:anim calcmode="lin" valueType="num">
                                      <p:cBhvr>
                                        <p:cTn id="17"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anim calcmode="lin" valueType="num">
                                      <p:cBhvr>
                                        <p:cTn id="23" dur="1000" fill="hold"/>
                                        <p:tgtEl>
                                          <p:spTgt spid="11"/>
                                        </p:tgtEl>
                                        <p:attrNameLst>
                                          <p:attrName>ppt_x</p:attrName>
                                        </p:attrNameLst>
                                      </p:cBhvr>
                                      <p:tavLst>
                                        <p:tav tm="0">
                                          <p:val>
                                            <p:strVal val="#ppt_x"/>
                                          </p:val>
                                        </p:tav>
                                        <p:tav tm="100000">
                                          <p:val>
                                            <p:strVal val="#ppt_x"/>
                                          </p:val>
                                        </p:tav>
                                      </p:tavLst>
                                    </p:anim>
                                    <p:anim calcmode="lin" valueType="num">
                                      <p:cBhvr>
                                        <p:cTn id="24" dur="1000" fill="hold"/>
                                        <p:tgtEl>
                                          <p:spTgt spid="11"/>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anim calcmode="lin" valueType="num">
                                      <p:cBhvr>
                                        <p:cTn id="28" dur="1000" fill="hold"/>
                                        <p:tgtEl>
                                          <p:spTgt spid="12"/>
                                        </p:tgtEl>
                                        <p:attrNameLst>
                                          <p:attrName>ppt_x</p:attrName>
                                        </p:attrNameLst>
                                      </p:cBhvr>
                                      <p:tavLst>
                                        <p:tav tm="0">
                                          <p:val>
                                            <p:strVal val="#ppt_x"/>
                                          </p:val>
                                        </p:tav>
                                        <p:tav tm="100000">
                                          <p:val>
                                            <p:strVal val="#ppt_x"/>
                                          </p:val>
                                        </p:tav>
                                      </p:tavLst>
                                    </p:anim>
                                    <p:anim calcmode="lin" valueType="num">
                                      <p:cBhvr>
                                        <p:cTn id="29" dur="1000" fill="hold"/>
                                        <p:tgtEl>
                                          <p:spTgt spid="12"/>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1000"/>
                                        <p:tgtEl>
                                          <p:spTgt spid="13"/>
                                        </p:tgtEl>
                                      </p:cBhvr>
                                    </p:animEffect>
                                    <p:anim calcmode="lin" valueType="num">
                                      <p:cBhvr>
                                        <p:cTn id="33" dur="1000" fill="hold"/>
                                        <p:tgtEl>
                                          <p:spTgt spid="13"/>
                                        </p:tgtEl>
                                        <p:attrNameLst>
                                          <p:attrName>ppt_x</p:attrName>
                                        </p:attrNameLst>
                                      </p:cBhvr>
                                      <p:tavLst>
                                        <p:tav tm="0">
                                          <p:val>
                                            <p:strVal val="#ppt_x"/>
                                          </p:val>
                                        </p:tav>
                                        <p:tav tm="100000">
                                          <p:val>
                                            <p:strVal val="#ppt_x"/>
                                          </p:val>
                                        </p:tav>
                                      </p:tavLst>
                                    </p:anim>
                                    <p:anim calcmode="lin" valueType="num">
                                      <p:cBhvr>
                                        <p:cTn id="34" dur="1000" fill="hold"/>
                                        <p:tgtEl>
                                          <p:spTgt spid="13"/>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1000"/>
                                        <p:tgtEl>
                                          <p:spTgt spid="14"/>
                                        </p:tgtEl>
                                      </p:cBhvr>
                                    </p:animEffect>
                                    <p:anim calcmode="lin" valueType="num">
                                      <p:cBhvr>
                                        <p:cTn id="38" dur="1000" fill="hold"/>
                                        <p:tgtEl>
                                          <p:spTgt spid="14"/>
                                        </p:tgtEl>
                                        <p:attrNameLst>
                                          <p:attrName>ppt_x</p:attrName>
                                        </p:attrNameLst>
                                      </p:cBhvr>
                                      <p:tavLst>
                                        <p:tav tm="0">
                                          <p:val>
                                            <p:strVal val="#ppt_x"/>
                                          </p:val>
                                        </p:tav>
                                        <p:tav tm="100000">
                                          <p:val>
                                            <p:strVal val="#ppt_x"/>
                                          </p:val>
                                        </p:tav>
                                      </p:tavLst>
                                    </p:anim>
                                    <p:anim calcmode="lin" valueType="num">
                                      <p:cBhvr>
                                        <p:cTn id="39" dur="1000" fill="hold"/>
                                        <p:tgtEl>
                                          <p:spTgt spid="14"/>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1000"/>
                                        <p:tgtEl>
                                          <p:spTgt spid="15"/>
                                        </p:tgtEl>
                                      </p:cBhvr>
                                    </p:animEffect>
                                    <p:anim calcmode="lin" valueType="num">
                                      <p:cBhvr>
                                        <p:cTn id="43" dur="1000" fill="hold"/>
                                        <p:tgtEl>
                                          <p:spTgt spid="15"/>
                                        </p:tgtEl>
                                        <p:attrNameLst>
                                          <p:attrName>ppt_x</p:attrName>
                                        </p:attrNameLst>
                                      </p:cBhvr>
                                      <p:tavLst>
                                        <p:tav tm="0">
                                          <p:val>
                                            <p:strVal val="#ppt_x"/>
                                          </p:val>
                                        </p:tav>
                                        <p:tav tm="100000">
                                          <p:val>
                                            <p:strVal val="#ppt_x"/>
                                          </p:val>
                                        </p:tav>
                                      </p:tavLst>
                                    </p:anim>
                                    <p:anim calcmode="lin" valueType="num">
                                      <p:cBhvr>
                                        <p:cTn id="44" dur="1000" fill="hold"/>
                                        <p:tgtEl>
                                          <p:spTgt spid="1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1000"/>
                                        <p:tgtEl>
                                          <p:spTgt spid="16"/>
                                        </p:tgtEl>
                                      </p:cBhvr>
                                    </p:animEffect>
                                    <p:anim calcmode="lin" valueType="num">
                                      <p:cBhvr>
                                        <p:cTn id="48" dur="1000" fill="hold"/>
                                        <p:tgtEl>
                                          <p:spTgt spid="16"/>
                                        </p:tgtEl>
                                        <p:attrNameLst>
                                          <p:attrName>ppt_x</p:attrName>
                                        </p:attrNameLst>
                                      </p:cBhvr>
                                      <p:tavLst>
                                        <p:tav tm="0">
                                          <p:val>
                                            <p:strVal val="#ppt_x"/>
                                          </p:val>
                                        </p:tav>
                                        <p:tav tm="100000">
                                          <p:val>
                                            <p:strVal val="#ppt_x"/>
                                          </p:val>
                                        </p:tav>
                                      </p:tavLst>
                                    </p:anim>
                                    <p:anim calcmode="lin" valueType="num">
                                      <p:cBhvr>
                                        <p:cTn id="49" dur="1000" fill="hold"/>
                                        <p:tgtEl>
                                          <p:spTgt spid="16"/>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7"/>
                                        </p:tgtEl>
                                        <p:attrNameLst>
                                          <p:attrName>style.visibility</p:attrName>
                                        </p:attrNameLst>
                                      </p:cBhvr>
                                      <p:to>
                                        <p:strVal val="visible"/>
                                      </p:to>
                                    </p:set>
                                    <p:animEffect transition="in" filter="fade">
                                      <p:cBhvr>
                                        <p:cTn id="52" dur="1000"/>
                                        <p:tgtEl>
                                          <p:spTgt spid="17"/>
                                        </p:tgtEl>
                                      </p:cBhvr>
                                    </p:animEffect>
                                    <p:anim calcmode="lin" valueType="num">
                                      <p:cBhvr>
                                        <p:cTn id="53" dur="1000" fill="hold"/>
                                        <p:tgtEl>
                                          <p:spTgt spid="17"/>
                                        </p:tgtEl>
                                        <p:attrNameLst>
                                          <p:attrName>ppt_x</p:attrName>
                                        </p:attrNameLst>
                                      </p:cBhvr>
                                      <p:tavLst>
                                        <p:tav tm="0">
                                          <p:val>
                                            <p:strVal val="#ppt_x"/>
                                          </p:val>
                                        </p:tav>
                                        <p:tav tm="100000">
                                          <p:val>
                                            <p:strVal val="#ppt_x"/>
                                          </p:val>
                                        </p:tav>
                                      </p:tavLst>
                                    </p:anim>
                                    <p:anim calcmode="lin" valueType="num">
                                      <p:cBhvr>
                                        <p:cTn id="54" dur="1000" fill="hold"/>
                                        <p:tgtEl>
                                          <p:spTgt spid="17"/>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320514"/>
                                        </p:tgtEl>
                                        <p:attrNameLst>
                                          <p:attrName>style.visibility</p:attrName>
                                        </p:attrNameLst>
                                      </p:cBhvr>
                                      <p:to>
                                        <p:strVal val="visible"/>
                                      </p:to>
                                    </p:set>
                                    <p:animEffect transition="in" filter="fade">
                                      <p:cBhvr>
                                        <p:cTn id="57" dur="1000"/>
                                        <p:tgtEl>
                                          <p:spTgt spid="320514"/>
                                        </p:tgtEl>
                                      </p:cBhvr>
                                    </p:animEffect>
                                    <p:anim calcmode="lin" valueType="num">
                                      <p:cBhvr>
                                        <p:cTn id="58" dur="1000" fill="hold"/>
                                        <p:tgtEl>
                                          <p:spTgt spid="320514"/>
                                        </p:tgtEl>
                                        <p:attrNameLst>
                                          <p:attrName>ppt_x</p:attrName>
                                        </p:attrNameLst>
                                      </p:cBhvr>
                                      <p:tavLst>
                                        <p:tav tm="0">
                                          <p:val>
                                            <p:strVal val="#ppt_x"/>
                                          </p:val>
                                        </p:tav>
                                        <p:tav tm="100000">
                                          <p:val>
                                            <p:strVal val="#ppt_x"/>
                                          </p:val>
                                        </p:tav>
                                      </p:tavLst>
                                    </p:anim>
                                    <p:anim calcmode="lin" valueType="num">
                                      <p:cBhvr>
                                        <p:cTn id="59" dur="1000" fill="hold"/>
                                        <p:tgtEl>
                                          <p:spTgt spid="320514"/>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1000"/>
                                        <p:tgtEl>
                                          <p:spTgt spid="19"/>
                                        </p:tgtEl>
                                      </p:cBhvr>
                                    </p:animEffect>
                                    <p:anim calcmode="lin" valueType="num">
                                      <p:cBhvr>
                                        <p:cTn id="63" dur="1000" fill="hold"/>
                                        <p:tgtEl>
                                          <p:spTgt spid="19"/>
                                        </p:tgtEl>
                                        <p:attrNameLst>
                                          <p:attrName>ppt_x</p:attrName>
                                        </p:attrNameLst>
                                      </p:cBhvr>
                                      <p:tavLst>
                                        <p:tav tm="0">
                                          <p:val>
                                            <p:strVal val="#ppt_x"/>
                                          </p:val>
                                        </p:tav>
                                        <p:tav tm="100000">
                                          <p:val>
                                            <p:strVal val="#ppt_x"/>
                                          </p:val>
                                        </p:tav>
                                      </p:tavLst>
                                    </p:anim>
                                    <p:anim calcmode="lin" valueType="num">
                                      <p:cBhvr>
                                        <p:cTn id="64" dur="1000" fill="hold"/>
                                        <p:tgtEl>
                                          <p:spTgt spid="19"/>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1000"/>
                                        <p:tgtEl>
                                          <p:spTgt spid="18"/>
                                        </p:tgtEl>
                                      </p:cBhvr>
                                    </p:animEffect>
                                    <p:anim calcmode="lin" valueType="num">
                                      <p:cBhvr>
                                        <p:cTn id="68" dur="1000" fill="hold"/>
                                        <p:tgtEl>
                                          <p:spTgt spid="18"/>
                                        </p:tgtEl>
                                        <p:attrNameLst>
                                          <p:attrName>ppt_x</p:attrName>
                                        </p:attrNameLst>
                                      </p:cBhvr>
                                      <p:tavLst>
                                        <p:tav tm="0">
                                          <p:val>
                                            <p:strVal val="#ppt_x"/>
                                          </p:val>
                                        </p:tav>
                                        <p:tav tm="100000">
                                          <p:val>
                                            <p:strVal val="#ppt_x"/>
                                          </p:val>
                                        </p:tav>
                                      </p:tavLst>
                                    </p:anim>
                                    <p:anim calcmode="lin" valueType="num">
                                      <p:cBhvr>
                                        <p:cTn id="69" dur="1000" fill="hold"/>
                                        <p:tgtEl>
                                          <p:spTgt spid="18"/>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fade">
                                      <p:cBhvr>
                                        <p:cTn id="72" dur="1000"/>
                                        <p:tgtEl>
                                          <p:spTgt spid="21"/>
                                        </p:tgtEl>
                                      </p:cBhvr>
                                    </p:animEffect>
                                    <p:anim calcmode="lin" valueType="num">
                                      <p:cBhvr>
                                        <p:cTn id="73" dur="1000" fill="hold"/>
                                        <p:tgtEl>
                                          <p:spTgt spid="21"/>
                                        </p:tgtEl>
                                        <p:attrNameLst>
                                          <p:attrName>ppt_x</p:attrName>
                                        </p:attrNameLst>
                                      </p:cBhvr>
                                      <p:tavLst>
                                        <p:tav tm="0">
                                          <p:val>
                                            <p:strVal val="#ppt_x"/>
                                          </p:val>
                                        </p:tav>
                                        <p:tav tm="100000">
                                          <p:val>
                                            <p:strVal val="#ppt_x"/>
                                          </p:val>
                                        </p:tav>
                                      </p:tavLst>
                                    </p:anim>
                                    <p:anim calcmode="lin" valueType="num">
                                      <p:cBhvr>
                                        <p:cTn id="74" dur="1000" fill="hold"/>
                                        <p:tgtEl>
                                          <p:spTgt spid="21"/>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20"/>
                                        </p:tgtEl>
                                        <p:attrNameLst>
                                          <p:attrName>style.visibility</p:attrName>
                                        </p:attrNameLst>
                                      </p:cBhvr>
                                      <p:to>
                                        <p:strVal val="visible"/>
                                      </p:to>
                                    </p:set>
                                    <p:animEffect transition="in" filter="fade">
                                      <p:cBhvr>
                                        <p:cTn id="77" dur="1000"/>
                                        <p:tgtEl>
                                          <p:spTgt spid="20"/>
                                        </p:tgtEl>
                                      </p:cBhvr>
                                    </p:animEffect>
                                    <p:anim calcmode="lin" valueType="num">
                                      <p:cBhvr>
                                        <p:cTn id="78" dur="1000" fill="hold"/>
                                        <p:tgtEl>
                                          <p:spTgt spid="20"/>
                                        </p:tgtEl>
                                        <p:attrNameLst>
                                          <p:attrName>ppt_x</p:attrName>
                                        </p:attrNameLst>
                                      </p:cBhvr>
                                      <p:tavLst>
                                        <p:tav tm="0">
                                          <p:val>
                                            <p:strVal val="#ppt_x"/>
                                          </p:val>
                                        </p:tav>
                                        <p:tav tm="100000">
                                          <p:val>
                                            <p:strVal val="#ppt_x"/>
                                          </p:val>
                                        </p:tav>
                                      </p:tavLst>
                                    </p:anim>
                                    <p:anim calcmode="lin" valueType="num">
                                      <p:cBhvr>
                                        <p:cTn id="7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nodeType="clickEffect">
                                  <p:stCondLst>
                                    <p:cond delay="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00"/>
                                        <p:tgtEl>
                                          <p:spTgt spid="23"/>
                                        </p:tgtEl>
                                      </p:cBhvr>
                                    </p:animEffect>
                                    <p:anim calcmode="lin" valueType="num">
                                      <p:cBhvr>
                                        <p:cTn id="85" dur="1000" fill="hold"/>
                                        <p:tgtEl>
                                          <p:spTgt spid="23"/>
                                        </p:tgtEl>
                                        <p:attrNameLst>
                                          <p:attrName>ppt_x</p:attrName>
                                        </p:attrNameLst>
                                      </p:cBhvr>
                                      <p:tavLst>
                                        <p:tav tm="0">
                                          <p:val>
                                            <p:strVal val="#ppt_x"/>
                                          </p:val>
                                        </p:tav>
                                        <p:tav tm="100000">
                                          <p:val>
                                            <p:strVal val="#ppt_x"/>
                                          </p:val>
                                        </p:tav>
                                      </p:tavLst>
                                    </p:anim>
                                    <p:anim calcmode="lin" valueType="num">
                                      <p:cBhvr>
                                        <p:cTn id="86" dur="1000" fill="hold"/>
                                        <p:tgtEl>
                                          <p:spTgt spid="23"/>
                                        </p:tgtEl>
                                        <p:attrNameLst>
                                          <p:attrName>ppt_y</p:attrName>
                                        </p:attrNameLst>
                                      </p:cBhvr>
                                      <p:tavLst>
                                        <p:tav tm="0">
                                          <p:val>
                                            <p:strVal val="#ppt_y+.1"/>
                                          </p:val>
                                        </p:tav>
                                        <p:tav tm="100000">
                                          <p:val>
                                            <p:strVal val="#ppt_y"/>
                                          </p:val>
                                        </p:tav>
                                      </p:tavLst>
                                    </p:anim>
                                  </p:childTnLst>
                                </p:cTn>
                              </p:par>
                              <p:par>
                                <p:cTn id="87" presetID="42" presetClass="entr" presetSubtype="0" fill="hold" grpId="0" nodeType="withEffect">
                                  <p:stCondLst>
                                    <p:cond delay="0"/>
                                  </p:stCondLst>
                                  <p:childTnLst>
                                    <p:set>
                                      <p:cBhvr>
                                        <p:cTn id="88" dur="1" fill="hold">
                                          <p:stCondLst>
                                            <p:cond delay="0"/>
                                          </p:stCondLst>
                                        </p:cTn>
                                        <p:tgtEl>
                                          <p:spTgt spid="24"/>
                                        </p:tgtEl>
                                        <p:attrNameLst>
                                          <p:attrName>style.visibility</p:attrName>
                                        </p:attrNameLst>
                                      </p:cBhvr>
                                      <p:to>
                                        <p:strVal val="visible"/>
                                      </p:to>
                                    </p:set>
                                    <p:animEffect transition="in" filter="fade">
                                      <p:cBhvr>
                                        <p:cTn id="89" dur="1000"/>
                                        <p:tgtEl>
                                          <p:spTgt spid="24"/>
                                        </p:tgtEl>
                                      </p:cBhvr>
                                    </p:animEffect>
                                    <p:anim calcmode="lin" valueType="num">
                                      <p:cBhvr>
                                        <p:cTn id="90" dur="1000" fill="hold"/>
                                        <p:tgtEl>
                                          <p:spTgt spid="24"/>
                                        </p:tgtEl>
                                        <p:attrNameLst>
                                          <p:attrName>ppt_x</p:attrName>
                                        </p:attrNameLst>
                                      </p:cBhvr>
                                      <p:tavLst>
                                        <p:tav tm="0">
                                          <p:val>
                                            <p:strVal val="#ppt_x"/>
                                          </p:val>
                                        </p:tav>
                                        <p:tav tm="100000">
                                          <p:val>
                                            <p:strVal val="#ppt_x"/>
                                          </p:val>
                                        </p:tav>
                                      </p:tavLst>
                                    </p:anim>
                                    <p:anim calcmode="lin" valueType="num">
                                      <p:cBhvr>
                                        <p:cTn id="91" dur="1000" fill="hold"/>
                                        <p:tgtEl>
                                          <p:spTgt spid="24"/>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22"/>
                                        </p:tgtEl>
                                        <p:attrNameLst>
                                          <p:attrName>style.visibility</p:attrName>
                                        </p:attrNameLst>
                                      </p:cBhvr>
                                      <p:to>
                                        <p:strVal val="visible"/>
                                      </p:to>
                                    </p:set>
                                    <p:animEffect transition="in" filter="fade">
                                      <p:cBhvr>
                                        <p:cTn id="94" dur="1000"/>
                                        <p:tgtEl>
                                          <p:spTgt spid="22"/>
                                        </p:tgtEl>
                                      </p:cBhvr>
                                    </p:animEffect>
                                    <p:anim calcmode="lin" valueType="num">
                                      <p:cBhvr>
                                        <p:cTn id="95" dur="1000" fill="hold"/>
                                        <p:tgtEl>
                                          <p:spTgt spid="22"/>
                                        </p:tgtEl>
                                        <p:attrNameLst>
                                          <p:attrName>ppt_x</p:attrName>
                                        </p:attrNameLst>
                                      </p:cBhvr>
                                      <p:tavLst>
                                        <p:tav tm="0">
                                          <p:val>
                                            <p:strVal val="#ppt_x"/>
                                          </p:val>
                                        </p:tav>
                                        <p:tav tm="100000">
                                          <p:val>
                                            <p:strVal val="#ppt_x"/>
                                          </p:val>
                                        </p:tav>
                                      </p:tavLst>
                                    </p:anim>
                                    <p:anim calcmode="lin" valueType="num">
                                      <p:cBhvr>
                                        <p:cTn id="96" dur="1000" fill="hold"/>
                                        <p:tgtEl>
                                          <p:spTgt spid="22"/>
                                        </p:tgtEl>
                                        <p:attrNameLst>
                                          <p:attrName>ppt_y</p:attrName>
                                        </p:attrNameLst>
                                      </p:cBhvr>
                                      <p:tavLst>
                                        <p:tav tm="0">
                                          <p:val>
                                            <p:strVal val="#ppt_y+.1"/>
                                          </p:val>
                                        </p:tav>
                                        <p:tav tm="100000">
                                          <p:val>
                                            <p:strVal val="#ppt_y"/>
                                          </p:val>
                                        </p:tav>
                                      </p:tavLst>
                                    </p:anim>
                                  </p:childTnLst>
                                </p:cTn>
                              </p:par>
                              <p:par>
                                <p:cTn id="97" presetID="42" presetClass="entr" presetSubtype="0" fill="hold" nodeType="withEffect">
                                  <p:stCondLst>
                                    <p:cond delay="0"/>
                                  </p:stCondLst>
                                  <p:childTnLst>
                                    <p:set>
                                      <p:cBhvr>
                                        <p:cTn id="98" dur="1" fill="hold">
                                          <p:stCondLst>
                                            <p:cond delay="0"/>
                                          </p:stCondLst>
                                        </p:cTn>
                                        <p:tgtEl>
                                          <p:spTgt spid="25"/>
                                        </p:tgtEl>
                                        <p:attrNameLst>
                                          <p:attrName>style.visibility</p:attrName>
                                        </p:attrNameLst>
                                      </p:cBhvr>
                                      <p:to>
                                        <p:strVal val="visible"/>
                                      </p:to>
                                    </p:set>
                                    <p:animEffect transition="in" filter="fade">
                                      <p:cBhvr>
                                        <p:cTn id="99" dur="1000"/>
                                        <p:tgtEl>
                                          <p:spTgt spid="25"/>
                                        </p:tgtEl>
                                      </p:cBhvr>
                                    </p:animEffect>
                                    <p:anim calcmode="lin" valueType="num">
                                      <p:cBhvr>
                                        <p:cTn id="100" dur="1000" fill="hold"/>
                                        <p:tgtEl>
                                          <p:spTgt spid="25"/>
                                        </p:tgtEl>
                                        <p:attrNameLst>
                                          <p:attrName>ppt_x</p:attrName>
                                        </p:attrNameLst>
                                      </p:cBhvr>
                                      <p:tavLst>
                                        <p:tav tm="0">
                                          <p:val>
                                            <p:strVal val="#ppt_x"/>
                                          </p:val>
                                        </p:tav>
                                        <p:tav tm="100000">
                                          <p:val>
                                            <p:strVal val="#ppt_x"/>
                                          </p:val>
                                        </p:tav>
                                      </p:tavLst>
                                    </p:anim>
                                    <p:anim calcmode="lin" valueType="num">
                                      <p:cBhvr>
                                        <p:cTn id="101" dur="1000" fill="hold"/>
                                        <p:tgtEl>
                                          <p:spTgt spid="25"/>
                                        </p:tgtEl>
                                        <p:attrNameLst>
                                          <p:attrName>ppt_y</p:attrName>
                                        </p:attrNameLst>
                                      </p:cBhvr>
                                      <p:tavLst>
                                        <p:tav tm="0">
                                          <p:val>
                                            <p:strVal val="#ppt_y+.1"/>
                                          </p:val>
                                        </p:tav>
                                        <p:tav tm="100000">
                                          <p:val>
                                            <p:strVal val="#ppt_y"/>
                                          </p:val>
                                        </p:tav>
                                      </p:tavLst>
                                    </p:anim>
                                  </p:childTnLst>
                                </p:cTn>
                              </p:par>
                              <p:par>
                                <p:cTn id="102" presetID="42" presetClass="entr" presetSubtype="0" fill="hold" nodeType="withEffect">
                                  <p:stCondLst>
                                    <p:cond delay="0"/>
                                  </p:stCondLst>
                                  <p:childTnLst>
                                    <p:set>
                                      <p:cBhvr>
                                        <p:cTn id="103" dur="1" fill="hold">
                                          <p:stCondLst>
                                            <p:cond delay="0"/>
                                          </p:stCondLst>
                                        </p:cTn>
                                        <p:tgtEl>
                                          <p:spTgt spid="26"/>
                                        </p:tgtEl>
                                        <p:attrNameLst>
                                          <p:attrName>style.visibility</p:attrName>
                                        </p:attrNameLst>
                                      </p:cBhvr>
                                      <p:to>
                                        <p:strVal val="visible"/>
                                      </p:to>
                                    </p:set>
                                    <p:animEffect transition="in" filter="fade">
                                      <p:cBhvr>
                                        <p:cTn id="104" dur="1000"/>
                                        <p:tgtEl>
                                          <p:spTgt spid="26"/>
                                        </p:tgtEl>
                                      </p:cBhvr>
                                    </p:animEffect>
                                    <p:anim calcmode="lin" valueType="num">
                                      <p:cBhvr>
                                        <p:cTn id="105" dur="1000" fill="hold"/>
                                        <p:tgtEl>
                                          <p:spTgt spid="26"/>
                                        </p:tgtEl>
                                        <p:attrNameLst>
                                          <p:attrName>ppt_x</p:attrName>
                                        </p:attrNameLst>
                                      </p:cBhvr>
                                      <p:tavLst>
                                        <p:tav tm="0">
                                          <p:val>
                                            <p:strVal val="#ppt_x"/>
                                          </p:val>
                                        </p:tav>
                                        <p:tav tm="100000">
                                          <p:val>
                                            <p:strVal val="#ppt_x"/>
                                          </p:val>
                                        </p:tav>
                                      </p:tavLst>
                                    </p:anim>
                                    <p:anim calcmode="lin" valueType="num">
                                      <p:cBhvr>
                                        <p:cTn id="106" dur="1000" fill="hold"/>
                                        <p:tgtEl>
                                          <p:spTgt spid="26"/>
                                        </p:tgtEl>
                                        <p:attrNameLst>
                                          <p:attrName>ppt_y</p:attrName>
                                        </p:attrNameLst>
                                      </p:cBhvr>
                                      <p:tavLst>
                                        <p:tav tm="0">
                                          <p:val>
                                            <p:strVal val="#ppt_y+.1"/>
                                          </p:val>
                                        </p:tav>
                                        <p:tav tm="100000">
                                          <p:val>
                                            <p:strVal val="#ppt_y"/>
                                          </p:val>
                                        </p:tav>
                                      </p:tavLst>
                                    </p:anim>
                                  </p:childTnLst>
                                </p:cTn>
                              </p:par>
                              <p:par>
                                <p:cTn id="107" presetID="42" presetClass="entr" presetSubtype="0" fill="hold" nodeType="withEffect">
                                  <p:stCondLst>
                                    <p:cond delay="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1000"/>
                                        <p:tgtEl>
                                          <p:spTgt spid="27"/>
                                        </p:tgtEl>
                                      </p:cBhvr>
                                    </p:animEffect>
                                    <p:anim calcmode="lin" valueType="num">
                                      <p:cBhvr>
                                        <p:cTn id="110" dur="1000" fill="hold"/>
                                        <p:tgtEl>
                                          <p:spTgt spid="27"/>
                                        </p:tgtEl>
                                        <p:attrNameLst>
                                          <p:attrName>ppt_x</p:attrName>
                                        </p:attrNameLst>
                                      </p:cBhvr>
                                      <p:tavLst>
                                        <p:tav tm="0">
                                          <p:val>
                                            <p:strVal val="#ppt_x"/>
                                          </p:val>
                                        </p:tav>
                                        <p:tav tm="100000">
                                          <p:val>
                                            <p:strVal val="#ppt_x"/>
                                          </p:val>
                                        </p:tav>
                                      </p:tavLst>
                                    </p:anim>
                                    <p:anim calcmode="lin" valueType="num">
                                      <p:cBhvr>
                                        <p:cTn id="111" dur="1000" fill="hold"/>
                                        <p:tgtEl>
                                          <p:spTgt spid="27"/>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31"/>
                                        </p:tgtEl>
                                        <p:attrNameLst>
                                          <p:attrName>style.visibility</p:attrName>
                                        </p:attrNameLst>
                                      </p:cBhvr>
                                      <p:to>
                                        <p:strVal val="visible"/>
                                      </p:to>
                                    </p:set>
                                    <p:animEffect transition="in" filter="fade">
                                      <p:cBhvr>
                                        <p:cTn id="114" dur="1000"/>
                                        <p:tgtEl>
                                          <p:spTgt spid="31"/>
                                        </p:tgtEl>
                                      </p:cBhvr>
                                    </p:animEffect>
                                    <p:anim calcmode="lin" valueType="num">
                                      <p:cBhvr>
                                        <p:cTn id="115" dur="1000" fill="hold"/>
                                        <p:tgtEl>
                                          <p:spTgt spid="31"/>
                                        </p:tgtEl>
                                        <p:attrNameLst>
                                          <p:attrName>ppt_x</p:attrName>
                                        </p:attrNameLst>
                                      </p:cBhvr>
                                      <p:tavLst>
                                        <p:tav tm="0">
                                          <p:val>
                                            <p:strVal val="#ppt_x"/>
                                          </p:val>
                                        </p:tav>
                                        <p:tav tm="100000">
                                          <p:val>
                                            <p:strVal val="#ppt_x"/>
                                          </p:val>
                                        </p:tav>
                                      </p:tavLst>
                                    </p:anim>
                                    <p:anim calcmode="lin" valueType="num">
                                      <p:cBhvr>
                                        <p:cTn id="116" dur="1000" fill="hold"/>
                                        <p:tgtEl>
                                          <p:spTgt spid="31"/>
                                        </p:tgtEl>
                                        <p:attrNameLst>
                                          <p:attrName>ppt_y</p:attrName>
                                        </p:attrNameLst>
                                      </p:cBhvr>
                                      <p:tavLst>
                                        <p:tav tm="0">
                                          <p:val>
                                            <p:strVal val="#ppt_y+.1"/>
                                          </p:val>
                                        </p:tav>
                                        <p:tav tm="100000">
                                          <p:val>
                                            <p:strVal val="#ppt_y"/>
                                          </p:val>
                                        </p:tav>
                                      </p:tavLst>
                                    </p:anim>
                                  </p:childTnLst>
                                </p:cTn>
                              </p:par>
                              <p:par>
                                <p:cTn id="117" presetID="42" presetClass="entr" presetSubtype="0" fill="hold" grpId="0" nodeType="withEffect">
                                  <p:stCondLst>
                                    <p:cond delay="0"/>
                                  </p:stCondLst>
                                  <p:childTnLst>
                                    <p:set>
                                      <p:cBhvr>
                                        <p:cTn id="118" dur="1" fill="hold">
                                          <p:stCondLst>
                                            <p:cond delay="0"/>
                                          </p:stCondLst>
                                        </p:cTn>
                                        <p:tgtEl>
                                          <p:spTgt spid="30"/>
                                        </p:tgtEl>
                                        <p:attrNameLst>
                                          <p:attrName>style.visibility</p:attrName>
                                        </p:attrNameLst>
                                      </p:cBhvr>
                                      <p:to>
                                        <p:strVal val="visible"/>
                                      </p:to>
                                    </p:set>
                                    <p:animEffect transition="in" filter="fade">
                                      <p:cBhvr>
                                        <p:cTn id="119" dur="1000"/>
                                        <p:tgtEl>
                                          <p:spTgt spid="30"/>
                                        </p:tgtEl>
                                      </p:cBhvr>
                                    </p:animEffect>
                                    <p:anim calcmode="lin" valueType="num">
                                      <p:cBhvr>
                                        <p:cTn id="120" dur="1000" fill="hold"/>
                                        <p:tgtEl>
                                          <p:spTgt spid="30"/>
                                        </p:tgtEl>
                                        <p:attrNameLst>
                                          <p:attrName>ppt_x</p:attrName>
                                        </p:attrNameLst>
                                      </p:cBhvr>
                                      <p:tavLst>
                                        <p:tav tm="0">
                                          <p:val>
                                            <p:strVal val="#ppt_x"/>
                                          </p:val>
                                        </p:tav>
                                        <p:tav tm="100000">
                                          <p:val>
                                            <p:strVal val="#ppt_x"/>
                                          </p:val>
                                        </p:tav>
                                      </p:tavLst>
                                    </p:anim>
                                    <p:anim calcmode="lin" valueType="num">
                                      <p:cBhvr>
                                        <p:cTn id="121" dur="1000" fill="hold"/>
                                        <p:tgtEl>
                                          <p:spTgt spid="30"/>
                                        </p:tgtEl>
                                        <p:attrNameLst>
                                          <p:attrName>ppt_y</p:attrName>
                                        </p:attrNameLst>
                                      </p:cBhvr>
                                      <p:tavLst>
                                        <p:tav tm="0">
                                          <p:val>
                                            <p:strVal val="#ppt_y+.1"/>
                                          </p:val>
                                        </p:tav>
                                        <p:tav tm="100000">
                                          <p:val>
                                            <p:strVal val="#ppt_y"/>
                                          </p:val>
                                        </p:tav>
                                      </p:tavLst>
                                    </p:anim>
                                  </p:childTnLst>
                                </p:cTn>
                              </p:par>
                              <p:par>
                                <p:cTn id="122" presetID="42" presetClass="entr" presetSubtype="0" fill="hold" grpId="0" nodeType="withEffect">
                                  <p:stCondLst>
                                    <p:cond delay="0"/>
                                  </p:stCondLst>
                                  <p:childTnLst>
                                    <p:set>
                                      <p:cBhvr>
                                        <p:cTn id="123" dur="1" fill="hold">
                                          <p:stCondLst>
                                            <p:cond delay="0"/>
                                          </p:stCondLst>
                                        </p:cTn>
                                        <p:tgtEl>
                                          <p:spTgt spid="28"/>
                                        </p:tgtEl>
                                        <p:attrNameLst>
                                          <p:attrName>style.visibility</p:attrName>
                                        </p:attrNameLst>
                                      </p:cBhvr>
                                      <p:to>
                                        <p:strVal val="visible"/>
                                      </p:to>
                                    </p:set>
                                    <p:animEffect transition="in" filter="fade">
                                      <p:cBhvr>
                                        <p:cTn id="124" dur="1000"/>
                                        <p:tgtEl>
                                          <p:spTgt spid="28"/>
                                        </p:tgtEl>
                                      </p:cBhvr>
                                    </p:animEffect>
                                    <p:anim calcmode="lin" valueType="num">
                                      <p:cBhvr>
                                        <p:cTn id="125" dur="1000" fill="hold"/>
                                        <p:tgtEl>
                                          <p:spTgt spid="28"/>
                                        </p:tgtEl>
                                        <p:attrNameLst>
                                          <p:attrName>ppt_x</p:attrName>
                                        </p:attrNameLst>
                                      </p:cBhvr>
                                      <p:tavLst>
                                        <p:tav tm="0">
                                          <p:val>
                                            <p:strVal val="#ppt_x"/>
                                          </p:val>
                                        </p:tav>
                                        <p:tav tm="100000">
                                          <p:val>
                                            <p:strVal val="#ppt_x"/>
                                          </p:val>
                                        </p:tav>
                                      </p:tavLst>
                                    </p:anim>
                                    <p:anim calcmode="lin" valueType="num">
                                      <p:cBhvr>
                                        <p:cTn id="126" dur="1000" fill="hold"/>
                                        <p:tgtEl>
                                          <p:spTgt spid="28"/>
                                        </p:tgtEl>
                                        <p:attrNameLst>
                                          <p:attrName>ppt_y</p:attrName>
                                        </p:attrNameLst>
                                      </p:cBhvr>
                                      <p:tavLst>
                                        <p:tav tm="0">
                                          <p:val>
                                            <p:strVal val="#ppt_y+.1"/>
                                          </p:val>
                                        </p:tav>
                                        <p:tav tm="100000">
                                          <p:val>
                                            <p:strVal val="#ppt_y"/>
                                          </p:val>
                                        </p:tav>
                                      </p:tavLst>
                                    </p:anim>
                                  </p:childTnLst>
                                </p:cTn>
                              </p:par>
                              <p:par>
                                <p:cTn id="127" presetID="42" presetClass="entr" presetSubtype="0" fill="hold" grpId="0" nodeType="withEffect">
                                  <p:stCondLst>
                                    <p:cond delay="0"/>
                                  </p:stCondLst>
                                  <p:childTnLst>
                                    <p:set>
                                      <p:cBhvr>
                                        <p:cTn id="128" dur="1" fill="hold">
                                          <p:stCondLst>
                                            <p:cond delay="0"/>
                                          </p:stCondLst>
                                        </p:cTn>
                                        <p:tgtEl>
                                          <p:spTgt spid="320515"/>
                                        </p:tgtEl>
                                        <p:attrNameLst>
                                          <p:attrName>style.visibility</p:attrName>
                                        </p:attrNameLst>
                                      </p:cBhvr>
                                      <p:to>
                                        <p:strVal val="visible"/>
                                      </p:to>
                                    </p:set>
                                    <p:animEffect transition="in" filter="fade">
                                      <p:cBhvr>
                                        <p:cTn id="129" dur="1000"/>
                                        <p:tgtEl>
                                          <p:spTgt spid="320515"/>
                                        </p:tgtEl>
                                      </p:cBhvr>
                                    </p:animEffect>
                                    <p:anim calcmode="lin" valueType="num">
                                      <p:cBhvr>
                                        <p:cTn id="130" dur="1000" fill="hold"/>
                                        <p:tgtEl>
                                          <p:spTgt spid="320515"/>
                                        </p:tgtEl>
                                        <p:attrNameLst>
                                          <p:attrName>ppt_x</p:attrName>
                                        </p:attrNameLst>
                                      </p:cBhvr>
                                      <p:tavLst>
                                        <p:tav tm="0">
                                          <p:val>
                                            <p:strVal val="#ppt_x"/>
                                          </p:val>
                                        </p:tav>
                                        <p:tav tm="100000">
                                          <p:val>
                                            <p:strVal val="#ppt_x"/>
                                          </p:val>
                                        </p:tav>
                                      </p:tavLst>
                                    </p:anim>
                                    <p:anim calcmode="lin" valueType="num">
                                      <p:cBhvr>
                                        <p:cTn id="131" dur="1000" fill="hold"/>
                                        <p:tgtEl>
                                          <p:spTgt spid="320515"/>
                                        </p:tgtEl>
                                        <p:attrNameLst>
                                          <p:attrName>ppt_y</p:attrName>
                                        </p:attrNameLst>
                                      </p:cBhvr>
                                      <p:tavLst>
                                        <p:tav tm="0">
                                          <p:val>
                                            <p:strVal val="#ppt_y+.1"/>
                                          </p:val>
                                        </p:tav>
                                        <p:tav tm="100000">
                                          <p:val>
                                            <p:strVal val="#ppt_y"/>
                                          </p:val>
                                        </p:tav>
                                      </p:tavLst>
                                    </p:anim>
                                  </p:childTnLst>
                                </p:cTn>
                              </p:par>
                              <p:par>
                                <p:cTn id="132" presetID="42" presetClass="entr" presetSubtype="0" fill="hold" grpId="0" nodeType="withEffect">
                                  <p:stCondLst>
                                    <p:cond delay="0"/>
                                  </p:stCondLst>
                                  <p:childTnLst>
                                    <p:set>
                                      <p:cBhvr>
                                        <p:cTn id="133" dur="1" fill="hold">
                                          <p:stCondLst>
                                            <p:cond delay="0"/>
                                          </p:stCondLst>
                                        </p:cTn>
                                        <p:tgtEl>
                                          <p:spTgt spid="320516"/>
                                        </p:tgtEl>
                                        <p:attrNameLst>
                                          <p:attrName>style.visibility</p:attrName>
                                        </p:attrNameLst>
                                      </p:cBhvr>
                                      <p:to>
                                        <p:strVal val="visible"/>
                                      </p:to>
                                    </p:set>
                                    <p:animEffect transition="in" filter="fade">
                                      <p:cBhvr>
                                        <p:cTn id="134" dur="1000"/>
                                        <p:tgtEl>
                                          <p:spTgt spid="320516"/>
                                        </p:tgtEl>
                                      </p:cBhvr>
                                    </p:animEffect>
                                    <p:anim calcmode="lin" valueType="num">
                                      <p:cBhvr>
                                        <p:cTn id="135" dur="1000" fill="hold"/>
                                        <p:tgtEl>
                                          <p:spTgt spid="320516"/>
                                        </p:tgtEl>
                                        <p:attrNameLst>
                                          <p:attrName>ppt_x</p:attrName>
                                        </p:attrNameLst>
                                      </p:cBhvr>
                                      <p:tavLst>
                                        <p:tav tm="0">
                                          <p:val>
                                            <p:strVal val="#ppt_x"/>
                                          </p:val>
                                        </p:tav>
                                        <p:tav tm="100000">
                                          <p:val>
                                            <p:strVal val="#ppt_x"/>
                                          </p:val>
                                        </p:tav>
                                      </p:tavLst>
                                    </p:anim>
                                    <p:anim calcmode="lin" valueType="num">
                                      <p:cBhvr>
                                        <p:cTn id="136" dur="1000" fill="hold"/>
                                        <p:tgtEl>
                                          <p:spTgt spid="320516"/>
                                        </p:tgtEl>
                                        <p:attrNameLst>
                                          <p:attrName>ppt_y</p:attrName>
                                        </p:attrNameLst>
                                      </p:cBhvr>
                                      <p:tavLst>
                                        <p:tav tm="0">
                                          <p:val>
                                            <p:strVal val="#ppt_y+.1"/>
                                          </p:val>
                                        </p:tav>
                                        <p:tav tm="100000">
                                          <p:val>
                                            <p:strVal val="#ppt_y"/>
                                          </p:val>
                                        </p:tav>
                                      </p:tavLst>
                                    </p:anim>
                                  </p:childTnLst>
                                </p:cTn>
                              </p:par>
                            </p:childTnLst>
                          </p:cTn>
                        </p:par>
                      </p:childTnLst>
                    </p:cTn>
                  </p:par>
                  <p:par>
                    <p:cTn id="137" fill="hold">
                      <p:stCondLst>
                        <p:cond delay="indefinite"/>
                      </p:stCondLst>
                      <p:childTnLst>
                        <p:par>
                          <p:cTn id="138" fill="hold">
                            <p:stCondLst>
                              <p:cond delay="0"/>
                            </p:stCondLst>
                            <p:childTnLst>
                              <p:par>
                                <p:cTn id="139" presetID="42" presetClass="entr" presetSubtype="0" fill="hold" grpId="0" nodeType="clickEffect">
                                  <p:stCondLst>
                                    <p:cond delay="0"/>
                                  </p:stCondLst>
                                  <p:childTnLst>
                                    <p:set>
                                      <p:cBhvr>
                                        <p:cTn id="140" dur="1" fill="hold">
                                          <p:stCondLst>
                                            <p:cond delay="0"/>
                                          </p:stCondLst>
                                        </p:cTn>
                                        <p:tgtEl>
                                          <p:spTgt spid="320517"/>
                                        </p:tgtEl>
                                        <p:attrNameLst>
                                          <p:attrName>style.visibility</p:attrName>
                                        </p:attrNameLst>
                                      </p:cBhvr>
                                      <p:to>
                                        <p:strVal val="visible"/>
                                      </p:to>
                                    </p:set>
                                    <p:animEffect transition="in" filter="fade">
                                      <p:cBhvr>
                                        <p:cTn id="141" dur="1000"/>
                                        <p:tgtEl>
                                          <p:spTgt spid="320517"/>
                                        </p:tgtEl>
                                      </p:cBhvr>
                                    </p:animEffect>
                                    <p:anim calcmode="lin" valueType="num">
                                      <p:cBhvr>
                                        <p:cTn id="142" dur="1000" fill="hold"/>
                                        <p:tgtEl>
                                          <p:spTgt spid="320517"/>
                                        </p:tgtEl>
                                        <p:attrNameLst>
                                          <p:attrName>ppt_x</p:attrName>
                                        </p:attrNameLst>
                                      </p:cBhvr>
                                      <p:tavLst>
                                        <p:tav tm="0">
                                          <p:val>
                                            <p:strVal val="#ppt_x"/>
                                          </p:val>
                                        </p:tav>
                                        <p:tav tm="100000">
                                          <p:val>
                                            <p:strVal val="#ppt_x"/>
                                          </p:val>
                                        </p:tav>
                                      </p:tavLst>
                                    </p:anim>
                                    <p:anim calcmode="lin" valueType="num">
                                      <p:cBhvr>
                                        <p:cTn id="143" dur="1000" fill="hold"/>
                                        <p:tgtEl>
                                          <p:spTgt spid="320517"/>
                                        </p:tgtEl>
                                        <p:attrNameLst>
                                          <p:attrName>ppt_y</p:attrName>
                                        </p:attrNameLst>
                                      </p:cBhvr>
                                      <p:tavLst>
                                        <p:tav tm="0">
                                          <p:val>
                                            <p:strVal val="#ppt_y+.1"/>
                                          </p:val>
                                        </p:tav>
                                        <p:tav tm="100000">
                                          <p:val>
                                            <p:strVal val="#ppt_y"/>
                                          </p:val>
                                        </p:tav>
                                      </p:tavLst>
                                    </p:anim>
                                  </p:childTnLst>
                                </p:cTn>
                              </p:par>
                              <p:par>
                                <p:cTn id="144" presetID="42" presetClass="entr" presetSubtype="0" fill="hold" grpId="0" nodeType="withEffect">
                                  <p:stCondLst>
                                    <p:cond delay="0"/>
                                  </p:stCondLst>
                                  <p:childTnLst>
                                    <p:set>
                                      <p:cBhvr>
                                        <p:cTn id="145" dur="1" fill="hold">
                                          <p:stCondLst>
                                            <p:cond delay="0"/>
                                          </p:stCondLst>
                                        </p:cTn>
                                        <p:tgtEl>
                                          <p:spTgt spid="320518"/>
                                        </p:tgtEl>
                                        <p:attrNameLst>
                                          <p:attrName>style.visibility</p:attrName>
                                        </p:attrNameLst>
                                      </p:cBhvr>
                                      <p:to>
                                        <p:strVal val="visible"/>
                                      </p:to>
                                    </p:set>
                                    <p:animEffect transition="in" filter="fade">
                                      <p:cBhvr>
                                        <p:cTn id="146" dur="1000"/>
                                        <p:tgtEl>
                                          <p:spTgt spid="320518"/>
                                        </p:tgtEl>
                                      </p:cBhvr>
                                    </p:animEffect>
                                    <p:anim calcmode="lin" valueType="num">
                                      <p:cBhvr>
                                        <p:cTn id="147" dur="1000" fill="hold"/>
                                        <p:tgtEl>
                                          <p:spTgt spid="320518"/>
                                        </p:tgtEl>
                                        <p:attrNameLst>
                                          <p:attrName>ppt_x</p:attrName>
                                        </p:attrNameLst>
                                      </p:cBhvr>
                                      <p:tavLst>
                                        <p:tav tm="0">
                                          <p:val>
                                            <p:strVal val="#ppt_x"/>
                                          </p:val>
                                        </p:tav>
                                        <p:tav tm="100000">
                                          <p:val>
                                            <p:strVal val="#ppt_x"/>
                                          </p:val>
                                        </p:tav>
                                      </p:tavLst>
                                    </p:anim>
                                    <p:anim calcmode="lin" valueType="num">
                                      <p:cBhvr>
                                        <p:cTn id="148" dur="1000" fill="hold"/>
                                        <p:tgtEl>
                                          <p:spTgt spid="320518"/>
                                        </p:tgtEl>
                                        <p:attrNameLst>
                                          <p:attrName>ppt_y</p:attrName>
                                        </p:attrNameLst>
                                      </p:cBhvr>
                                      <p:tavLst>
                                        <p:tav tm="0">
                                          <p:val>
                                            <p:strVal val="#ppt_y+.1"/>
                                          </p:val>
                                        </p:tav>
                                        <p:tav tm="100000">
                                          <p:val>
                                            <p:strVal val="#ppt_y"/>
                                          </p:val>
                                        </p:tav>
                                      </p:tavLst>
                                    </p:anim>
                                  </p:childTnLst>
                                </p:cTn>
                              </p:par>
                              <p:par>
                                <p:cTn id="149" presetID="42" presetClass="entr" presetSubtype="0" fill="hold" grpId="0" nodeType="withEffect">
                                  <p:stCondLst>
                                    <p:cond delay="0"/>
                                  </p:stCondLst>
                                  <p:childTnLst>
                                    <p:set>
                                      <p:cBhvr>
                                        <p:cTn id="150" dur="1" fill="hold">
                                          <p:stCondLst>
                                            <p:cond delay="0"/>
                                          </p:stCondLst>
                                        </p:cTn>
                                        <p:tgtEl>
                                          <p:spTgt spid="34"/>
                                        </p:tgtEl>
                                        <p:attrNameLst>
                                          <p:attrName>style.visibility</p:attrName>
                                        </p:attrNameLst>
                                      </p:cBhvr>
                                      <p:to>
                                        <p:strVal val="visible"/>
                                      </p:to>
                                    </p:set>
                                    <p:animEffect transition="in" filter="fade">
                                      <p:cBhvr>
                                        <p:cTn id="151" dur="1000"/>
                                        <p:tgtEl>
                                          <p:spTgt spid="34"/>
                                        </p:tgtEl>
                                      </p:cBhvr>
                                    </p:animEffect>
                                    <p:anim calcmode="lin" valueType="num">
                                      <p:cBhvr>
                                        <p:cTn id="152" dur="1000" fill="hold"/>
                                        <p:tgtEl>
                                          <p:spTgt spid="34"/>
                                        </p:tgtEl>
                                        <p:attrNameLst>
                                          <p:attrName>ppt_x</p:attrName>
                                        </p:attrNameLst>
                                      </p:cBhvr>
                                      <p:tavLst>
                                        <p:tav tm="0">
                                          <p:val>
                                            <p:strVal val="#ppt_x"/>
                                          </p:val>
                                        </p:tav>
                                        <p:tav tm="100000">
                                          <p:val>
                                            <p:strVal val="#ppt_x"/>
                                          </p:val>
                                        </p:tav>
                                      </p:tavLst>
                                    </p:anim>
                                    <p:anim calcmode="lin" valueType="num">
                                      <p:cBhvr>
                                        <p:cTn id="153" dur="1000" fill="hold"/>
                                        <p:tgtEl>
                                          <p:spTgt spid="34"/>
                                        </p:tgtEl>
                                        <p:attrNameLst>
                                          <p:attrName>ppt_y</p:attrName>
                                        </p:attrNameLst>
                                      </p:cBhvr>
                                      <p:tavLst>
                                        <p:tav tm="0">
                                          <p:val>
                                            <p:strVal val="#ppt_y+.1"/>
                                          </p:val>
                                        </p:tav>
                                        <p:tav tm="100000">
                                          <p:val>
                                            <p:strVal val="#ppt_y"/>
                                          </p:val>
                                        </p:tav>
                                      </p:tavLst>
                                    </p:anim>
                                  </p:childTnLst>
                                </p:cTn>
                              </p:par>
                              <p:par>
                                <p:cTn id="154" presetID="42" presetClass="entr" presetSubtype="0" fill="hold" nodeType="withEffect">
                                  <p:stCondLst>
                                    <p:cond delay="0"/>
                                  </p:stCondLst>
                                  <p:childTnLst>
                                    <p:set>
                                      <p:cBhvr>
                                        <p:cTn id="155" dur="1" fill="hold">
                                          <p:stCondLst>
                                            <p:cond delay="0"/>
                                          </p:stCondLst>
                                        </p:cTn>
                                        <p:tgtEl>
                                          <p:spTgt spid="320513"/>
                                        </p:tgtEl>
                                        <p:attrNameLst>
                                          <p:attrName>style.visibility</p:attrName>
                                        </p:attrNameLst>
                                      </p:cBhvr>
                                      <p:to>
                                        <p:strVal val="visible"/>
                                      </p:to>
                                    </p:set>
                                    <p:animEffect transition="in" filter="fade">
                                      <p:cBhvr>
                                        <p:cTn id="156" dur="1000"/>
                                        <p:tgtEl>
                                          <p:spTgt spid="320513"/>
                                        </p:tgtEl>
                                      </p:cBhvr>
                                    </p:animEffect>
                                    <p:anim calcmode="lin" valueType="num">
                                      <p:cBhvr>
                                        <p:cTn id="157" dur="1000" fill="hold"/>
                                        <p:tgtEl>
                                          <p:spTgt spid="320513"/>
                                        </p:tgtEl>
                                        <p:attrNameLst>
                                          <p:attrName>ppt_x</p:attrName>
                                        </p:attrNameLst>
                                      </p:cBhvr>
                                      <p:tavLst>
                                        <p:tav tm="0">
                                          <p:val>
                                            <p:strVal val="#ppt_x"/>
                                          </p:val>
                                        </p:tav>
                                        <p:tav tm="100000">
                                          <p:val>
                                            <p:strVal val="#ppt_x"/>
                                          </p:val>
                                        </p:tav>
                                      </p:tavLst>
                                    </p:anim>
                                    <p:anim calcmode="lin" valueType="num">
                                      <p:cBhvr>
                                        <p:cTn id="158" dur="1000" fill="hold"/>
                                        <p:tgtEl>
                                          <p:spTgt spid="320513"/>
                                        </p:tgtEl>
                                        <p:attrNameLst>
                                          <p:attrName>ppt_y</p:attrName>
                                        </p:attrNameLst>
                                      </p:cBhvr>
                                      <p:tavLst>
                                        <p:tav tm="0">
                                          <p:val>
                                            <p:strVal val="#ppt_y+.1"/>
                                          </p:val>
                                        </p:tav>
                                        <p:tav tm="100000">
                                          <p:val>
                                            <p:strVal val="#ppt_y"/>
                                          </p:val>
                                        </p:tav>
                                      </p:tavLst>
                                    </p:anim>
                                  </p:childTnLst>
                                </p:cTn>
                              </p:par>
                              <p:par>
                                <p:cTn id="159" presetID="42" presetClass="entr" presetSubtype="0" fill="hold" grpId="0" nodeType="withEffect">
                                  <p:stCondLst>
                                    <p:cond delay="0"/>
                                  </p:stCondLst>
                                  <p:childTnLst>
                                    <p:set>
                                      <p:cBhvr>
                                        <p:cTn id="160" dur="1" fill="hold">
                                          <p:stCondLst>
                                            <p:cond delay="0"/>
                                          </p:stCondLst>
                                        </p:cTn>
                                        <p:tgtEl>
                                          <p:spTgt spid="29"/>
                                        </p:tgtEl>
                                        <p:attrNameLst>
                                          <p:attrName>style.visibility</p:attrName>
                                        </p:attrNameLst>
                                      </p:cBhvr>
                                      <p:to>
                                        <p:strVal val="visible"/>
                                      </p:to>
                                    </p:set>
                                    <p:animEffect transition="in" filter="fade">
                                      <p:cBhvr>
                                        <p:cTn id="161" dur="1000"/>
                                        <p:tgtEl>
                                          <p:spTgt spid="29"/>
                                        </p:tgtEl>
                                      </p:cBhvr>
                                    </p:animEffect>
                                    <p:anim calcmode="lin" valueType="num">
                                      <p:cBhvr>
                                        <p:cTn id="162" dur="1000" fill="hold"/>
                                        <p:tgtEl>
                                          <p:spTgt spid="29"/>
                                        </p:tgtEl>
                                        <p:attrNameLst>
                                          <p:attrName>ppt_x</p:attrName>
                                        </p:attrNameLst>
                                      </p:cBhvr>
                                      <p:tavLst>
                                        <p:tav tm="0">
                                          <p:val>
                                            <p:strVal val="#ppt_x"/>
                                          </p:val>
                                        </p:tav>
                                        <p:tav tm="100000">
                                          <p:val>
                                            <p:strVal val="#ppt_x"/>
                                          </p:val>
                                        </p:tav>
                                      </p:tavLst>
                                    </p:anim>
                                    <p:anim calcmode="lin" valueType="num">
                                      <p:cBhvr>
                                        <p:cTn id="163" dur="1000" fill="hold"/>
                                        <p:tgtEl>
                                          <p:spTgt spid="29"/>
                                        </p:tgtEl>
                                        <p:attrNameLst>
                                          <p:attrName>ppt_y</p:attrName>
                                        </p:attrNameLst>
                                      </p:cBhvr>
                                      <p:tavLst>
                                        <p:tav tm="0">
                                          <p:val>
                                            <p:strVal val="#ppt_y+.1"/>
                                          </p:val>
                                        </p:tav>
                                        <p:tav tm="100000">
                                          <p:val>
                                            <p:strVal val="#ppt_y"/>
                                          </p:val>
                                        </p:tav>
                                      </p:tavLst>
                                    </p:anim>
                                  </p:childTnLst>
                                </p:cTn>
                              </p:par>
                              <p:par>
                                <p:cTn id="164" presetID="42" presetClass="entr" presetSubtype="0" fill="hold" nodeType="withEffect">
                                  <p:stCondLst>
                                    <p:cond delay="0"/>
                                  </p:stCondLst>
                                  <p:childTnLst>
                                    <p:set>
                                      <p:cBhvr>
                                        <p:cTn id="165" dur="1" fill="hold">
                                          <p:stCondLst>
                                            <p:cond delay="0"/>
                                          </p:stCondLst>
                                        </p:cTn>
                                        <p:tgtEl>
                                          <p:spTgt spid="320512"/>
                                        </p:tgtEl>
                                        <p:attrNameLst>
                                          <p:attrName>style.visibility</p:attrName>
                                        </p:attrNameLst>
                                      </p:cBhvr>
                                      <p:to>
                                        <p:strVal val="visible"/>
                                      </p:to>
                                    </p:set>
                                    <p:animEffect transition="in" filter="fade">
                                      <p:cBhvr>
                                        <p:cTn id="166" dur="1000"/>
                                        <p:tgtEl>
                                          <p:spTgt spid="320512"/>
                                        </p:tgtEl>
                                      </p:cBhvr>
                                    </p:animEffect>
                                    <p:anim calcmode="lin" valueType="num">
                                      <p:cBhvr>
                                        <p:cTn id="167" dur="1000" fill="hold"/>
                                        <p:tgtEl>
                                          <p:spTgt spid="320512"/>
                                        </p:tgtEl>
                                        <p:attrNameLst>
                                          <p:attrName>ppt_x</p:attrName>
                                        </p:attrNameLst>
                                      </p:cBhvr>
                                      <p:tavLst>
                                        <p:tav tm="0">
                                          <p:val>
                                            <p:strVal val="#ppt_x"/>
                                          </p:val>
                                        </p:tav>
                                        <p:tav tm="100000">
                                          <p:val>
                                            <p:strVal val="#ppt_x"/>
                                          </p:val>
                                        </p:tav>
                                      </p:tavLst>
                                    </p:anim>
                                    <p:anim calcmode="lin" valueType="num">
                                      <p:cBhvr>
                                        <p:cTn id="168" dur="1000" fill="hold"/>
                                        <p:tgtEl>
                                          <p:spTgt spid="3205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1" grpId="0" animBg="1"/>
      <p:bldP spid="12" grpId="0" animBg="1"/>
      <p:bldP spid="13" grpId="0" animBg="1"/>
      <p:bldP spid="14" grpId="0" animBg="1"/>
      <p:bldP spid="15" grpId="0"/>
      <p:bldP spid="16" grpId="0"/>
      <p:bldP spid="17" grpId="0"/>
      <p:bldP spid="18" grpId="0"/>
      <p:bldP spid="21" grpId="0"/>
      <p:bldP spid="20" grpId="0"/>
      <p:bldP spid="24" grpId="0"/>
      <p:bldP spid="22" grpId="0" animBg="1"/>
      <p:bldP spid="28" grpId="0"/>
      <p:bldP spid="30" grpId="0"/>
      <p:bldP spid="31" grpId="0"/>
      <p:bldP spid="29" grpId="0" animBg="1"/>
      <p:bldP spid="34" grpId="0"/>
      <p:bldP spid="320515" grpId="0" animBg="1"/>
      <p:bldP spid="320516" grpId="0" animBg="1"/>
      <p:bldP spid="320517" grpId="0" animBg="1"/>
      <p:bldP spid="3205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1001" y="1447800"/>
            <a:ext cx="4419600" cy="1308050"/>
          </a:xfrm>
          <a:prstGeom prst="rect">
            <a:avLst/>
          </a:prstGeom>
        </p:spPr>
        <p:txBody>
          <a:bodyPr wrap="square">
            <a:spAutoFit/>
          </a:bodyPr>
          <a:lstStyle/>
          <a:p>
            <a:r>
              <a:rPr lang="en-IN" sz="1800" b="1" dirty="0">
                <a:solidFill>
                  <a:schemeClr val="accent1">
                    <a:lumMod val="60000"/>
                    <a:lumOff val="40000"/>
                  </a:schemeClr>
                </a:solidFill>
              </a:rPr>
              <a:t>Every “Thing” is </a:t>
            </a:r>
            <a:r>
              <a:rPr lang="en-IN" sz="1800" b="1" dirty="0" smtClean="0">
                <a:solidFill>
                  <a:schemeClr val="accent1">
                    <a:lumMod val="60000"/>
                    <a:lumOff val="40000"/>
                  </a:schemeClr>
                </a:solidFill>
              </a:rPr>
              <a:t>Connected</a:t>
            </a:r>
          </a:p>
          <a:p>
            <a:endParaRPr lang="en-IN" dirty="0" smtClean="0"/>
          </a:p>
          <a:p>
            <a:pPr marL="342900" indent="-342900">
              <a:buFont typeface="Wingdings" panose="05000000000000000000" pitchFamily="2" charset="2"/>
              <a:buChar char="Ø"/>
            </a:pPr>
            <a:r>
              <a:rPr lang="en-IN" sz="1400" dirty="0" smtClean="0"/>
              <a:t>Customers </a:t>
            </a:r>
            <a:r>
              <a:rPr lang="en-IN" sz="1400" dirty="0"/>
              <a:t>and users are more informed and </a:t>
            </a:r>
            <a:r>
              <a:rPr lang="en-IN" sz="1400" dirty="0" smtClean="0"/>
              <a:t>empowered</a:t>
            </a:r>
          </a:p>
          <a:p>
            <a:pPr marL="342900" indent="-342900">
              <a:buFont typeface="Wingdings" panose="05000000000000000000" pitchFamily="2" charset="2"/>
              <a:buChar char="Ø"/>
            </a:pPr>
            <a:r>
              <a:rPr lang="en-IN" sz="1400" dirty="0" smtClean="0"/>
              <a:t>24/7 </a:t>
            </a:r>
            <a:r>
              <a:rPr lang="en-IN" sz="1400" dirty="0"/>
              <a:t>Data availability</a:t>
            </a:r>
          </a:p>
        </p:txBody>
      </p:sp>
      <p:sp>
        <p:nvSpPr>
          <p:cNvPr id="2" name="Title 1"/>
          <p:cNvSpPr>
            <a:spLocks noGrp="1"/>
          </p:cNvSpPr>
          <p:nvPr>
            <p:ph type="title"/>
          </p:nvPr>
        </p:nvSpPr>
        <p:spPr/>
        <p:txBody>
          <a:bodyPr/>
          <a:lstStyle/>
          <a:p>
            <a:r>
              <a:rPr lang="en-IN" sz="2400" dirty="0" smtClean="0"/>
              <a:t>SAP’s Vision for an IOT Platform</a:t>
            </a:r>
            <a:endParaRPr lang="en-IN" dirty="0"/>
          </a:p>
        </p:txBody>
      </p:sp>
      <p:sp>
        <p:nvSpPr>
          <p:cNvPr id="5" name="Rectangle 4"/>
          <p:cNvSpPr/>
          <p:nvPr/>
        </p:nvSpPr>
        <p:spPr>
          <a:xfrm>
            <a:off x="381001" y="2895600"/>
            <a:ext cx="4953000" cy="1754326"/>
          </a:xfrm>
          <a:prstGeom prst="rect">
            <a:avLst/>
          </a:prstGeom>
        </p:spPr>
        <p:txBody>
          <a:bodyPr>
            <a:spAutoFit/>
          </a:bodyPr>
          <a:lstStyle/>
          <a:p>
            <a:r>
              <a:rPr lang="en-IN" sz="1800" b="1" dirty="0">
                <a:solidFill>
                  <a:schemeClr val="accent1">
                    <a:lumMod val="60000"/>
                    <a:lumOff val="40000"/>
                  </a:schemeClr>
                </a:solidFill>
              </a:rPr>
              <a:t>Every “Thing” is </a:t>
            </a:r>
            <a:r>
              <a:rPr lang="en-IN" sz="1800" b="1" dirty="0" smtClean="0">
                <a:solidFill>
                  <a:schemeClr val="accent1">
                    <a:lumMod val="60000"/>
                    <a:lumOff val="40000"/>
                  </a:schemeClr>
                </a:solidFill>
              </a:rPr>
              <a:t>Intelligent</a:t>
            </a:r>
          </a:p>
          <a:p>
            <a:endParaRPr lang="en-IN" dirty="0" smtClean="0"/>
          </a:p>
          <a:p>
            <a:pPr marL="285750" indent="-285750">
              <a:buFont typeface="Wingdings" panose="05000000000000000000" pitchFamily="2" charset="2"/>
              <a:buChar char="Ø"/>
            </a:pPr>
            <a:r>
              <a:rPr lang="en-IN" sz="1400" dirty="0" smtClean="0"/>
              <a:t>Machine Learning</a:t>
            </a:r>
          </a:p>
          <a:p>
            <a:pPr marL="285750" indent="-285750">
              <a:buFont typeface="Wingdings" panose="05000000000000000000" pitchFamily="2" charset="2"/>
              <a:buChar char="Ø"/>
            </a:pPr>
            <a:r>
              <a:rPr lang="en-IN" sz="1400" dirty="0" smtClean="0"/>
              <a:t>Artificial Intelligence</a:t>
            </a:r>
          </a:p>
          <a:p>
            <a:pPr marL="285750" indent="-285750">
              <a:buFont typeface="Wingdings" panose="05000000000000000000" pitchFamily="2" charset="2"/>
              <a:buChar char="Ø"/>
            </a:pPr>
            <a:r>
              <a:rPr lang="en-IN" sz="1400" dirty="0" smtClean="0"/>
              <a:t>3D Printing</a:t>
            </a:r>
          </a:p>
          <a:p>
            <a:pPr marL="285750" indent="-285750">
              <a:buFont typeface="Wingdings" panose="05000000000000000000" pitchFamily="2" charset="2"/>
              <a:buChar char="Ø"/>
            </a:pPr>
            <a:r>
              <a:rPr lang="en-IN" sz="1400" dirty="0" smtClean="0"/>
              <a:t>Predictive Processes</a:t>
            </a:r>
          </a:p>
          <a:p>
            <a:pPr marL="285750" indent="-285750">
              <a:buFont typeface="Wingdings" panose="05000000000000000000" pitchFamily="2" charset="2"/>
              <a:buChar char="Ø"/>
            </a:pPr>
            <a:r>
              <a:rPr lang="en-IN" sz="1400" dirty="0" smtClean="0"/>
              <a:t>Products </a:t>
            </a:r>
            <a:r>
              <a:rPr lang="en-IN" sz="1400" dirty="0"/>
              <a:t>are Smarter</a:t>
            </a:r>
          </a:p>
        </p:txBody>
      </p:sp>
      <p:sp>
        <p:nvSpPr>
          <p:cNvPr id="6" name="Rectangle 5"/>
          <p:cNvSpPr/>
          <p:nvPr/>
        </p:nvSpPr>
        <p:spPr>
          <a:xfrm>
            <a:off x="381001" y="4789676"/>
            <a:ext cx="4953000" cy="1538883"/>
          </a:xfrm>
          <a:prstGeom prst="rect">
            <a:avLst/>
          </a:prstGeom>
        </p:spPr>
        <p:txBody>
          <a:bodyPr>
            <a:spAutoFit/>
          </a:bodyPr>
          <a:lstStyle/>
          <a:p>
            <a:r>
              <a:rPr lang="en-IN" sz="1800" b="1" dirty="0">
                <a:solidFill>
                  <a:schemeClr val="accent1">
                    <a:lumMod val="60000"/>
                    <a:lumOff val="40000"/>
                  </a:schemeClr>
                </a:solidFill>
              </a:rPr>
              <a:t>Every “Thing” is in the </a:t>
            </a:r>
            <a:r>
              <a:rPr lang="en-IN" sz="1800" b="1" dirty="0" smtClean="0">
                <a:solidFill>
                  <a:schemeClr val="accent1">
                    <a:lumMod val="60000"/>
                    <a:lumOff val="40000"/>
                  </a:schemeClr>
                </a:solidFill>
              </a:rPr>
              <a:t>moment</a:t>
            </a:r>
          </a:p>
          <a:p>
            <a:endParaRPr lang="en-IN" dirty="0" smtClean="0"/>
          </a:p>
          <a:p>
            <a:pPr marL="285750" indent="-285750">
              <a:buFont typeface="Wingdings" panose="05000000000000000000" pitchFamily="2" charset="2"/>
              <a:buChar char="Ø"/>
            </a:pPr>
            <a:r>
              <a:rPr lang="en-IN" sz="1400" dirty="0" smtClean="0"/>
              <a:t>Online Ordering</a:t>
            </a:r>
          </a:p>
          <a:p>
            <a:pPr marL="285750" indent="-285750">
              <a:buFont typeface="Wingdings" panose="05000000000000000000" pitchFamily="2" charset="2"/>
              <a:buChar char="Ø"/>
            </a:pPr>
            <a:r>
              <a:rPr lang="en-IN" sz="1400" dirty="0" smtClean="0"/>
              <a:t>2-Hour Delivery</a:t>
            </a:r>
          </a:p>
          <a:p>
            <a:pPr marL="285750" indent="-285750">
              <a:buFont typeface="Wingdings" panose="05000000000000000000" pitchFamily="2" charset="2"/>
              <a:buChar char="Ø"/>
            </a:pPr>
            <a:r>
              <a:rPr lang="en-IN" sz="1400" dirty="0" smtClean="0"/>
              <a:t>Real-Time Decisions</a:t>
            </a:r>
          </a:p>
          <a:p>
            <a:pPr marL="285750" indent="-285750">
              <a:buFont typeface="Wingdings" panose="05000000000000000000" pitchFamily="2" charset="2"/>
              <a:buChar char="Ø"/>
            </a:pPr>
            <a:r>
              <a:rPr lang="en-IN" sz="1400" dirty="0" smtClean="0"/>
              <a:t>Predictive </a:t>
            </a:r>
            <a:r>
              <a:rPr lang="en-IN" sz="1400" dirty="0"/>
              <a:t>Analytics</a:t>
            </a:r>
          </a:p>
        </p:txBody>
      </p:sp>
      <p:cxnSp>
        <p:nvCxnSpPr>
          <p:cNvPr id="8" name="Straight Connector 7"/>
          <p:cNvCxnSpPr/>
          <p:nvPr/>
        </p:nvCxnSpPr>
        <p:spPr>
          <a:xfrm>
            <a:off x="381001" y="2895600"/>
            <a:ext cx="9448799"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 name="Straight Connector 8"/>
          <p:cNvCxnSpPr/>
          <p:nvPr/>
        </p:nvCxnSpPr>
        <p:spPr>
          <a:xfrm>
            <a:off x="381001" y="4789676"/>
            <a:ext cx="9448799" cy="0"/>
          </a:xfrm>
          <a:prstGeom prst="line">
            <a:avLst/>
          </a:prstGeom>
          <a:ln/>
        </p:spPr>
        <p:style>
          <a:lnRef idx="1">
            <a:schemeClr val="accent2"/>
          </a:lnRef>
          <a:fillRef idx="0">
            <a:schemeClr val="accent2"/>
          </a:fillRef>
          <a:effectRef idx="0">
            <a:schemeClr val="accent2"/>
          </a:effectRef>
          <a:fontRef idx="minor">
            <a:schemeClr val="tx1"/>
          </a:fontRef>
        </p:style>
      </p:cxnSp>
      <p:pic>
        <p:nvPicPr>
          <p:cNvPr id="10" name="Picture 9"/>
          <p:cNvPicPr>
            <a:picLocks noChangeAspect="1"/>
          </p:cNvPicPr>
          <p:nvPr/>
        </p:nvPicPr>
        <p:blipFill>
          <a:blip r:embed="rId2"/>
          <a:stretch>
            <a:fillRect/>
          </a:stretch>
        </p:blipFill>
        <p:spPr>
          <a:xfrm>
            <a:off x="5410200" y="1356718"/>
            <a:ext cx="3733800" cy="1384443"/>
          </a:xfrm>
          <a:prstGeom prst="rect">
            <a:avLst/>
          </a:prstGeom>
        </p:spPr>
      </p:pic>
      <p:pic>
        <p:nvPicPr>
          <p:cNvPr id="11" name="Picture 10"/>
          <p:cNvPicPr>
            <a:picLocks noChangeAspect="1"/>
          </p:cNvPicPr>
          <p:nvPr/>
        </p:nvPicPr>
        <p:blipFill rotWithShape="1">
          <a:blip r:embed="rId3"/>
          <a:srcRect t="717" r="4166" b="-430"/>
          <a:stretch/>
        </p:blipFill>
        <p:spPr>
          <a:xfrm>
            <a:off x="6019800" y="3035811"/>
            <a:ext cx="2133600" cy="1614115"/>
          </a:xfrm>
          <a:prstGeom prst="rect">
            <a:avLst/>
          </a:prstGeom>
        </p:spPr>
      </p:pic>
      <p:pic>
        <p:nvPicPr>
          <p:cNvPr id="12" name="Picture 11"/>
          <p:cNvPicPr>
            <a:picLocks noChangeAspect="1"/>
          </p:cNvPicPr>
          <p:nvPr/>
        </p:nvPicPr>
        <p:blipFill>
          <a:blip r:embed="rId4"/>
          <a:stretch>
            <a:fillRect/>
          </a:stretch>
        </p:blipFill>
        <p:spPr>
          <a:xfrm>
            <a:off x="6266259" y="4929427"/>
            <a:ext cx="1640681" cy="1242821"/>
          </a:xfrm>
          <a:prstGeom prst="rect">
            <a:avLst/>
          </a:prstGeom>
        </p:spPr>
      </p:pic>
    </p:spTree>
    <p:extLst>
      <p:ext uri="{BB962C8B-B14F-4D97-AF65-F5344CB8AC3E}">
        <p14:creationId xmlns:p14="http://schemas.microsoft.com/office/powerpoint/2010/main" val="3640075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12703" y="1059013"/>
            <a:ext cx="5888499" cy="3759281"/>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3" name="TextBox 2"/>
          <p:cNvSpPr txBox="1"/>
          <p:nvPr/>
        </p:nvSpPr>
        <p:spPr>
          <a:xfrm flipH="1">
            <a:off x="2711768" y="1036701"/>
            <a:ext cx="1783081" cy="261610"/>
          </a:xfrm>
          <a:prstGeom prst="rect">
            <a:avLst/>
          </a:prstGeom>
          <a:noFill/>
        </p:spPr>
        <p:txBody>
          <a:bodyPr wrap="square" rtlCol="0">
            <a:spAutoFit/>
          </a:bodyPr>
          <a:lstStyle/>
          <a:p>
            <a:r>
              <a:rPr lang="en-US" sz="1100" dirty="0"/>
              <a:t>SAP Cloud Platform</a:t>
            </a:r>
          </a:p>
        </p:txBody>
      </p:sp>
      <p:sp>
        <p:nvSpPr>
          <p:cNvPr id="4" name="Rectangle 3"/>
          <p:cNvSpPr/>
          <p:nvPr/>
        </p:nvSpPr>
        <p:spPr>
          <a:xfrm>
            <a:off x="2711767" y="1356169"/>
            <a:ext cx="4197668" cy="3307394"/>
          </a:xfrm>
          <a:prstGeom prst="rect">
            <a:avLst/>
          </a:prstGeom>
          <a:solidFill>
            <a:schemeClr val="accent1">
              <a:lumMod val="20000"/>
              <a:lumOff val="80000"/>
            </a:schemeClr>
          </a:solid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F</a:t>
            </a:r>
          </a:p>
        </p:txBody>
      </p:sp>
      <p:sp>
        <p:nvSpPr>
          <p:cNvPr id="5" name="Rectangle 4"/>
          <p:cNvSpPr/>
          <p:nvPr/>
        </p:nvSpPr>
        <p:spPr>
          <a:xfrm>
            <a:off x="2927223" y="1717679"/>
            <a:ext cx="906399" cy="416052"/>
          </a:xfrm>
          <a:prstGeom prst="rect">
            <a:avLst/>
          </a:prstGeom>
          <a:solidFill>
            <a:schemeClr val="accent1">
              <a:lumMod val="60000"/>
              <a:lumOff val="40000"/>
            </a:schemeClr>
          </a:solidFill>
          <a:ln w="28575"/>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err="1"/>
              <a:t>IoT</a:t>
            </a:r>
            <a:r>
              <a:rPr lang="en-US" sz="1000" dirty="0"/>
              <a:t> Gateway Cloud</a:t>
            </a:r>
          </a:p>
        </p:txBody>
      </p:sp>
      <p:sp>
        <p:nvSpPr>
          <p:cNvPr id="6" name="Rectangle 5"/>
          <p:cNvSpPr/>
          <p:nvPr/>
        </p:nvSpPr>
        <p:spPr>
          <a:xfrm>
            <a:off x="2897827" y="2853811"/>
            <a:ext cx="995553" cy="572072"/>
          </a:xfrm>
          <a:prstGeom prst="rect">
            <a:avLst/>
          </a:prstGeom>
          <a:solidFill>
            <a:schemeClr val="accent1">
              <a:lumMod val="60000"/>
              <a:lumOff val="40000"/>
            </a:schemeClr>
          </a:solidFill>
          <a:ln w="28575"/>
        </p:spPr>
        <p:style>
          <a:lnRef idx="1">
            <a:schemeClr val="dk1"/>
          </a:lnRef>
          <a:fillRef idx="2">
            <a:schemeClr val="dk1"/>
          </a:fillRef>
          <a:effectRef idx="1">
            <a:schemeClr val="dk1"/>
          </a:effectRef>
          <a:fontRef idx="minor">
            <a:schemeClr val="dk1"/>
          </a:fontRef>
        </p:style>
        <p:txBody>
          <a:bodyPr rtlCol="0" anchor="ctr"/>
          <a:lstStyle/>
          <a:p>
            <a:pPr algn="ctr"/>
            <a:r>
              <a:rPr lang="en-US" sz="1050" dirty="0" err="1"/>
              <a:t>IoT</a:t>
            </a:r>
            <a:r>
              <a:rPr lang="en-US" sz="1050" dirty="0"/>
              <a:t> Message Management Service</a:t>
            </a:r>
          </a:p>
        </p:txBody>
      </p:sp>
      <p:sp>
        <p:nvSpPr>
          <p:cNvPr id="7" name="Rectangle 6"/>
          <p:cNvSpPr/>
          <p:nvPr/>
        </p:nvSpPr>
        <p:spPr>
          <a:xfrm>
            <a:off x="5823799" y="1733851"/>
            <a:ext cx="844487" cy="416052"/>
          </a:xfrm>
          <a:prstGeom prst="rect">
            <a:avLst/>
          </a:prstGeom>
          <a:solidFill>
            <a:schemeClr val="accent1">
              <a:lumMod val="60000"/>
              <a:lumOff val="40000"/>
            </a:schemeClr>
          </a:solidFill>
          <a:ln w="28575"/>
        </p:spPr>
        <p:style>
          <a:lnRef idx="1">
            <a:schemeClr val="dk1"/>
          </a:lnRef>
          <a:fillRef idx="2">
            <a:schemeClr val="dk1"/>
          </a:fillRef>
          <a:effectRef idx="1">
            <a:schemeClr val="dk1"/>
          </a:effectRef>
          <a:fontRef idx="minor">
            <a:schemeClr val="dk1"/>
          </a:fontRef>
        </p:style>
        <p:txBody>
          <a:bodyPr rtlCol="0" anchor="ctr"/>
          <a:lstStyle/>
          <a:p>
            <a:pPr algn="ctr"/>
            <a:r>
              <a:rPr lang="en-US" sz="900" dirty="0" err="1"/>
              <a:t>IoT</a:t>
            </a:r>
            <a:r>
              <a:rPr lang="en-US" sz="900" dirty="0"/>
              <a:t> Services Cockpit</a:t>
            </a:r>
          </a:p>
        </p:txBody>
      </p:sp>
      <p:sp>
        <p:nvSpPr>
          <p:cNvPr id="8" name="TextBox 7"/>
          <p:cNvSpPr txBox="1"/>
          <p:nvPr/>
        </p:nvSpPr>
        <p:spPr>
          <a:xfrm>
            <a:off x="2867787" y="1356169"/>
            <a:ext cx="1233297" cy="261610"/>
          </a:xfrm>
          <a:prstGeom prst="rect">
            <a:avLst/>
          </a:prstGeom>
          <a:noFill/>
        </p:spPr>
        <p:txBody>
          <a:bodyPr wrap="square" rtlCol="0">
            <a:spAutoFit/>
          </a:bodyPr>
          <a:lstStyle/>
          <a:p>
            <a:r>
              <a:rPr lang="en-US" sz="1100" dirty="0" err="1"/>
              <a:t>IoT</a:t>
            </a:r>
            <a:r>
              <a:rPr lang="en-US" sz="1100" dirty="0"/>
              <a:t> Service</a:t>
            </a:r>
          </a:p>
        </p:txBody>
      </p:sp>
      <p:sp>
        <p:nvSpPr>
          <p:cNvPr id="9" name="Rectangle 8"/>
          <p:cNvSpPr/>
          <p:nvPr/>
        </p:nvSpPr>
        <p:spPr>
          <a:xfrm>
            <a:off x="4406566" y="1689529"/>
            <a:ext cx="928687" cy="2466594"/>
          </a:xfrm>
          <a:prstGeom prst="rect">
            <a:avLst/>
          </a:prstGeom>
          <a:solidFill>
            <a:schemeClr val="accent1">
              <a:lumMod val="60000"/>
              <a:lumOff val="40000"/>
            </a:schemeClr>
          </a:solidFill>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dirty="0" err="1"/>
              <a:t>IoT</a:t>
            </a:r>
            <a:r>
              <a:rPr lang="en-US" sz="1100" dirty="0"/>
              <a:t> core Services</a:t>
            </a:r>
          </a:p>
        </p:txBody>
      </p:sp>
      <p:cxnSp>
        <p:nvCxnSpPr>
          <p:cNvPr id="11" name="Straight Connector 10"/>
          <p:cNvCxnSpPr/>
          <p:nvPr/>
        </p:nvCxnSpPr>
        <p:spPr>
          <a:xfrm flipH="1" flipV="1">
            <a:off x="3848482" y="1920812"/>
            <a:ext cx="564641" cy="48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Flowchart: Connector 14"/>
          <p:cNvSpPr/>
          <p:nvPr/>
        </p:nvSpPr>
        <p:spPr>
          <a:xfrm>
            <a:off x="4064669" y="1846516"/>
            <a:ext cx="140428" cy="178601"/>
          </a:xfrm>
          <a:prstGeom prst="flowChartConnector">
            <a:avLst/>
          </a:prstGeom>
          <a:solidFill>
            <a:schemeClr val="accent1">
              <a:lumMod val="75000"/>
            </a:schemeClr>
          </a:solidFill>
          <a:ln w="19050">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cxnSp>
        <p:nvCxnSpPr>
          <p:cNvPr id="16" name="Straight Connector 15"/>
          <p:cNvCxnSpPr>
            <a:endCxn id="6" idx="3"/>
          </p:cNvCxnSpPr>
          <p:nvPr/>
        </p:nvCxnSpPr>
        <p:spPr>
          <a:xfrm flipH="1" flipV="1">
            <a:off x="3893380" y="3139847"/>
            <a:ext cx="519743" cy="84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Flowchart: Connector 18"/>
          <p:cNvSpPr/>
          <p:nvPr/>
        </p:nvSpPr>
        <p:spPr>
          <a:xfrm>
            <a:off x="4065040" y="3068868"/>
            <a:ext cx="144877" cy="163449"/>
          </a:xfrm>
          <a:prstGeom prst="flowChartConnector">
            <a:avLst/>
          </a:prstGeom>
          <a:solidFill>
            <a:schemeClr val="accent1">
              <a:lumMod val="75000"/>
            </a:schemeClr>
          </a:solidFill>
          <a:ln w="19050">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cxnSp>
        <p:nvCxnSpPr>
          <p:cNvPr id="20" name="Straight Connector 19"/>
          <p:cNvCxnSpPr/>
          <p:nvPr/>
        </p:nvCxnSpPr>
        <p:spPr>
          <a:xfrm flipH="1">
            <a:off x="5341810" y="1913382"/>
            <a:ext cx="475487"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lowchart: Connector 23"/>
          <p:cNvSpPr/>
          <p:nvPr/>
        </p:nvSpPr>
        <p:spPr>
          <a:xfrm>
            <a:off x="5534977" y="1831658"/>
            <a:ext cx="144877" cy="163449"/>
          </a:xfrm>
          <a:prstGeom prst="flowChartConnector">
            <a:avLst/>
          </a:prstGeom>
          <a:solidFill>
            <a:schemeClr val="accent1">
              <a:lumMod val="75000"/>
            </a:schemeClr>
          </a:solidFill>
          <a:ln w="19050">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26" name="Rectangle 25"/>
          <p:cNvSpPr/>
          <p:nvPr/>
        </p:nvSpPr>
        <p:spPr>
          <a:xfrm>
            <a:off x="7103529" y="2049630"/>
            <a:ext cx="1151341" cy="1550248"/>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27" name="Rectangle 26"/>
          <p:cNvSpPr/>
          <p:nvPr/>
        </p:nvSpPr>
        <p:spPr>
          <a:xfrm>
            <a:off x="7258622" y="2395314"/>
            <a:ext cx="837236" cy="431261"/>
          </a:xfrm>
          <a:prstGeom prst="rect">
            <a:avLst/>
          </a:prstGeom>
          <a:ln w="38100">
            <a:solidFill>
              <a:schemeClr val="tx1"/>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err="1"/>
              <a:t>IoT</a:t>
            </a:r>
            <a:r>
              <a:rPr lang="en-US" sz="1000" dirty="0"/>
              <a:t> Application</a:t>
            </a:r>
          </a:p>
        </p:txBody>
      </p:sp>
      <p:sp>
        <p:nvSpPr>
          <p:cNvPr id="28" name="TextBox 27"/>
          <p:cNvSpPr txBox="1"/>
          <p:nvPr/>
        </p:nvSpPr>
        <p:spPr>
          <a:xfrm>
            <a:off x="7053380" y="2102926"/>
            <a:ext cx="1106996" cy="261610"/>
          </a:xfrm>
          <a:prstGeom prst="rect">
            <a:avLst/>
          </a:prstGeom>
          <a:noFill/>
        </p:spPr>
        <p:txBody>
          <a:bodyPr wrap="square" rtlCol="0">
            <a:spAutoFit/>
          </a:bodyPr>
          <a:lstStyle/>
          <a:p>
            <a:r>
              <a:rPr lang="en-US" sz="1100" dirty="0"/>
              <a:t>CF(</a:t>
            </a:r>
            <a:r>
              <a:rPr lang="en-US" sz="1100" dirty="0" err="1"/>
              <a:t>PaaS</a:t>
            </a:r>
            <a:r>
              <a:rPr lang="en-US" sz="1100" dirty="0"/>
              <a:t>)</a:t>
            </a:r>
          </a:p>
        </p:txBody>
      </p:sp>
      <p:sp>
        <p:nvSpPr>
          <p:cNvPr id="29" name="Rectangle 28"/>
          <p:cNvSpPr/>
          <p:nvPr/>
        </p:nvSpPr>
        <p:spPr>
          <a:xfrm>
            <a:off x="7258622" y="2949797"/>
            <a:ext cx="817245" cy="575786"/>
          </a:xfrm>
          <a:prstGeom prst="rect">
            <a:avLst/>
          </a:prstGeom>
          <a:ln w="38100">
            <a:solidFill>
              <a:schemeClr val="tx1"/>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err="1"/>
              <a:t>IoT</a:t>
            </a:r>
            <a:r>
              <a:rPr lang="en-US" sz="1000" dirty="0"/>
              <a:t> Application Builder</a:t>
            </a:r>
          </a:p>
        </p:txBody>
      </p:sp>
      <p:sp>
        <p:nvSpPr>
          <p:cNvPr id="30" name="Rectangle 29"/>
          <p:cNvSpPr/>
          <p:nvPr/>
        </p:nvSpPr>
        <p:spPr>
          <a:xfrm>
            <a:off x="7162038" y="3763328"/>
            <a:ext cx="1196150" cy="817245"/>
          </a:xfrm>
          <a:prstGeom prst="rect">
            <a:avLst/>
          </a:prstGeom>
          <a:ln w="38100">
            <a:solidFill>
              <a:schemeClr val="tx1"/>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dirty="0"/>
              <a:t>Backing Service    (e.g., </a:t>
            </a:r>
            <a:r>
              <a:rPr lang="en-US" sz="1050" dirty="0" err="1"/>
              <a:t>Postgres</a:t>
            </a:r>
            <a:r>
              <a:rPr lang="en-US" sz="1050" dirty="0"/>
              <a:t> SQL, HANA, Kafka)</a:t>
            </a:r>
          </a:p>
        </p:txBody>
      </p:sp>
      <p:sp>
        <p:nvSpPr>
          <p:cNvPr id="31" name="Rectangle 30"/>
          <p:cNvSpPr/>
          <p:nvPr/>
        </p:nvSpPr>
        <p:spPr>
          <a:xfrm>
            <a:off x="8867103" y="1722761"/>
            <a:ext cx="859965" cy="416051"/>
          </a:xfrm>
          <a:prstGeom prst="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32" name="Flowchart: Connector 31"/>
          <p:cNvSpPr/>
          <p:nvPr/>
        </p:nvSpPr>
        <p:spPr>
          <a:xfrm>
            <a:off x="9149429" y="1796958"/>
            <a:ext cx="122587" cy="123855"/>
          </a:xfrm>
          <a:prstGeom prst="flowChartConnector">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cxnSp>
        <p:nvCxnSpPr>
          <p:cNvPr id="38" name="Straight Connector 37"/>
          <p:cNvCxnSpPr>
            <a:stCxn id="32" idx="4"/>
          </p:cNvCxnSpPr>
          <p:nvPr/>
        </p:nvCxnSpPr>
        <p:spPr>
          <a:xfrm>
            <a:off x="9210723" y="1920813"/>
            <a:ext cx="1857" cy="1188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9115997" y="2039683"/>
            <a:ext cx="94726" cy="371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9210723" y="2039683"/>
            <a:ext cx="108656" cy="371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9220010" y="1913383"/>
            <a:ext cx="99370" cy="594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103923" y="1928241"/>
            <a:ext cx="99834" cy="272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8901006" y="3030887"/>
            <a:ext cx="859965" cy="416051"/>
          </a:xfrm>
          <a:prstGeom prst="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51" name="Flowchart: Connector 50"/>
          <p:cNvSpPr/>
          <p:nvPr/>
        </p:nvSpPr>
        <p:spPr>
          <a:xfrm>
            <a:off x="9088136" y="3070481"/>
            <a:ext cx="122587" cy="123855"/>
          </a:xfrm>
          <a:prstGeom prst="flowChartConnector">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cxnSp>
        <p:nvCxnSpPr>
          <p:cNvPr id="53" name="Straight Connector 52"/>
          <p:cNvCxnSpPr>
            <a:endCxn id="51" idx="4"/>
          </p:cNvCxnSpPr>
          <p:nvPr/>
        </p:nvCxnSpPr>
        <p:spPr>
          <a:xfrm flipV="1">
            <a:off x="9149429" y="3194335"/>
            <a:ext cx="0" cy="1157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9063990" y="3288473"/>
            <a:ext cx="99370" cy="594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9141535" y="3181334"/>
            <a:ext cx="99370" cy="594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9165682" y="3299616"/>
            <a:ext cx="108656" cy="371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9040773" y="3203621"/>
            <a:ext cx="108656" cy="371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7" idx="3"/>
            <a:endCxn id="31" idx="1"/>
          </p:cNvCxnSpPr>
          <p:nvPr/>
        </p:nvCxnSpPr>
        <p:spPr>
          <a:xfrm flipV="1">
            <a:off x="6668286" y="1930787"/>
            <a:ext cx="2198817" cy="110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Flowchart: Connector 68"/>
          <p:cNvSpPr/>
          <p:nvPr/>
        </p:nvSpPr>
        <p:spPr>
          <a:xfrm>
            <a:off x="8586411" y="1843841"/>
            <a:ext cx="144877" cy="163449"/>
          </a:xfrm>
          <a:prstGeom prst="flowChartConnector">
            <a:avLst/>
          </a:prstGeom>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cxnSp>
        <p:nvCxnSpPr>
          <p:cNvPr id="71" name="Straight Connector 70"/>
          <p:cNvCxnSpPr/>
          <p:nvPr/>
        </p:nvCxnSpPr>
        <p:spPr>
          <a:xfrm>
            <a:off x="5363171" y="3093129"/>
            <a:ext cx="1761720" cy="194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Flowchart: Connector 72"/>
          <p:cNvSpPr/>
          <p:nvPr/>
        </p:nvSpPr>
        <p:spPr>
          <a:xfrm>
            <a:off x="6099153" y="3024724"/>
            <a:ext cx="144877" cy="163449"/>
          </a:xfrm>
          <a:prstGeom prst="flowChartConnector">
            <a:avLst/>
          </a:prstGeom>
          <a:solidFill>
            <a:schemeClr val="accent1">
              <a:lumMod val="75000"/>
            </a:schemeClr>
          </a:solidFill>
          <a:ln w="19050">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cxnSp>
        <p:nvCxnSpPr>
          <p:cNvPr id="75" name="Straight Connector 74"/>
          <p:cNvCxnSpPr>
            <a:endCxn id="50" idx="1"/>
          </p:cNvCxnSpPr>
          <p:nvPr/>
        </p:nvCxnSpPr>
        <p:spPr>
          <a:xfrm>
            <a:off x="8083529" y="3237373"/>
            <a:ext cx="817478" cy="15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Flowchart: Connector 76"/>
          <p:cNvSpPr/>
          <p:nvPr/>
        </p:nvSpPr>
        <p:spPr>
          <a:xfrm>
            <a:off x="8595697" y="3155649"/>
            <a:ext cx="144877" cy="163449"/>
          </a:xfrm>
          <a:prstGeom prst="flowChartConnector">
            <a:avLst/>
          </a:prstGeom>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sp>
        <p:nvSpPr>
          <p:cNvPr id="79" name="TextBox 78"/>
          <p:cNvSpPr txBox="1"/>
          <p:nvPr/>
        </p:nvSpPr>
        <p:spPr>
          <a:xfrm flipH="1">
            <a:off x="8867102" y="2193265"/>
            <a:ext cx="859965" cy="253916"/>
          </a:xfrm>
          <a:prstGeom prst="rect">
            <a:avLst/>
          </a:prstGeom>
          <a:noFill/>
        </p:spPr>
        <p:txBody>
          <a:bodyPr wrap="square" rtlCol="0">
            <a:spAutoFit/>
          </a:bodyPr>
          <a:lstStyle/>
          <a:p>
            <a:r>
              <a:rPr lang="en-US" sz="1050" dirty="0" err="1"/>
              <a:t>IoT</a:t>
            </a:r>
            <a:r>
              <a:rPr lang="en-US" sz="1050" dirty="0"/>
              <a:t> Admin</a:t>
            </a:r>
          </a:p>
        </p:txBody>
      </p:sp>
      <p:sp>
        <p:nvSpPr>
          <p:cNvPr id="80" name="TextBox 79"/>
          <p:cNvSpPr txBox="1"/>
          <p:nvPr/>
        </p:nvSpPr>
        <p:spPr>
          <a:xfrm flipH="1">
            <a:off x="8775043" y="3566551"/>
            <a:ext cx="1319589" cy="415498"/>
          </a:xfrm>
          <a:prstGeom prst="rect">
            <a:avLst/>
          </a:prstGeom>
          <a:noFill/>
        </p:spPr>
        <p:txBody>
          <a:bodyPr wrap="square" rtlCol="0">
            <a:spAutoFit/>
          </a:bodyPr>
          <a:lstStyle/>
          <a:p>
            <a:r>
              <a:rPr lang="en-US" sz="1050" dirty="0" err="1"/>
              <a:t>IoT</a:t>
            </a:r>
            <a:r>
              <a:rPr lang="en-US" sz="1050" dirty="0"/>
              <a:t> Application          User</a:t>
            </a:r>
          </a:p>
        </p:txBody>
      </p:sp>
      <p:sp>
        <p:nvSpPr>
          <p:cNvPr id="82" name="Rectangle 81"/>
          <p:cNvSpPr/>
          <p:nvPr/>
        </p:nvSpPr>
        <p:spPr>
          <a:xfrm>
            <a:off x="2623382" y="4926047"/>
            <a:ext cx="3720086" cy="973265"/>
          </a:xfrm>
          <a:prstGeom prst="rect">
            <a:avLst/>
          </a:prstGeom>
          <a:solidFill>
            <a:schemeClr val="accent1">
              <a:lumMod val="20000"/>
              <a:lumOff val="80000"/>
            </a:schemeClr>
          </a:solid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83" name="Rectangle 82"/>
          <p:cNvSpPr/>
          <p:nvPr/>
        </p:nvSpPr>
        <p:spPr>
          <a:xfrm>
            <a:off x="3587519" y="5091437"/>
            <a:ext cx="584146" cy="260033"/>
          </a:xfrm>
          <a:prstGeom prst="rect">
            <a:avLst/>
          </a:prstGeom>
          <a:solidFill>
            <a:schemeClr val="accent1">
              <a:lumMod val="60000"/>
              <a:lumOff val="40000"/>
            </a:schemeClr>
          </a:solidFill>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dirty="0"/>
              <a:t>MQTT</a:t>
            </a:r>
          </a:p>
        </p:txBody>
      </p:sp>
      <p:sp>
        <p:nvSpPr>
          <p:cNvPr id="84" name="Rectangle 83"/>
          <p:cNvSpPr/>
          <p:nvPr/>
        </p:nvSpPr>
        <p:spPr>
          <a:xfrm>
            <a:off x="4284722" y="5091437"/>
            <a:ext cx="584146" cy="260033"/>
          </a:xfrm>
          <a:prstGeom prst="rect">
            <a:avLst/>
          </a:prstGeom>
          <a:solidFill>
            <a:schemeClr val="accent1">
              <a:lumMod val="60000"/>
              <a:lumOff val="40000"/>
            </a:schemeClr>
          </a:solidFill>
          <a:ln w="28575">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dirty="0"/>
              <a:t>File</a:t>
            </a:r>
          </a:p>
        </p:txBody>
      </p:sp>
      <p:sp>
        <p:nvSpPr>
          <p:cNvPr id="85" name="Rectangle 84"/>
          <p:cNvSpPr/>
          <p:nvPr/>
        </p:nvSpPr>
        <p:spPr>
          <a:xfrm>
            <a:off x="4930861" y="5090760"/>
            <a:ext cx="584146" cy="260033"/>
          </a:xfrm>
          <a:prstGeom prst="rect">
            <a:avLst/>
          </a:prstGeom>
          <a:solidFill>
            <a:schemeClr val="accent1">
              <a:lumMod val="60000"/>
              <a:lumOff val="40000"/>
            </a:schemeClr>
          </a:solidFill>
          <a:ln w="28575">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SNMP</a:t>
            </a:r>
          </a:p>
        </p:txBody>
      </p:sp>
      <p:sp>
        <p:nvSpPr>
          <p:cNvPr id="86" name="Rectangle 85"/>
          <p:cNvSpPr/>
          <p:nvPr/>
        </p:nvSpPr>
        <p:spPr>
          <a:xfrm>
            <a:off x="5607416" y="5086137"/>
            <a:ext cx="584146" cy="260033"/>
          </a:xfrm>
          <a:prstGeom prst="rect">
            <a:avLst/>
          </a:prstGeom>
          <a:solidFill>
            <a:schemeClr val="accent1">
              <a:lumMod val="60000"/>
              <a:lumOff val="40000"/>
            </a:schemeClr>
          </a:solidFill>
          <a:ln w="28575">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dirty="0" err="1"/>
              <a:t>LoRa</a:t>
            </a:r>
            <a:r>
              <a:rPr lang="en-US" sz="1100" dirty="0"/>
              <a:t>*</a:t>
            </a:r>
          </a:p>
        </p:txBody>
      </p:sp>
      <p:sp>
        <p:nvSpPr>
          <p:cNvPr id="87" name="Rectangle 86"/>
          <p:cNvSpPr/>
          <p:nvPr/>
        </p:nvSpPr>
        <p:spPr>
          <a:xfrm>
            <a:off x="5587445" y="5501486"/>
            <a:ext cx="656585" cy="255047"/>
          </a:xfrm>
          <a:prstGeom prst="rect">
            <a:avLst/>
          </a:prstGeom>
          <a:solidFill>
            <a:schemeClr val="accent1">
              <a:lumMod val="60000"/>
              <a:lumOff val="40000"/>
            </a:schemeClr>
          </a:solidFill>
          <a:ln w="28575">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dirty="0" err="1"/>
              <a:t>Sigfox</a:t>
            </a:r>
            <a:r>
              <a:rPr lang="en-US" sz="1100" dirty="0"/>
              <a:t>*</a:t>
            </a:r>
          </a:p>
        </p:txBody>
      </p:sp>
      <p:sp>
        <p:nvSpPr>
          <p:cNvPr id="88" name="Rectangle 87"/>
          <p:cNvSpPr/>
          <p:nvPr/>
        </p:nvSpPr>
        <p:spPr>
          <a:xfrm>
            <a:off x="4942629" y="5501486"/>
            <a:ext cx="584146" cy="260033"/>
          </a:xfrm>
          <a:prstGeom prst="rect">
            <a:avLst/>
          </a:prstGeom>
          <a:solidFill>
            <a:schemeClr val="accent1">
              <a:lumMod val="60000"/>
              <a:lumOff val="40000"/>
            </a:schemeClr>
          </a:solidFill>
          <a:ln w="28575">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dirty="0" err="1"/>
              <a:t>CoAP</a:t>
            </a:r>
            <a:endParaRPr lang="en-US" sz="1100" dirty="0"/>
          </a:p>
        </p:txBody>
      </p:sp>
      <p:sp>
        <p:nvSpPr>
          <p:cNvPr id="89" name="Rectangle 88"/>
          <p:cNvSpPr/>
          <p:nvPr/>
        </p:nvSpPr>
        <p:spPr>
          <a:xfrm>
            <a:off x="4147818" y="5497618"/>
            <a:ext cx="736370" cy="265696"/>
          </a:xfrm>
          <a:prstGeom prst="rect">
            <a:avLst/>
          </a:prstGeom>
          <a:solidFill>
            <a:schemeClr val="accent1">
              <a:lumMod val="60000"/>
              <a:lumOff val="40000"/>
            </a:schemeClr>
          </a:solidFill>
          <a:ln w="28575">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dirty="0" err="1"/>
              <a:t>ModBus</a:t>
            </a:r>
            <a:endParaRPr lang="en-US" sz="1100" dirty="0"/>
          </a:p>
        </p:txBody>
      </p:sp>
      <p:sp>
        <p:nvSpPr>
          <p:cNvPr id="90" name="Rectangle 89"/>
          <p:cNvSpPr/>
          <p:nvPr/>
        </p:nvSpPr>
        <p:spPr>
          <a:xfrm>
            <a:off x="3511205" y="5488643"/>
            <a:ext cx="584146" cy="260033"/>
          </a:xfrm>
          <a:prstGeom prst="rect">
            <a:avLst/>
          </a:prstGeom>
          <a:solidFill>
            <a:schemeClr val="accent1">
              <a:lumMod val="60000"/>
              <a:lumOff val="40000"/>
            </a:schemeClr>
          </a:solidFill>
          <a:ln w="28575">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dirty="0"/>
              <a:t>HTTP</a:t>
            </a:r>
          </a:p>
        </p:txBody>
      </p:sp>
      <p:sp>
        <p:nvSpPr>
          <p:cNvPr id="91" name="Rectangle 90"/>
          <p:cNvSpPr/>
          <p:nvPr/>
        </p:nvSpPr>
        <p:spPr>
          <a:xfrm>
            <a:off x="2711768" y="5477317"/>
            <a:ext cx="722755" cy="271360"/>
          </a:xfrm>
          <a:prstGeom prst="rect">
            <a:avLst/>
          </a:prstGeom>
          <a:solidFill>
            <a:schemeClr val="accent1">
              <a:lumMod val="60000"/>
              <a:lumOff val="40000"/>
            </a:schemeClr>
          </a:solidFill>
          <a:ln w="28575">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00" dirty="0"/>
              <a:t>OPC UA*</a:t>
            </a:r>
          </a:p>
        </p:txBody>
      </p:sp>
      <p:sp>
        <p:nvSpPr>
          <p:cNvPr id="92" name="TextBox 91"/>
          <p:cNvSpPr txBox="1"/>
          <p:nvPr/>
        </p:nvSpPr>
        <p:spPr>
          <a:xfrm>
            <a:off x="1641920" y="1759811"/>
            <a:ext cx="37147" cy="276999"/>
          </a:xfrm>
          <a:prstGeom prst="rect">
            <a:avLst/>
          </a:prstGeom>
          <a:noFill/>
        </p:spPr>
        <p:txBody>
          <a:bodyPr wrap="square" rtlCol="0">
            <a:spAutoFit/>
          </a:bodyPr>
          <a:lstStyle/>
          <a:p>
            <a:endParaRPr lang="en-US" sz="1200" dirty="0"/>
          </a:p>
        </p:txBody>
      </p:sp>
      <p:sp>
        <p:nvSpPr>
          <p:cNvPr id="93" name="TextBox 92"/>
          <p:cNvSpPr txBox="1"/>
          <p:nvPr/>
        </p:nvSpPr>
        <p:spPr>
          <a:xfrm flipH="1">
            <a:off x="2581052" y="4933156"/>
            <a:ext cx="1374924" cy="430887"/>
          </a:xfrm>
          <a:prstGeom prst="rect">
            <a:avLst/>
          </a:prstGeom>
          <a:noFill/>
        </p:spPr>
        <p:txBody>
          <a:bodyPr wrap="square" rtlCol="0">
            <a:spAutoFit/>
          </a:bodyPr>
          <a:lstStyle/>
          <a:p>
            <a:r>
              <a:rPr lang="en-US" sz="1100" dirty="0" err="1"/>
              <a:t>IoT</a:t>
            </a:r>
            <a:r>
              <a:rPr lang="en-US" sz="1100" dirty="0"/>
              <a:t> Gateway</a:t>
            </a:r>
          </a:p>
          <a:p>
            <a:r>
              <a:rPr lang="en-US" sz="1100" dirty="0"/>
              <a:t>Plug-Ins</a:t>
            </a:r>
          </a:p>
        </p:txBody>
      </p:sp>
      <p:sp>
        <p:nvSpPr>
          <p:cNvPr id="94" name="Rectangle 93"/>
          <p:cNvSpPr/>
          <p:nvPr/>
        </p:nvSpPr>
        <p:spPr>
          <a:xfrm>
            <a:off x="6401909" y="4926047"/>
            <a:ext cx="2184503" cy="973265"/>
          </a:xfrm>
          <a:prstGeom prst="rect">
            <a:avLst/>
          </a:prstGeom>
          <a:solidFill>
            <a:schemeClr val="accent1">
              <a:lumMod val="20000"/>
              <a:lumOff val="80000"/>
            </a:schemeClr>
          </a:solid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95" name="Rectangle 94"/>
          <p:cNvSpPr/>
          <p:nvPr/>
        </p:nvSpPr>
        <p:spPr>
          <a:xfrm>
            <a:off x="6485283" y="5421329"/>
            <a:ext cx="1030786" cy="356442"/>
          </a:xfrm>
          <a:prstGeom prst="rect">
            <a:avLst/>
          </a:prstGeom>
          <a:solidFill>
            <a:schemeClr val="accent1">
              <a:lumMod val="60000"/>
              <a:lumOff val="40000"/>
            </a:schemeClr>
          </a:solidFill>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dirty="0" err="1"/>
              <a:t>IoT</a:t>
            </a:r>
            <a:r>
              <a:rPr lang="en-US" sz="1100" dirty="0"/>
              <a:t> Gateway SDK</a:t>
            </a:r>
          </a:p>
        </p:txBody>
      </p:sp>
      <p:sp>
        <p:nvSpPr>
          <p:cNvPr id="96" name="Rectangle 95"/>
          <p:cNvSpPr/>
          <p:nvPr/>
        </p:nvSpPr>
        <p:spPr>
          <a:xfrm>
            <a:off x="7584589" y="5380467"/>
            <a:ext cx="937279" cy="382847"/>
          </a:xfrm>
          <a:prstGeom prst="rect">
            <a:avLst/>
          </a:prstGeom>
          <a:solidFill>
            <a:schemeClr val="accent1">
              <a:lumMod val="60000"/>
              <a:lumOff val="40000"/>
            </a:schemeClr>
          </a:solidFill>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dirty="0" err="1"/>
              <a:t>IoT</a:t>
            </a:r>
            <a:r>
              <a:rPr lang="en-US" sz="1100" dirty="0"/>
              <a:t> Service SDK</a:t>
            </a:r>
          </a:p>
        </p:txBody>
      </p:sp>
      <p:sp>
        <p:nvSpPr>
          <p:cNvPr id="97" name="TextBox 96"/>
          <p:cNvSpPr txBox="1"/>
          <p:nvPr/>
        </p:nvSpPr>
        <p:spPr>
          <a:xfrm>
            <a:off x="6433714" y="4997638"/>
            <a:ext cx="1649815" cy="261610"/>
          </a:xfrm>
          <a:prstGeom prst="rect">
            <a:avLst/>
          </a:prstGeom>
          <a:noFill/>
        </p:spPr>
        <p:txBody>
          <a:bodyPr wrap="square" rtlCol="0">
            <a:spAutoFit/>
          </a:bodyPr>
          <a:lstStyle/>
          <a:p>
            <a:r>
              <a:rPr lang="en-US" sz="1100" dirty="0"/>
              <a:t>Eclipse Plug-Ins(SDKs)</a:t>
            </a:r>
          </a:p>
        </p:txBody>
      </p:sp>
      <p:cxnSp>
        <p:nvCxnSpPr>
          <p:cNvPr id="99" name="Straight Connector 98"/>
          <p:cNvCxnSpPr/>
          <p:nvPr/>
        </p:nvCxnSpPr>
        <p:spPr>
          <a:xfrm flipH="1">
            <a:off x="4877466" y="4171950"/>
            <a:ext cx="2" cy="1768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4877466" y="4309810"/>
            <a:ext cx="2306860" cy="23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8" name="Flowchart: Connector 107"/>
          <p:cNvSpPr/>
          <p:nvPr/>
        </p:nvSpPr>
        <p:spPr>
          <a:xfrm>
            <a:off x="6099153" y="4251274"/>
            <a:ext cx="144877" cy="163449"/>
          </a:xfrm>
          <a:prstGeom prst="flowChartConnector">
            <a:avLst/>
          </a:prstGeom>
          <a:solidFill>
            <a:schemeClr val="accent1">
              <a:lumMod val="75000"/>
            </a:schemeClr>
          </a:solidFill>
          <a:ln w="19050">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110" name="Rectangle 109"/>
          <p:cNvSpPr/>
          <p:nvPr/>
        </p:nvSpPr>
        <p:spPr>
          <a:xfrm>
            <a:off x="277213" y="1759266"/>
            <a:ext cx="812138" cy="471682"/>
          </a:xfrm>
          <a:prstGeom prst="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111" name="Rectangle 110"/>
          <p:cNvSpPr/>
          <p:nvPr/>
        </p:nvSpPr>
        <p:spPr>
          <a:xfrm>
            <a:off x="247263" y="1839088"/>
            <a:ext cx="758272" cy="513858"/>
          </a:xfrm>
          <a:prstGeom prst="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dirty="0"/>
              <a:t>Device</a:t>
            </a:r>
          </a:p>
        </p:txBody>
      </p:sp>
      <p:sp>
        <p:nvSpPr>
          <p:cNvPr id="112" name="Rectangle 111"/>
          <p:cNvSpPr/>
          <p:nvPr/>
        </p:nvSpPr>
        <p:spPr>
          <a:xfrm>
            <a:off x="169360" y="2919510"/>
            <a:ext cx="812138" cy="471682"/>
          </a:xfrm>
          <a:prstGeom prst="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113" name="Rectangle 112"/>
          <p:cNvSpPr/>
          <p:nvPr/>
        </p:nvSpPr>
        <p:spPr>
          <a:xfrm>
            <a:off x="126878" y="3031543"/>
            <a:ext cx="758272" cy="513858"/>
          </a:xfrm>
          <a:prstGeom prst="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dirty="0"/>
              <a:t>Device</a:t>
            </a:r>
          </a:p>
        </p:txBody>
      </p:sp>
      <p:sp>
        <p:nvSpPr>
          <p:cNvPr id="114" name="Rectangle 113"/>
          <p:cNvSpPr/>
          <p:nvPr/>
        </p:nvSpPr>
        <p:spPr>
          <a:xfrm>
            <a:off x="1459046" y="2989979"/>
            <a:ext cx="758272" cy="611846"/>
          </a:xfrm>
          <a:prstGeom prst="rect">
            <a:avLst/>
          </a:prstGeom>
          <a:solidFill>
            <a:schemeClr val="accent1">
              <a:lumMod val="60000"/>
              <a:lumOff val="40000"/>
            </a:schemeClr>
          </a:solidFill>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dirty="0" err="1"/>
              <a:t>IoT</a:t>
            </a:r>
            <a:r>
              <a:rPr lang="en-US" sz="1100" dirty="0"/>
              <a:t> Gateway</a:t>
            </a:r>
          </a:p>
          <a:p>
            <a:pPr algn="ctr"/>
            <a:r>
              <a:rPr lang="en-US" sz="1100" dirty="0"/>
              <a:t>Edge</a:t>
            </a:r>
          </a:p>
        </p:txBody>
      </p:sp>
      <p:cxnSp>
        <p:nvCxnSpPr>
          <p:cNvPr id="116" name="Straight Connector 115"/>
          <p:cNvCxnSpPr>
            <a:endCxn id="5" idx="1"/>
          </p:cNvCxnSpPr>
          <p:nvPr/>
        </p:nvCxnSpPr>
        <p:spPr>
          <a:xfrm flipV="1">
            <a:off x="993426" y="1925706"/>
            <a:ext cx="1933797" cy="25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Flowchart: Connector 120"/>
          <p:cNvSpPr/>
          <p:nvPr/>
        </p:nvSpPr>
        <p:spPr>
          <a:xfrm>
            <a:off x="8587100" y="1844072"/>
            <a:ext cx="144877" cy="163449"/>
          </a:xfrm>
          <a:prstGeom prst="flowChartConnector">
            <a:avLst/>
          </a:prstGeom>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sp>
        <p:nvSpPr>
          <p:cNvPr id="123" name="Flowchart: Connector 122"/>
          <p:cNvSpPr/>
          <p:nvPr/>
        </p:nvSpPr>
        <p:spPr>
          <a:xfrm>
            <a:off x="1655847" y="1860153"/>
            <a:ext cx="144877" cy="163449"/>
          </a:xfrm>
          <a:prstGeom prst="flowChartConnector">
            <a:avLst/>
          </a:prstGeom>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cxnSp>
        <p:nvCxnSpPr>
          <p:cNvPr id="125" name="Straight Connector 124"/>
          <p:cNvCxnSpPr>
            <a:stCxn id="113" idx="3"/>
          </p:cNvCxnSpPr>
          <p:nvPr/>
        </p:nvCxnSpPr>
        <p:spPr>
          <a:xfrm flipV="1">
            <a:off x="885150" y="3288472"/>
            <a:ext cx="574360"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Flowchart: Connector 125"/>
          <p:cNvSpPr/>
          <p:nvPr/>
        </p:nvSpPr>
        <p:spPr>
          <a:xfrm>
            <a:off x="1108964" y="3203621"/>
            <a:ext cx="144877" cy="163449"/>
          </a:xfrm>
          <a:prstGeom prst="flowChartConnector">
            <a:avLst/>
          </a:prstGeom>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cxnSp>
        <p:nvCxnSpPr>
          <p:cNvPr id="128" name="Straight Connector 127"/>
          <p:cNvCxnSpPr/>
          <p:nvPr/>
        </p:nvCxnSpPr>
        <p:spPr>
          <a:xfrm flipV="1">
            <a:off x="2172689" y="3151303"/>
            <a:ext cx="709905"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2217319" y="3525584"/>
            <a:ext cx="21958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Flowchart: Connector 130"/>
          <p:cNvSpPr/>
          <p:nvPr/>
        </p:nvSpPr>
        <p:spPr>
          <a:xfrm>
            <a:off x="2415196" y="3073925"/>
            <a:ext cx="144877" cy="163449"/>
          </a:xfrm>
          <a:prstGeom prst="flowChartConnector">
            <a:avLst/>
          </a:prstGeom>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sp>
        <p:nvSpPr>
          <p:cNvPr id="132" name="Flowchart: Connector 131"/>
          <p:cNvSpPr/>
          <p:nvPr/>
        </p:nvSpPr>
        <p:spPr>
          <a:xfrm>
            <a:off x="2406533" y="3455229"/>
            <a:ext cx="144877" cy="163449"/>
          </a:xfrm>
          <a:prstGeom prst="flowChartConnector">
            <a:avLst/>
          </a:prstGeom>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sp>
        <p:nvSpPr>
          <p:cNvPr id="133" name="Rectangle 132"/>
          <p:cNvSpPr/>
          <p:nvPr/>
        </p:nvSpPr>
        <p:spPr>
          <a:xfrm>
            <a:off x="1006130" y="1272524"/>
            <a:ext cx="1432705" cy="361073"/>
          </a:xfrm>
          <a:prstGeom prst="rect">
            <a:avLst/>
          </a:prstGeom>
          <a:solidFill>
            <a:schemeClr val="accent1">
              <a:lumMod val="60000"/>
              <a:lumOff val="40000"/>
            </a:schemeClr>
          </a:solidFill>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dirty="0"/>
              <a:t>Cloud Protocols</a:t>
            </a:r>
          </a:p>
          <a:p>
            <a:pPr algn="ctr"/>
            <a:r>
              <a:rPr lang="en-US" sz="1100" dirty="0"/>
              <a:t>HTTPS / MQTT</a:t>
            </a:r>
          </a:p>
        </p:txBody>
      </p:sp>
      <p:sp>
        <p:nvSpPr>
          <p:cNvPr id="134" name="Rectangle 133"/>
          <p:cNvSpPr/>
          <p:nvPr/>
        </p:nvSpPr>
        <p:spPr>
          <a:xfrm>
            <a:off x="277214" y="3843894"/>
            <a:ext cx="2181950" cy="1718706"/>
          </a:xfrm>
          <a:prstGeom prst="rect">
            <a:avLst/>
          </a:prstGeom>
          <a:solidFill>
            <a:schemeClr val="accent1">
              <a:lumMod val="60000"/>
              <a:lumOff val="40000"/>
            </a:schemeClr>
          </a:solidFill>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dirty="0"/>
              <a:t>Edge Protocols </a:t>
            </a:r>
          </a:p>
          <a:p>
            <a:pPr algn="ctr"/>
            <a:r>
              <a:rPr lang="en-US" sz="1100" dirty="0"/>
              <a:t>such as:</a:t>
            </a:r>
          </a:p>
          <a:p>
            <a:pPr algn="ctr"/>
            <a:r>
              <a:rPr lang="en-US" sz="1100" dirty="0"/>
              <a:t>HTTPS, MQTT, File, </a:t>
            </a:r>
            <a:r>
              <a:rPr lang="en-US" sz="1100" dirty="0" err="1"/>
              <a:t>CoAP</a:t>
            </a:r>
            <a:r>
              <a:rPr lang="en-US" sz="1100" dirty="0"/>
              <a:t>, SNMP, XMPP, Modbus</a:t>
            </a:r>
          </a:p>
          <a:p>
            <a:pPr algn="ctr"/>
            <a:endParaRPr lang="en-US" sz="1100" dirty="0"/>
          </a:p>
          <a:p>
            <a:pPr algn="ctr"/>
            <a:r>
              <a:rPr lang="en-US" sz="1100" dirty="0"/>
              <a:t>(continuous integration of  further protocols)</a:t>
            </a:r>
          </a:p>
        </p:txBody>
      </p:sp>
      <p:cxnSp>
        <p:nvCxnSpPr>
          <p:cNvPr id="138" name="Straight Arrow Connector 137"/>
          <p:cNvCxnSpPr>
            <a:stCxn id="133" idx="2"/>
            <a:endCxn id="123" idx="0"/>
          </p:cNvCxnSpPr>
          <p:nvPr/>
        </p:nvCxnSpPr>
        <p:spPr>
          <a:xfrm>
            <a:off x="1722483" y="1633598"/>
            <a:ext cx="5803" cy="22655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endCxn id="126" idx="4"/>
          </p:cNvCxnSpPr>
          <p:nvPr/>
        </p:nvCxnSpPr>
        <p:spPr>
          <a:xfrm flipV="1">
            <a:off x="1181403" y="3367071"/>
            <a:ext cx="0" cy="47682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a:xfrm flipH="1">
            <a:off x="1264389" y="2136267"/>
            <a:ext cx="1247580" cy="415498"/>
          </a:xfrm>
          <a:prstGeom prst="rect">
            <a:avLst/>
          </a:prstGeom>
          <a:noFill/>
        </p:spPr>
        <p:txBody>
          <a:bodyPr wrap="square" rtlCol="0">
            <a:spAutoFit/>
          </a:bodyPr>
          <a:lstStyle/>
          <a:p>
            <a:r>
              <a:rPr lang="en-US" sz="1050" dirty="0"/>
              <a:t>Send and receive messages</a:t>
            </a:r>
          </a:p>
        </p:txBody>
      </p:sp>
      <p:sp>
        <p:nvSpPr>
          <p:cNvPr id="148" name="Chevron 147"/>
          <p:cNvSpPr/>
          <p:nvPr/>
        </p:nvSpPr>
        <p:spPr>
          <a:xfrm>
            <a:off x="4124302" y="1733308"/>
            <a:ext cx="77622" cy="66614"/>
          </a:xfrm>
          <a:prstGeom prst="chevr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0" name="Chevron 149"/>
          <p:cNvSpPr/>
          <p:nvPr/>
        </p:nvSpPr>
        <p:spPr>
          <a:xfrm>
            <a:off x="2478972" y="3320218"/>
            <a:ext cx="88686" cy="55379"/>
          </a:xfrm>
          <a:prstGeom prst="chevr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1" name="Chevron 150"/>
          <p:cNvSpPr/>
          <p:nvPr/>
        </p:nvSpPr>
        <p:spPr>
          <a:xfrm>
            <a:off x="6187416" y="4109098"/>
            <a:ext cx="77622" cy="66614"/>
          </a:xfrm>
          <a:prstGeom prst="chevr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2" name="Chevron 151"/>
          <p:cNvSpPr/>
          <p:nvPr/>
        </p:nvSpPr>
        <p:spPr>
          <a:xfrm rot="10800000">
            <a:off x="8539861" y="1723295"/>
            <a:ext cx="77622" cy="66614"/>
          </a:xfrm>
          <a:prstGeom prst="chevr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3" name="Chevron 152"/>
          <p:cNvSpPr/>
          <p:nvPr/>
        </p:nvSpPr>
        <p:spPr>
          <a:xfrm rot="10800000">
            <a:off x="8559438" y="3048490"/>
            <a:ext cx="77622" cy="66614"/>
          </a:xfrm>
          <a:prstGeom prst="chevr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4" name="Chevron 153"/>
          <p:cNvSpPr/>
          <p:nvPr/>
        </p:nvSpPr>
        <p:spPr>
          <a:xfrm rot="10800000">
            <a:off x="6079607" y="2916970"/>
            <a:ext cx="77622" cy="66614"/>
          </a:xfrm>
          <a:prstGeom prst="chevr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5" name="TextBox 154"/>
          <p:cNvSpPr txBox="1"/>
          <p:nvPr/>
        </p:nvSpPr>
        <p:spPr>
          <a:xfrm flipH="1">
            <a:off x="2311582" y="3234539"/>
            <a:ext cx="492441" cy="215444"/>
          </a:xfrm>
          <a:prstGeom prst="rect">
            <a:avLst/>
          </a:prstGeom>
          <a:noFill/>
        </p:spPr>
        <p:txBody>
          <a:bodyPr wrap="square" rtlCol="0">
            <a:spAutoFit/>
          </a:bodyPr>
          <a:lstStyle/>
          <a:p>
            <a:r>
              <a:rPr lang="en-US" sz="800" b="1" dirty="0"/>
              <a:t>R</a:t>
            </a:r>
          </a:p>
        </p:txBody>
      </p:sp>
      <p:sp>
        <p:nvSpPr>
          <p:cNvPr id="157" name="TextBox 156"/>
          <p:cNvSpPr txBox="1"/>
          <p:nvPr/>
        </p:nvSpPr>
        <p:spPr>
          <a:xfrm>
            <a:off x="3963404" y="1652262"/>
            <a:ext cx="359062" cy="215444"/>
          </a:xfrm>
          <a:prstGeom prst="rect">
            <a:avLst/>
          </a:prstGeom>
          <a:noFill/>
        </p:spPr>
        <p:txBody>
          <a:bodyPr wrap="square" rtlCol="0">
            <a:spAutoFit/>
          </a:bodyPr>
          <a:lstStyle/>
          <a:p>
            <a:r>
              <a:rPr lang="en-US" sz="800" b="1" dirty="0"/>
              <a:t>R</a:t>
            </a:r>
          </a:p>
        </p:txBody>
      </p:sp>
      <p:sp>
        <p:nvSpPr>
          <p:cNvPr id="158" name="TextBox 157"/>
          <p:cNvSpPr txBox="1"/>
          <p:nvPr/>
        </p:nvSpPr>
        <p:spPr>
          <a:xfrm>
            <a:off x="6027193" y="4029873"/>
            <a:ext cx="419196" cy="215444"/>
          </a:xfrm>
          <a:prstGeom prst="rect">
            <a:avLst/>
          </a:prstGeom>
          <a:noFill/>
        </p:spPr>
        <p:txBody>
          <a:bodyPr wrap="square" rtlCol="0">
            <a:spAutoFit/>
          </a:bodyPr>
          <a:lstStyle/>
          <a:p>
            <a:r>
              <a:rPr lang="en-US" sz="800" b="1" dirty="0"/>
              <a:t>R</a:t>
            </a:r>
          </a:p>
        </p:txBody>
      </p:sp>
      <p:sp>
        <p:nvSpPr>
          <p:cNvPr id="159" name="TextBox 158"/>
          <p:cNvSpPr txBox="1"/>
          <p:nvPr/>
        </p:nvSpPr>
        <p:spPr>
          <a:xfrm flipH="1">
            <a:off x="6101821" y="2835789"/>
            <a:ext cx="505342" cy="215444"/>
          </a:xfrm>
          <a:prstGeom prst="rect">
            <a:avLst/>
          </a:prstGeom>
          <a:noFill/>
        </p:spPr>
        <p:txBody>
          <a:bodyPr wrap="square" rtlCol="0">
            <a:spAutoFit/>
          </a:bodyPr>
          <a:lstStyle/>
          <a:p>
            <a:r>
              <a:rPr lang="en-US" sz="800" b="1" dirty="0"/>
              <a:t>R</a:t>
            </a:r>
          </a:p>
        </p:txBody>
      </p:sp>
      <p:sp>
        <p:nvSpPr>
          <p:cNvPr id="160" name="TextBox 159"/>
          <p:cNvSpPr txBox="1"/>
          <p:nvPr/>
        </p:nvSpPr>
        <p:spPr>
          <a:xfrm flipH="1">
            <a:off x="8568778" y="1645917"/>
            <a:ext cx="375780" cy="215444"/>
          </a:xfrm>
          <a:prstGeom prst="rect">
            <a:avLst/>
          </a:prstGeom>
          <a:noFill/>
        </p:spPr>
        <p:txBody>
          <a:bodyPr wrap="square" rtlCol="0">
            <a:spAutoFit/>
          </a:bodyPr>
          <a:lstStyle/>
          <a:p>
            <a:r>
              <a:rPr lang="en-US" sz="800" b="1" dirty="0"/>
              <a:t>R</a:t>
            </a:r>
          </a:p>
        </p:txBody>
      </p:sp>
      <p:sp>
        <p:nvSpPr>
          <p:cNvPr id="161" name="TextBox 160"/>
          <p:cNvSpPr txBox="1"/>
          <p:nvPr/>
        </p:nvSpPr>
        <p:spPr>
          <a:xfrm>
            <a:off x="8574856" y="2969006"/>
            <a:ext cx="476314" cy="215444"/>
          </a:xfrm>
          <a:prstGeom prst="rect">
            <a:avLst/>
          </a:prstGeom>
          <a:noFill/>
        </p:spPr>
        <p:txBody>
          <a:bodyPr wrap="square" rtlCol="0">
            <a:spAutoFit/>
          </a:bodyPr>
          <a:lstStyle/>
          <a:p>
            <a:r>
              <a:rPr lang="en-US" sz="800" b="1" dirty="0"/>
              <a:t>R</a:t>
            </a:r>
          </a:p>
        </p:txBody>
      </p:sp>
      <p:sp>
        <p:nvSpPr>
          <p:cNvPr id="164" name="Chevron 163"/>
          <p:cNvSpPr/>
          <p:nvPr/>
        </p:nvSpPr>
        <p:spPr>
          <a:xfrm rot="10800000">
            <a:off x="5548330" y="1750026"/>
            <a:ext cx="37147" cy="37147"/>
          </a:xfrm>
          <a:prstGeom prst="chevron">
            <a:avLst/>
          </a:prstGeom>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67" name="TextBox 166"/>
          <p:cNvSpPr txBox="1"/>
          <p:nvPr/>
        </p:nvSpPr>
        <p:spPr>
          <a:xfrm>
            <a:off x="5556773" y="1652127"/>
            <a:ext cx="476314" cy="215444"/>
          </a:xfrm>
          <a:prstGeom prst="rect">
            <a:avLst/>
          </a:prstGeom>
          <a:noFill/>
        </p:spPr>
        <p:txBody>
          <a:bodyPr wrap="square" rtlCol="0">
            <a:spAutoFit/>
          </a:bodyPr>
          <a:lstStyle/>
          <a:p>
            <a:r>
              <a:rPr lang="en-US" sz="800" b="1" dirty="0"/>
              <a:t>R</a:t>
            </a:r>
          </a:p>
        </p:txBody>
      </p:sp>
      <p:cxnSp>
        <p:nvCxnSpPr>
          <p:cNvPr id="169" name="Straight Connector 168"/>
          <p:cNvCxnSpPr>
            <a:stCxn id="5" idx="2"/>
            <a:endCxn id="6" idx="0"/>
          </p:cNvCxnSpPr>
          <p:nvPr/>
        </p:nvCxnSpPr>
        <p:spPr>
          <a:xfrm>
            <a:off x="3380422" y="2133731"/>
            <a:ext cx="15181" cy="720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5" name="Flowchart: Connector 174"/>
          <p:cNvSpPr/>
          <p:nvPr/>
        </p:nvSpPr>
        <p:spPr>
          <a:xfrm>
            <a:off x="3311506" y="2363506"/>
            <a:ext cx="140428" cy="178601"/>
          </a:xfrm>
          <a:prstGeom prst="flowChartConnector">
            <a:avLst/>
          </a:prstGeom>
          <a:solidFill>
            <a:schemeClr val="accent1">
              <a:lumMod val="75000"/>
            </a:schemeClr>
          </a:solidFill>
          <a:ln w="19050">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a:p>
        </p:txBody>
      </p:sp>
      <p:sp>
        <p:nvSpPr>
          <p:cNvPr id="37" name="TextBox 36"/>
          <p:cNvSpPr txBox="1"/>
          <p:nvPr/>
        </p:nvSpPr>
        <p:spPr>
          <a:xfrm>
            <a:off x="381000" y="457200"/>
            <a:ext cx="6226163" cy="461665"/>
          </a:xfrm>
          <a:prstGeom prst="rect">
            <a:avLst/>
          </a:prstGeom>
          <a:noFill/>
        </p:spPr>
        <p:txBody>
          <a:bodyPr wrap="square" rtlCol="0">
            <a:spAutoFit/>
          </a:bodyPr>
          <a:lstStyle/>
          <a:p>
            <a:r>
              <a:rPr lang="en-IN" sz="2400" dirty="0" smtClean="0">
                <a:solidFill>
                  <a:schemeClr val="tx2">
                    <a:lumMod val="50000"/>
                  </a:schemeClr>
                </a:solidFill>
              </a:rPr>
              <a:t>SAP Leonardo IoT – Technical Architecture</a:t>
            </a:r>
          </a:p>
        </p:txBody>
      </p:sp>
    </p:spTree>
    <p:extLst>
      <p:ext uri="{BB962C8B-B14F-4D97-AF65-F5344CB8AC3E}">
        <p14:creationId xmlns:p14="http://schemas.microsoft.com/office/powerpoint/2010/main" val="10187927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8828" y="1447800"/>
            <a:ext cx="4191000" cy="2308324"/>
          </a:xfrm>
          <a:prstGeom prst="rect">
            <a:avLst/>
          </a:prstGeom>
          <a:noFill/>
        </p:spPr>
        <p:txBody>
          <a:bodyPr wrap="square" rtlCol="0">
            <a:spAutoFit/>
          </a:bodyPr>
          <a:lstStyle/>
          <a:p>
            <a:r>
              <a:rPr lang="en-IN" sz="1600" b="1" dirty="0" smtClean="0">
                <a:solidFill>
                  <a:schemeClr val="accent1"/>
                </a:solidFill>
              </a:rPr>
              <a:t>Connect with any device or machine anywhere, right away</a:t>
            </a:r>
          </a:p>
          <a:p>
            <a:endParaRPr lang="en-IN" sz="1400" dirty="0">
              <a:solidFill>
                <a:schemeClr val="tx2">
                  <a:lumMod val="50000"/>
                </a:schemeClr>
              </a:solidFill>
            </a:endParaRPr>
          </a:p>
          <a:p>
            <a:pPr marL="285750" indent="-285750">
              <a:buFont typeface="Wingdings" panose="05000000000000000000" pitchFamily="2" charset="2"/>
              <a:buChar char="ü"/>
            </a:pPr>
            <a:r>
              <a:rPr lang="en-IN" sz="1400" dirty="0"/>
              <a:t>Connect all wired and wireless “things” to the IoT</a:t>
            </a:r>
          </a:p>
          <a:p>
            <a:pPr marL="285750" indent="-285750">
              <a:buFont typeface="Wingdings" panose="05000000000000000000" pitchFamily="2" charset="2"/>
              <a:buChar char="ü"/>
            </a:pPr>
            <a:r>
              <a:rPr lang="en-IN" sz="1400" dirty="0"/>
              <a:t>No custom development required</a:t>
            </a:r>
          </a:p>
          <a:p>
            <a:pPr marL="285750" indent="-285750">
              <a:buFont typeface="Wingdings" panose="05000000000000000000" pitchFamily="2" charset="2"/>
              <a:buChar char="ü"/>
            </a:pPr>
            <a:r>
              <a:rPr lang="en-IN" sz="1400" dirty="0"/>
              <a:t>Make monitoring “things” easier</a:t>
            </a:r>
          </a:p>
          <a:p>
            <a:pPr marL="285750" indent="-285750">
              <a:buFont typeface="Wingdings" panose="05000000000000000000" pitchFamily="2" charset="2"/>
              <a:buChar char="ü"/>
            </a:pPr>
            <a:r>
              <a:rPr lang="en-IN" sz="1400" dirty="0"/>
              <a:t>Connect one device or millions</a:t>
            </a:r>
          </a:p>
          <a:p>
            <a:pPr marL="285750" indent="-285750">
              <a:buFont typeface="Wingdings" panose="05000000000000000000" pitchFamily="2" charset="2"/>
              <a:buChar char="ü"/>
            </a:pPr>
            <a:r>
              <a:rPr lang="en-IN" sz="1400" dirty="0"/>
              <a:t>Support multiple </a:t>
            </a:r>
            <a:r>
              <a:rPr lang="en-IN" sz="1400" dirty="0" smtClean="0"/>
              <a:t>on-boarding </a:t>
            </a:r>
            <a:r>
              <a:rPr lang="en-IN" sz="1400" dirty="0"/>
              <a:t>methods</a:t>
            </a:r>
          </a:p>
          <a:p>
            <a:pPr marL="285750" indent="-285750">
              <a:buFont typeface="Wingdings" panose="05000000000000000000" pitchFamily="2" charset="2"/>
              <a:buChar char="ü"/>
            </a:pPr>
            <a:r>
              <a:rPr lang="en-IN" sz="1400" dirty="0"/>
              <a:t>Deploy centrally or at the device ‘edge</a:t>
            </a:r>
            <a:r>
              <a:rPr lang="en-IN" sz="1400" dirty="0" smtClean="0"/>
              <a:t>’</a:t>
            </a:r>
            <a:endParaRPr lang="en-IN" sz="1400" dirty="0" smtClean="0">
              <a:solidFill>
                <a:schemeClr val="tx2">
                  <a:lumMod val="50000"/>
                </a:schemeClr>
              </a:solidFill>
            </a:endParaRPr>
          </a:p>
        </p:txBody>
      </p:sp>
      <p:sp>
        <p:nvSpPr>
          <p:cNvPr id="2" name="Title 1"/>
          <p:cNvSpPr>
            <a:spLocks noGrp="1"/>
          </p:cNvSpPr>
          <p:nvPr>
            <p:ph type="title"/>
          </p:nvPr>
        </p:nvSpPr>
        <p:spPr/>
        <p:txBody>
          <a:bodyPr/>
          <a:lstStyle/>
          <a:p>
            <a:r>
              <a:rPr lang="en-IN" sz="2400" dirty="0" smtClean="0"/>
              <a:t>SAP Device Management – Functional Capabilities</a:t>
            </a:r>
            <a:endParaRPr lang="en-IN" sz="2400" dirty="0"/>
          </a:p>
        </p:txBody>
      </p:sp>
      <p:sp>
        <p:nvSpPr>
          <p:cNvPr id="5" name="TextBox 4"/>
          <p:cNvSpPr txBox="1"/>
          <p:nvPr/>
        </p:nvSpPr>
        <p:spPr>
          <a:xfrm>
            <a:off x="4952520" y="1447800"/>
            <a:ext cx="4724400" cy="1661993"/>
          </a:xfrm>
          <a:prstGeom prst="rect">
            <a:avLst/>
          </a:prstGeom>
          <a:noFill/>
        </p:spPr>
        <p:txBody>
          <a:bodyPr wrap="square" rtlCol="0">
            <a:spAutoFit/>
          </a:bodyPr>
          <a:lstStyle/>
          <a:p>
            <a:r>
              <a:rPr lang="en-IN" sz="1600" b="1" dirty="0">
                <a:solidFill>
                  <a:schemeClr val="accent1"/>
                </a:solidFill>
              </a:rPr>
              <a:t>Send actions and changes to connected devices and machines</a:t>
            </a:r>
          </a:p>
          <a:p>
            <a:endParaRPr lang="en-IN" sz="1400" dirty="0"/>
          </a:p>
          <a:p>
            <a:pPr marL="285750" indent="-285750">
              <a:buFont typeface="Wingdings" panose="05000000000000000000" pitchFamily="2" charset="2"/>
              <a:buChar char="ü"/>
            </a:pPr>
            <a:r>
              <a:rPr lang="en-IN" sz="1400" dirty="0"/>
              <a:t>Interact with connected “things” bi-directionally</a:t>
            </a:r>
          </a:p>
          <a:p>
            <a:pPr marL="285750" indent="-285750">
              <a:buFont typeface="Wingdings" panose="05000000000000000000" pitchFamily="2" charset="2"/>
              <a:buChar char="ü"/>
            </a:pPr>
            <a:r>
              <a:rPr lang="en-IN" sz="1400" dirty="0"/>
              <a:t>Remotely monitor and control one or many devices</a:t>
            </a:r>
          </a:p>
          <a:p>
            <a:pPr marL="285750" indent="-285750">
              <a:buFont typeface="Wingdings" panose="05000000000000000000" pitchFamily="2" charset="2"/>
              <a:buChar char="ü"/>
            </a:pPr>
            <a:r>
              <a:rPr lang="en-IN" sz="1400" dirty="0"/>
              <a:t>Address the health status of devices</a:t>
            </a:r>
          </a:p>
          <a:p>
            <a:pPr marL="285750" indent="-285750">
              <a:buFont typeface="Wingdings" panose="05000000000000000000" pitchFamily="2" charset="2"/>
              <a:buChar char="ü"/>
            </a:pPr>
            <a:r>
              <a:rPr lang="en-IN" sz="1400" dirty="0"/>
              <a:t>Reduce IoT device replacements and </a:t>
            </a:r>
            <a:r>
              <a:rPr lang="en-IN" sz="1400" dirty="0" smtClean="0"/>
              <a:t>servicing</a:t>
            </a:r>
            <a:endParaRPr lang="en-IN" sz="1400" dirty="0"/>
          </a:p>
        </p:txBody>
      </p:sp>
      <p:sp>
        <p:nvSpPr>
          <p:cNvPr id="6" name="TextBox 5"/>
          <p:cNvSpPr txBox="1"/>
          <p:nvPr/>
        </p:nvSpPr>
        <p:spPr>
          <a:xfrm>
            <a:off x="76200" y="3941489"/>
            <a:ext cx="4114800" cy="2308324"/>
          </a:xfrm>
          <a:prstGeom prst="rect">
            <a:avLst/>
          </a:prstGeom>
          <a:noFill/>
        </p:spPr>
        <p:txBody>
          <a:bodyPr wrap="square" rtlCol="0">
            <a:spAutoFit/>
          </a:bodyPr>
          <a:lstStyle/>
          <a:p>
            <a:r>
              <a:rPr lang="en-IN" sz="1600" b="1" dirty="0">
                <a:solidFill>
                  <a:schemeClr val="accent1"/>
                </a:solidFill>
              </a:rPr>
              <a:t>Acquire, transform and move data from “things” anywhere</a:t>
            </a:r>
          </a:p>
          <a:p>
            <a:endParaRPr lang="en-IN" sz="1400" dirty="0"/>
          </a:p>
          <a:p>
            <a:pPr marL="285750" indent="-285750">
              <a:buFont typeface="Wingdings" panose="05000000000000000000" pitchFamily="2" charset="2"/>
              <a:buChar char="ü"/>
            </a:pPr>
            <a:r>
              <a:rPr lang="en-IN" sz="1400" dirty="0"/>
              <a:t>Collect data for storage in SAP databases and applications</a:t>
            </a:r>
          </a:p>
          <a:p>
            <a:pPr marL="285750" indent="-285750">
              <a:buFont typeface="Wingdings" panose="05000000000000000000" pitchFamily="2" charset="2"/>
              <a:buChar char="ü"/>
            </a:pPr>
            <a:r>
              <a:rPr lang="en-IN" sz="1400" dirty="0"/>
              <a:t>Convert data into a format that can be more easily consumed by target SAP applications</a:t>
            </a:r>
          </a:p>
          <a:p>
            <a:pPr marL="285750" indent="-285750">
              <a:buFont typeface="Wingdings" panose="05000000000000000000" pitchFamily="2" charset="2"/>
              <a:buChar char="ü"/>
            </a:pPr>
            <a:r>
              <a:rPr lang="en-IN" sz="1400" dirty="0"/>
              <a:t>Send most relevant data to the appropriate target application</a:t>
            </a:r>
          </a:p>
          <a:p>
            <a:pPr marL="285750" indent="-285750">
              <a:buFont typeface="Wingdings" panose="05000000000000000000" pitchFamily="2" charset="2"/>
              <a:buChar char="ü"/>
            </a:pPr>
            <a:r>
              <a:rPr lang="en-IN" sz="1400" dirty="0"/>
              <a:t>Receive a complete data set, every </a:t>
            </a:r>
            <a:r>
              <a:rPr lang="en-IN" sz="1400" dirty="0" smtClean="0"/>
              <a:t>time</a:t>
            </a:r>
            <a:endParaRPr lang="en-IN" sz="1400" dirty="0"/>
          </a:p>
        </p:txBody>
      </p:sp>
      <p:sp>
        <p:nvSpPr>
          <p:cNvPr id="7" name="TextBox 6"/>
          <p:cNvSpPr txBox="1"/>
          <p:nvPr/>
        </p:nvSpPr>
        <p:spPr>
          <a:xfrm>
            <a:off x="4953000" y="3941489"/>
            <a:ext cx="4572000" cy="2308324"/>
          </a:xfrm>
          <a:prstGeom prst="rect">
            <a:avLst/>
          </a:prstGeom>
          <a:noFill/>
        </p:spPr>
        <p:txBody>
          <a:bodyPr wrap="square" rtlCol="0">
            <a:spAutoFit/>
          </a:bodyPr>
          <a:lstStyle/>
          <a:p>
            <a:r>
              <a:rPr lang="en-IN" sz="1600" b="1" dirty="0">
                <a:solidFill>
                  <a:schemeClr val="accent1"/>
                </a:solidFill>
              </a:rPr>
              <a:t>Accelerate the implementation of IoT use cases</a:t>
            </a:r>
          </a:p>
          <a:p>
            <a:endParaRPr lang="en-IN" sz="1400" dirty="0"/>
          </a:p>
          <a:p>
            <a:pPr marL="285750" indent="-285750">
              <a:buFont typeface="Wingdings" panose="05000000000000000000" pitchFamily="2" charset="2"/>
              <a:buChar char="ü"/>
            </a:pPr>
            <a:r>
              <a:rPr lang="en-IN" sz="1400" dirty="0"/>
              <a:t>Leverage the Internet of Things faster and more affordably</a:t>
            </a:r>
          </a:p>
          <a:p>
            <a:pPr marL="285750" indent="-285750">
              <a:buFont typeface="Wingdings" panose="05000000000000000000" pitchFamily="2" charset="2"/>
              <a:buChar char="ü"/>
            </a:pPr>
            <a:r>
              <a:rPr lang="en-IN" sz="1400" dirty="0"/>
              <a:t>Eliminate the biggest barriers to IoT-enabled business transformation</a:t>
            </a:r>
          </a:p>
          <a:p>
            <a:pPr marL="285750" indent="-285750">
              <a:buFont typeface="Wingdings" panose="05000000000000000000" pitchFamily="2" charset="2"/>
              <a:buChar char="ü"/>
            </a:pPr>
            <a:r>
              <a:rPr lang="en-IN" sz="1400" dirty="0"/>
              <a:t>Engage in “</a:t>
            </a:r>
            <a:r>
              <a:rPr lang="en-IN" sz="1400" dirty="0" err="1"/>
              <a:t>servitization</a:t>
            </a:r>
            <a:r>
              <a:rPr lang="en-IN" sz="1400" dirty="0"/>
              <a:t>” by creating innovative digital services and business models based on data from assets and </a:t>
            </a:r>
            <a:r>
              <a:rPr lang="en-IN" sz="1400" dirty="0" smtClean="0"/>
              <a:t>sensors</a:t>
            </a:r>
            <a:endParaRPr lang="en-IN" sz="1400" dirty="0"/>
          </a:p>
        </p:txBody>
      </p:sp>
    </p:spTree>
    <p:extLst>
      <p:ext uri="{BB962C8B-B14F-4D97-AF65-F5344CB8AC3E}">
        <p14:creationId xmlns:p14="http://schemas.microsoft.com/office/powerpoint/2010/main" val="10110718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circle(in)">
                                      <p:cBhvr>
                                        <p:cTn id="12" dur="20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circle(in)">
                                      <p:cBhvr>
                                        <p:cTn id="17" dur="20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circle(in)">
                                      <p:cBhvr>
                                        <p:cTn id="22"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42470" y="2704784"/>
            <a:ext cx="750346" cy="685800"/>
          </a:xfrm>
          <a:prstGeom prst="rect">
            <a:avLst/>
          </a:prstGeom>
        </p:spPr>
      </p:pic>
      <p:sp>
        <p:nvSpPr>
          <p:cNvPr id="2" name="Title 1"/>
          <p:cNvSpPr>
            <a:spLocks noGrp="1"/>
          </p:cNvSpPr>
          <p:nvPr>
            <p:ph type="title"/>
          </p:nvPr>
        </p:nvSpPr>
        <p:spPr/>
        <p:txBody>
          <a:bodyPr/>
          <a:lstStyle/>
          <a:p>
            <a:r>
              <a:rPr lang="en-IN" sz="2400" dirty="0" smtClean="0"/>
              <a:t>SAP Leonardo IOT Foundation – </a:t>
            </a:r>
            <a:r>
              <a:rPr lang="en-IN" sz="2400" dirty="0" smtClean="0">
                <a:solidFill>
                  <a:schemeClr val="accent1">
                    <a:lumMod val="60000"/>
                    <a:lumOff val="40000"/>
                  </a:schemeClr>
                </a:solidFill>
              </a:rPr>
              <a:t>Technical Services</a:t>
            </a:r>
            <a:endParaRPr lang="en-IN" sz="2400" dirty="0">
              <a:solidFill>
                <a:schemeClr val="accent1">
                  <a:lumMod val="60000"/>
                  <a:lumOff val="40000"/>
                </a:schemeClr>
              </a:solidFill>
            </a:endParaRPr>
          </a:p>
        </p:txBody>
      </p:sp>
      <p:pic>
        <p:nvPicPr>
          <p:cNvPr id="5" name="Picture 4"/>
          <p:cNvPicPr>
            <a:picLocks noChangeAspect="1"/>
          </p:cNvPicPr>
          <p:nvPr/>
        </p:nvPicPr>
        <p:blipFill>
          <a:blip r:embed="rId4"/>
          <a:stretch>
            <a:fillRect/>
          </a:stretch>
        </p:blipFill>
        <p:spPr>
          <a:xfrm>
            <a:off x="61722" y="3619500"/>
            <a:ext cx="750346" cy="762580"/>
          </a:xfrm>
          <a:prstGeom prst="rect">
            <a:avLst/>
          </a:prstGeom>
        </p:spPr>
      </p:pic>
      <p:sp>
        <p:nvSpPr>
          <p:cNvPr id="6" name="Rounded Rectangle 5"/>
          <p:cNvSpPr/>
          <p:nvPr/>
        </p:nvSpPr>
        <p:spPr>
          <a:xfrm>
            <a:off x="2362200" y="2100319"/>
            <a:ext cx="3733800" cy="3291700"/>
          </a:xfrm>
          <a:prstGeom prst="round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SAP Cloud Platform Internet Of Things</a:t>
            </a:r>
          </a:p>
          <a:p>
            <a:pPr algn="ctr"/>
            <a:endParaRPr lang="en-IN" sz="1400" dirty="0">
              <a:solidFill>
                <a:schemeClr val="tx2">
                  <a:lumMod val="50000"/>
                </a:schemeClr>
              </a:solidFill>
            </a:endParaRPr>
          </a:p>
          <a:p>
            <a:pPr algn="ctr"/>
            <a:endParaRPr lang="en-IN" sz="1400" dirty="0" smtClean="0">
              <a:solidFill>
                <a:schemeClr val="tx2">
                  <a:lumMod val="50000"/>
                </a:schemeClr>
              </a:solidFill>
            </a:endParaRPr>
          </a:p>
          <a:p>
            <a:pPr algn="ctr"/>
            <a:endParaRPr lang="en-IN" sz="1400" dirty="0">
              <a:solidFill>
                <a:schemeClr val="tx2">
                  <a:lumMod val="50000"/>
                </a:schemeClr>
              </a:solidFill>
            </a:endParaRPr>
          </a:p>
          <a:p>
            <a:pPr algn="ctr"/>
            <a:endParaRPr lang="en-IN" sz="1400" dirty="0" smtClean="0">
              <a:solidFill>
                <a:schemeClr val="tx2">
                  <a:lumMod val="50000"/>
                </a:schemeClr>
              </a:solidFill>
            </a:endParaRPr>
          </a:p>
          <a:p>
            <a:pPr algn="ctr"/>
            <a:endParaRPr lang="en-IN" sz="1400" dirty="0">
              <a:solidFill>
                <a:schemeClr val="tx2">
                  <a:lumMod val="50000"/>
                </a:schemeClr>
              </a:solidFill>
            </a:endParaRPr>
          </a:p>
          <a:p>
            <a:pPr algn="ctr"/>
            <a:endParaRPr lang="en-IN" sz="1400" dirty="0" smtClean="0">
              <a:solidFill>
                <a:schemeClr val="tx2">
                  <a:lumMod val="50000"/>
                </a:schemeClr>
              </a:solidFill>
            </a:endParaRPr>
          </a:p>
          <a:p>
            <a:pPr algn="ctr"/>
            <a:endParaRPr lang="en-IN" sz="1400" dirty="0">
              <a:solidFill>
                <a:schemeClr val="tx2">
                  <a:lumMod val="50000"/>
                </a:schemeClr>
              </a:solidFill>
            </a:endParaRPr>
          </a:p>
          <a:p>
            <a:pPr algn="ctr"/>
            <a:endParaRPr lang="en-IN" sz="1400" dirty="0" smtClean="0">
              <a:solidFill>
                <a:schemeClr val="tx2">
                  <a:lumMod val="50000"/>
                </a:schemeClr>
              </a:solidFill>
            </a:endParaRPr>
          </a:p>
          <a:p>
            <a:pPr algn="ctr"/>
            <a:endParaRPr lang="en-IN" sz="1400" dirty="0">
              <a:solidFill>
                <a:schemeClr val="tx2">
                  <a:lumMod val="50000"/>
                </a:schemeClr>
              </a:solidFill>
            </a:endParaRPr>
          </a:p>
          <a:p>
            <a:pPr algn="ctr"/>
            <a:endParaRPr lang="en-IN" sz="1400" dirty="0" smtClean="0">
              <a:solidFill>
                <a:schemeClr val="tx2">
                  <a:lumMod val="50000"/>
                </a:schemeClr>
              </a:solidFill>
            </a:endParaRPr>
          </a:p>
          <a:p>
            <a:pPr algn="ctr"/>
            <a:endParaRPr lang="en-IN" sz="1400" dirty="0">
              <a:solidFill>
                <a:schemeClr val="tx2">
                  <a:lumMod val="50000"/>
                </a:schemeClr>
              </a:solidFill>
            </a:endParaRPr>
          </a:p>
          <a:p>
            <a:pPr algn="ctr"/>
            <a:endParaRPr lang="en-IN" sz="1400" dirty="0" smtClean="0">
              <a:solidFill>
                <a:schemeClr val="tx2">
                  <a:lumMod val="50000"/>
                </a:schemeClr>
              </a:solidFill>
            </a:endParaRPr>
          </a:p>
          <a:p>
            <a:pPr algn="ctr"/>
            <a:endParaRPr lang="en-IN" sz="1400" dirty="0" smtClean="0">
              <a:solidFill>
                <a:schemeClr val="tx2">
                  <a:lumMod val="50000"/>
                </a:schemeClr>
              </a:solidFill>
            </a:endParaRPr>
          </a:p>
        </p:txBody>
      </p:sp>
      <p:sp>
        <p:nvSpPr>
          <p:cNvPr id="7" name="Oval 6"/>
          <p:cNvSpPr/>
          <p:nvPr/>
        </p:nvSpPr>
        <p:spPr>
          <a:xfrm>
            <a:off x="2571156" y="2618705"/>
            <a:ext cx="838200" cy="838200"/>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smtClean="0">
                <a:solidFill>
                  <a:schemeClr val="tx2">
                    <a:lumMod val="50000"/>
                  </a:schemeClr>
                </a:solidFill>
              </a:rPr>
              <a:t>IOT Gateway Cloud</a:t>
            </a:r>
          </a:p>
        </p:txBody>
      </p:sp>
      <p:sp>
        <p:nvSpPr>
          <p:cNvPr id="8" name="Rectangle 7"/>
          <p:cNvSpPr/>
          <p:nvPr/>
        </p:nvSpPr>
        <p:spPr>
          <a:xfrm>
            <a:off x="3618312" y="2733549"/>
            <a:ext cx="2133600" cy="6096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IoT Cockpit</a:t>
            </a:r>
          </a:p>
          <a:p>
            <a:pPr algn="ctr"/>
            <a:r>
              <a:rPr lang="en-IN" sz="1100" dirty="0" smtClean="0">
                <a:solidFill>
                  <a:schemeClr val="tx2">
                    <a:lumMod val="50000"/>
                  </a:schemeClr>
                </a:solidFill>
              </a:rPr>
              <a:t>Configure | Monitor | Optimize</a:t>
            </a:r>
          </a:p>
        </p:txBody>
      </p:sp>
      <p:sp>
        <p:nvSpPr>
          <p:cNvPr id="9" name="Rectangle 8"/>
          <p:cNvSpPr/>
          <p:nvPr/>
        </p:nvSpPr>
        <p:spPr>
          <a:xfrm>
            <a:off x="2761488" y="3673510"/>
            <a:ext cx="2895600" cy="6096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Message Management</a:t>
            </a:r>
            <a:endParaRPr lang="en-IN" sz="1100" dirty="0" smtClean="0">
              <a:solidFill>
                <a:schemeClr val="tx2">
                  <a:lumMod val="50000"/>
                </a:schemeClr>
              </a:solidFill>
            </a:endParaRPr>
          </a:p>
        </p:txBody>
      </p:sp>
      <p:sp>
        <p:nvSpPr>
          <p:cNvPr id="10" name="Rectangle 9"/>
          <p:cNvSpPr/>
          <p:nvPr/>
        </p:nvSpPr>
        <p:spPr>
          <a:xfrm>
            <a:off x="2761488" y="4558032"/>
            <a:ext cx="2895600" cy="6096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Core Services</a:t>
            </a:r>
          </a:p>
          <a:p>
            <a:pPr algn="ctr"/>
            <a:r>
              <a:rPr lang="en-IN" sz="1100" dirty="0" smtClean="0">
                <a:solidFill>
                  <a:schemeClr val="tx2">
                    <a:lumMod val="50000"/>
                  </a:schemeClr>
                </a:solidFill>
              </a:rPr>
              <a:t>Alarms | Access Policies | KPIs and more </a:t>
            </a:r>
          </a:p>
        </p:txBody>
      </p:sp>
      <p:sp>
        <p:nvSpPr>
          <p:cNvPr id="11" name="Rounded Rectangle 10"/>
          <p:cNvSpPr/>
          <p:nvPr/>
        </p:nvSpPr>
        <p:spPr>
          <a:xfrm>
            <a:off x="2476500" y="1283455"/>
            <a:ext cx="3505200" cy="5334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tx2">
                    <a:lumMod val="50000"/>
                  </a:schemeClr>
                </a:solidFill>
              </a:rPr>
              <a:t>SAP IoT Application Enablement</a:t>
            </a:r>
          </a:p>
        </p:txBody>
      </p:sp>
      <p:cxnSp>
        <p:nvCxnSpPr>
          <p:cNvPr id="13" name="Straight Connector 12"/>
          <p:cNvCxnSpPr>
            <a:stCxn id="11" idx="2"/>
            <a:endCxn id="6" idx="0"/>
          </p:cNvCxnSpPr>
          <p:nvPr/>
        </p:nvCxnSpPr>
        <p:spPr>
          <a:xfrm>
            <a:off x="4229100" y="1816855"/>
            <a:ext cx="0" cy="283464"/>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5" name="Rounded Rectangle 14"/>
          <p:cNvSpPr/>
          <p:nvPr/>
        </p:nvSpPr>
        <p:spPr>
          <a:xfrm>
            <a:off x="2930652" y="5713974"/>
            <a:ext cx="2362200" cy="448431"/>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smtClean="0">
                <a:solidFill>
                  <a:schemeClr val="tx2">
                    <a:lumMod val="50000"/>
                  </a:schemeClr>
                </a:solidFill>
              </a:rPr>
              <a:t>Backing Services</a:t>
            </a:r>
          </a:p>
        </p:txBody>
      </p:sp>
      <p:cxnSp>
        <p:nvCxnSpPr>
          <p:cNvPr id="16" name="Straight Connector 15"/>
          <p:cNvCxnSpPr/>
          <p:nvPr/>
        </p:nvCxnSpPr>
        <p:spPr>
          <a:xfrm>
            <a:off x="4111752" y="5392019"/>
            <a:ext cx="0" cy="271519"/>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4" idx="3"/>
            <a:endCxn id="7" idx="2"/>
          </p:cNvCxnSpPr>
          <p:nvPr/>
        </p:nvCxnSpPr>
        <p:spPr>
          <a:xfrm flipV="1">
            <a:off x="1392816" y="3037805"/>
            <a:ext cx="1178340" cy="9879"/>
          </a:xfrm>
          <a:prstGeom prst="straightConnector1">
            <a:avLst/>
          </a:prstGeom>
          <a:ln w="28575">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1260750" y="3512207"/>
            <a:ext cx="901806" cy="941500"/>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smtClean="0">
                <a:solidFill>
                  <a:schemeClr val="tx2">
                    <a:lumMod val="50000"/>
                  </a:schemeClr>
                </a:solidFill>
              </a:rPr>
              <a:t>IoT Gateway Edge</a:t>
            </a:r>
          </a:p>
        </p:txBody>
      </p:sp>
      <p:cxnSp>
        <p:nvCxnSpPr>
          <p:cNvPr id="21" name="Straight Connector 20"/>
          <p:cNvCxnSpPr>
            <a:stCxn id="5" idx="3"/>
            <a:endCxn id="19" idx="2"/>
          </p:cNvCxnSpPr>
          <p:nvPr/>
        </p:nvCxnSpPr>
        <p:spPr>
          <a:xfrm flipV="1">
            <a:off x="812068" y="3982957"/>
            <a:ext cx="448682" cy="17833"/>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5" idx="3"/>
            <a:endCxn id="19" idx="1"/>
          </p:cNvCxnSpPr>
          <p:nvPr/>
        </p:nvCxnSpPr>
        <p:spPr>
          <a:xfrm flipV="1">
            <a:off x="812068" y="3650086"/>
            <a:ext cx="580748" cy="3507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5" idx="3"/>
            <a:endCxn id="19" idx="3"/>
          </p:cNvCxnSpPr>
          <p:nvPr/>
        </p:nvCxnSpPr>
        <p:spPr>
          <a:xfrm>
            <a:off x="812068" y="4000790"/>
            <a:ext cx="580748" cy="31503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9" idx="6"/>
            <a:endCxn id="9" idx="1"/>
          </p:cNvCxnSpPr>
          <p:nvPr/>
        </p:nvCxnSpPr>
        <p:spPr>
          <a:xfrm flipV="1">
            <a:off x="2162556" y="3978310"/>
            <a:ext cx="598932" cy="4647"/>
          </a:xfrm>
          <a:prstGeom prst="straightConnector1">
            <a:avLst/>
          </a:prstGeom>
          <a:ln>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674250" y="4382080"/>
            <a:ext cx="1576938" cy="1938992"/>
          </a:xfrm>
          <a:prstGeom prst="rect">
            <a:avLst/>
          </a:prstGeom>
        </p:spPr>
        <p:txBody>
          <a:bodyPr wrap="square">
            <a:spAutoFit/>
          </a:bodyPr>
          <a:lstStyle/>
          <a:p>
            <a:r>
              <a:rPr lang="en-IN" sz="1200" dirty="0" smtClean="0"/>
              <a:t>HTTPS</a:t>
            </a:r>
          </a:p>
          <a:p>
            <a:r>
              <a:rPr lang="en-IN" sz="1200" dirty="0" smtClean="0"/>
              <a:t>MQTT</a:t>
            </a:r>
          </a:p>
          <a:p>
            <a:r>
              <a:rPr lang="en-IN" sz="1200" dirty="0" smtClean="0"/>
              <a:t>File</a:t>
            </a:r>
          </a:p>
          <a:p>
            <a:r>
              <a:rPr lang="en-IN" sz="1200" dirty="0" err="1" smtClean="0"/>
              <a:t>CoAP</a:t>
            </a:r>
            <a:endParaRPr lang="en-IN" sz="1200" dirty="0" smtClean="0"/>
          </a:p>
          <a:p>
            <a:r>
              <a:rPr lang="en-IN" sz="1200" dirty="0" smtClean="0"/>
              <a:t>SNMP</a:t>
            </a:r>
          </a:p>
          <a:p>
            <a:r>
              <a:rPr lang="en-IN" sz="1200" dirty="0" smtClean="0"/>
              <a:t>XMPP</a:t>
            </a:r>
          </a:p>
          <a:p>
            <a:r>
              <a:rPr lang="en-IN" sz="1200" dirty="0" smtClean="0"/>
              <a:t>Modbus</a:t>
            </a:r>
          </a:p>
          <a:p>
            <a:r>
              <a:rPr lang="en-IN" sz="1200" dirty="0" err="1" smtClean="0"/>
              <a:t>Sigfox</a:t>
            </a:r>
            <a:endParaRPr lang="en-IN" sz="1200" dirty="0" smtClean="0"/>
          </a:p>
          <a:p>
            <a:r>
              <a:rPr lang="en-IN" sz="1200" dirty="0" smtClean="0"/>
              <a:t>OPC-UA</a:t>
            </a:r>
          </a:p>
          <a:p>
            <a:r>
              <a:rPr lang="en-IN" sz="1200" dirty="0" smtClean="0"/>
              <a:t>and </a:t>
            </a:r>
            <a:r>
              <a:rPr lang="en-IN" sz="1200" dirty="0"/>
              <a:t>more to come</a:t>
            </a:r>
          </a:p>
        </p:txBody>
      </p:sp>
      <p:sp>
        <p:nvSpPr>
          <p:cNvPr id="64" name="Rectangle 63"/>
          <p:cNvSpPr/>
          <p:nvPr/>
        </p:nvSpPr>
        <p:spPr>
          <a:xfrm>
            <a:off x="6207012" y="1300654"/>
            <a:ext cx="3546588" cy="4278094"/>
          </a:xfrm>
          <a:prstGeom prst="rect">
            <a:avLst/>
          </a:prstGeom>
        </p:spPr>
        <p:txBody>
          <a:bodyPr wrap="square">
            <a:spAutoFit/>
          </a:bodyPr>
          <a:lstStyle/>
          <a:p>
            <a:r>
              <a:rPr lang="en-IN" sz="1800" b="1" dirty="0">
                <a:solidFill>
                  <a:schemeClr val="accent1">
                    <a:lumMod val="60000"/>
                    <a:lumOff val="40000"/>
                  </a:schemeClr>
                </a:solidFill>
              </a:rPr>
              <a:t>Key capabilities </a:t>
            </a:r>
            <a:endParaRPr lang="en-IN" sz="1800" b="1" dirty="0" smtClean="0">
              <a:solidFill>
                <a:schemeClr val="accent1">
                  <a:lumMod val="60000"/>
                  <a:lumOff val="40000"/>
                </a:schemeClr>
              </a:solidFill>
            </a:endParaRPr>
          </a:p>
          <a:p>
            <a:endParaRPr lang="en-IN" sz="1400" dirty="0" smtClean="0"/>
          </a:p>
          <a:p>
            <a:pPr marL="285750" indent="-285750">
              <a:buFont typeface="Arial" panose="020B0604020202020204" pitchFamily="34" charset="0"/>
              <a:buChar char="•"/>
            </a:pPr>
            <a:r>
              <a:rPr lang="en-IN" sz="1200" dirty="0" smtClean="0"/>
              <a:t>Bi-directional </a:t>
            </a:r>
            <a:r>
              <a:rPr lang="en-IN" sz="1200" dirty="0"/>
              <a:t>data exchange: Receive device data and send commands to remote </a:t>
            </a:r>
            <a:r>
              <a:rPr lang="en-IN" sz="1200" dirty="0" smtClean="0"/>
              <a:t>devices</a:t>
            </a:r>
          </a:p>
          <a:p>
            <a:pPr marL="285750" indent="-285750">
              <a:buFont typeface="Arial" panose="020B0604020202020204" pitchFamily="34" charset="0"/>
              <a:buChar char="•"/>
            </a:pPr>
            <a:r>
              <a:rPr lang="en-IN" sz="1200" dirty="0" smtClean="0"/>
              <a:t>REST </a:t>
            </a:r>
            <a:r>
              <a:rPr lang="en-IN" sz="1200" dirty="0"/>
              <a:t>APIs for device modelling and data </a:t>
            </a:r>
            <a:r>
              <a:rPr lang="en-IN" sz="1200" dirty="0" smtClean="0"/>
              <a:t>consumption</a:t>
            </a:r>
          </a:p>
          <a:p>
            <a:pPr marL="285750" indent="-285750">
              <a:buFont typeface="Arial" panose="020B0604020202020204" pitchFamily="34" charset="0"/>
              <a:buChar char="•"/>
            </a:pPr>
            <a:r>
              <a:rPr lang="en-IN" sz="1200" dirty="0" smtClean="0"/>
              <a:t>Certificate-based </a:t>
            </a:r>
            <a:r>
              <a:rPr lang="en-IN" sz="1200" dirty="0"/>
              <a:t>on-boarding and authentication of </a:t>
            </a:r>
            <a:r>
              <a:rPr lang="en-IN" sz="1200" dirty="0" smtClean="0"/>
              <a:t>devices</a:t>
            </a:r>
          </a:p>
          <a:p>
            <a:pPr marL="285750" indent="-285750">
              <a:buFont typeface="Arial" panose="020B0604020202020204" pitchFamily="34" charset="0"/>
              <a:buChar char="•"/>
            </a:pPr>
            <a:r>
              <a:rPr lang="en-IN" sz="1200" dirty="0" smtClean="0"/>
              <a:t>Guaranteed </a:t>
            </a:r>
            <a:r>
              <a:rPr lang="en-IN" sz="1200" dirty="0"/>
              <a:t>Delivery Edge to </a:t>
            </a:r>
            <a:r>
              <a:rPr lang="en-IN" sz="1200" dirty="0" smtClean="0"/>
              <a:t>Cloud</a:t>
            </a:r>
          </a:p>
          <a:p>
            <a:pPr marL="285750" indent="-285750">
              <a:buFont typeface="Arial" panose="020B0604020202020204" pitchFamily="34" charset="0"/>
              <a:buChar char="•"/>
            </a:pPr>
            <a:r>
              <a:rPr lang="en-IN" sz="1200" dirty="0" smtClean="0"/>
              <a:t>Buffering </a:t>
            </a:r>
            <a:r>
              <a:rPr lang="en-IN" sz="1200" dirty="0"/>
              <a:t>When Not </a:t>
            </a:r>
            <a:r>
              <a:rPr lang="en-IN" sz="1200" dirty="0" smtClean="0"/>
              <a:t>Connected</a:t>
            </a:r>
          </a:p>
          <a:p>
            <a:pPr marL="285750" indent="-285750">
              <a:buFont typeface="Arial" panose="020B0604020202020204" pitchFamily="34" charset="0"/>
              <a:buChar char="•"/>
            </a:pPr>
            <a:r>
              <a:rPr lang="en-IN" sz="1200" dirty="0" smtClean="0"/>
              <a:t>Scheduled </a:t>
            </a:r>
            <a:r>
              <a:rPr lang="en-IN" sz="1200" dirty="0"/>
              <a:t>/ Batched </a:t>
            </a:r>
            <a:r>
              <a:rPr lang="en-IN" sz="1200" dirty="0" smtClean="0"/>
              <a:t>Delivery</a:t>
            </a:r>
          </a:p>
          <a:p>
            <a:pPr marL="285750" indent="-285750">
              <a:buFont typeface="Arial" panose="020B0604020202020204" pitchFamily="34" charset="0"/>
              <a:buChar char="•"/>
            </a:pPr>
            <a:r>
              <a:rPr lang="en-IN" sz="1200" dirty="0" smtClean="0"/>
              <a:t>Device </a:t>
            </a:r>
            <a:r>
              <a:rPr lang="en-IN" sz="1200" dirty="0"/>
              <a:t>Firmware upgrades for devices that support </a:t>
            </a:r>
            <a:r>
              <a:rPr lang="en-IN" sz="1200" dirty="0" smtClean="0"/>
              <a:t>it</a:t>
            </a:r>
          </a:p>
          <a:p>
            <a:pPr marL="285750" indent="-285750">
              <a:buFont typeface="Arial" panose="020B0604020202020204" pitchFamily="34" charset="0"/>
              <a:buChar char="•"/>
            </a:pPr>
            <a:r>
              <a:rPr lang="en-IN" sz="1200" dirty="0" smtClean="0"/>
              <a:t>IoT </a:t>
            </a:r>
            <a:r>
              <a:rPr lang="en-IN" sz="1200" dirty="0"/>
              <a:t>Gateway protocol </a:t>
            </a:r>
            <a:r>
              <a:rPr lang="en-IN" sz="1200" dirty="0" smtClean="0"/>
              <a:t>support</a:t>
            </a:r>
          </a:p>
          <a:p>
            <a:pPr marL="285750" indent="-285750">
              <a:buFont typeface="Arial" panose="020B0604020202020204" pitchFamily="34" charset="0"/>
              <a:buChar char="•"/>
            </a:pPr>
            <a:r>
              <a:rPr lang="en-IN" sz="1200" dirty="0" smtClean="0"/>
              <a:t>Notification </a:t>
            </a:r>
            <a:r>
              <a:rPr lang="en-IN" sz="1200" dirty="0"/>
              <a:t>management (alerts / rules / </a:t>
            </a:r>
            <a:r>
              <a:rPr lang="en-IN" sz="1200" dirty="0" smtClean="0"/>
              <a:t>events)</a:t>
            </a:r>
          </a:p>
          <a:p>
            <a:pPr marL="285750" indent="-285750">
              <a:buFont typeface="Arial" panose="020B0604020202020204" pitchFamily="34" charset="0"/>
              <a:buChar char="•"/>
            </a:pPr>
            <a:r>
              <a:rPr lang="en-IN" sz="1200" dirty="0" smtClean="0"/>
              <a:t>SDK </a:t>
            </a:r>
            <a:r>
              <a:rPr lang="en-IN" sz="1200" dirty="0"/>
              <a:t>for development of custom protocol adapters and custom filters (</a:t>
            </a:r>
            <a:r>
              <a:rPr lang="en-IN" sz="1200" dirty="0" smtClean="0"/>
              <a:t>interceptors)</a:t>
            </a:r>
          </a:p>
          <a:p>
            <a:pPr marL="285750" indent="-285750">
              <a:buFont typeface="Arial" panose="020B0604020202020204" pitchFamily="34" charset="0"/>
              <a:buChar char="•"/>
            </a:pPr>
            <a:r>
              <a:rPr lang="en-IN" sz="1200" dirty="0" smtClean="0"/>
              <a:t>Start </a:t>
            </a:r>
            <a:r>
              <a:rPr lang="en-IN" sz="1200" dirty="0"/>
              <a:t>quickly using guidelines, tutorials, and code examples coming with the Starter Kit for the SAP Cloud Platform IoT publicly available on </a:t>
            </a:r>
            <a:r>
              <a:rPr lang="en-IN" sz="1200" dirty="0" err="1"/>
              <a:t>GitHub</a:t>
            </a:r>
            <a:endParaRPr lang="en-IN" sz="1200" dirty="0"/>
          </a:p>
        </p:txBody>
      </p:sp>
      <p:sp>
        <p:nvSpPr>
          <p:cNvPr id="65" name="Rectangle 64"/>
          <p:cNvSpPr/>
          <p:nvPr/>
        </p:nvSpPr>
        <p:spPr>
          <a:xfrm>
            <a:off x="1546443" y="2569248"/>
            <a:ext cx="705009" cy="461665"/>
          </a:xfrm>
          <a:prstGeom prst="rect">
            <a:avLst/>
          </a:prstGeom>
        </p:spPr>
        <p:txBody>
          <a:bodyPr wrap="square">
            <a:spAutoFit/>
          </a:bodyPr>
          <a:lstStyle/>
          <a:p>
            <a:r>
              <a:rPr lang="en-IN" sz="1200" dirty="0" smtClean="0"/>
              <a:t>MQTT</a:t>
            </a:r>
          </a:p>
          <a:p>
            <a:r>
              <a:rPr lang="en-IN" sz="1200" dirty="0" smtClean="0"/>
              <a:t>HTTPS</a:t>
            </a:r>
            <a:endParaRPr lang="en-IN" sz="1200" dirty="0"/>
          </a:p>
        </p:txBody>
      </p:sp>
    </p:spTree>
    <p:extLst>
      <p:ext uri="{BB962C8B-B14F-4D97-AF65-F5344CB8AC3E}">
        <p14:creationId xmlns:p14="http://schemas.microsoft.com/office/powerpoint/2010/main" val="16024701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1000"/>
                                        <p:tgtEl>
                                          <p:spTgt spid="13"/>
                                        </p:tgtEl>
                                      </p:cBhvr>
                                    </p:animEffect>
                                    <p:anim calcmode="lin" valueType="num">
                                      <p:cBhvr>
                                        <p:cTn id="15" dur="1000" fill="hold"/>
                                        <p:tgtEl>
                                          <p:spTgt spid="13"/>
                                        </p:tgtEl>
                                        <p:attrNameLst>
                                          <p:attrName>ppt_x</p:attrName>
                                        </p:attrNameLst>
                                      </p:cBhvr>
                                      <p:tavLst>
                                        <p:tav tm="0">
                                          <p:val>
                                            <p:strVal val="#ppt_x"/>
                                          </p:val>
                                        </p:tav>
                                        <p:tav tm="100000">
                                          <p:val>
                                            <p:strVal val="#ppt_x"/>
                                          </p:val>
                                        </p:tav>
                                      </p:tavLst>
                                    </p:anim>
                                    <p:anim calcmode="lin" valueType="num">
                                      <p:cBhvr>
                                        <p:cTn id="16" dur="1000" fill="hold"/>
                                        <p:tgtEl>
                                          <p:spTgt spid="13"/>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1000"/>
                                        <p:tgtEl>
                                          <p:spTgt spid="7"/>
                                        </p:tgtEl>
                                      </p:cBhvr>
                                    </p:animEffect>
                                    <p:anim calcmode="lin" valueType="num">
                                      <p:cBhvr>
                                        <p:cTn id="25" dur="1000" fill="hold"/>
                                        <p:tgtEl>
                                          <p:spTgt spid="7"/>
                                        </p:tgtEl>
                                        <p:attrNameLst>
                                          <p:attrName>ppt_x</p:attrName>
                                        </p:attrNameLst>
                                      </p:cBhvr>
                                      <p:tavLst>
                                        <p:tav tm="0">
                                          <p:val>
                                            <p:strVal val="#ppt_x"/>
                                          </p:val>
                                        </p:tav>
                                        <p:tav tm="100000">
                                          <p:val>
                                            <p:strVal val="#ppt_x"/>
                                          </p:val>
                                        </p:tav>
                                      </p:tavLst>
                                    </p:anim>
                                    <p:anim calcmode="lin" valueType="num">
                                      <p:cBhvr>
                                        <p:cTn id="26" dur="1000" fill="hold"/>
                                        <p:tgtEl>
                                          <p:spTgt spid="7"/>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1000"/>
                                        <p:tgtEl>
                                          <p:spTgt spid="9"/>
                                        </p:tgtEl>
                                      </p:cBhvr>
                                    </p:animEffect>
                                    <p:anim calcmode="lin" valueType="num">
                                      <p:cBhvr>
                                        <p:cTn id="35" dur="1000" fill="hold"/>
                                        <p:tgtEl>
                                          <p:spTgt spid="9"/>
                                        </p:tgtEl>
                                        <p:attrNameLst>
                                          <p:attrName>ppt_x</p:attrName>
                                        </p:attrNameLst>
                                      </p:cBhvr>
                                      <p:tavLst>
                                        <p:tav tm="0">
                                          <p:val>
                                            <p:strVal val="#ppt_x"/>
                                          </p:val>
                                        </p:tav>
                                        <p:tav tm="100000">
                                          <p:val>
                                            <p:strVal val="#ppt_x"/>
                                          </p:val>
                                        </p:tav>
                                      </p:tavLst>
                                    </p:anim>
                                    <p:anim calcmode="lin" valueType="num">
                                      <p:cBhvr>
                                        <p:cTn id="36" dur="1000" fill="hold"/>
                                        <p:tgtEl>
                                          <p:spTgt spid="9"/>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1000"/>
                                        <p:tgtEl>
                                          <p:spTgt spid="10"/>
                                        </p:tgtEl>
                                      </p:cBhvr>
                                    </p:animEffect>
                                    <p:anim calcmode="lin" valueType="num">
                                      <p:cBhvr>
                                        <p:cTn id="40" dur="1000" fill="hold"/>
                                        <p:tgtEl>
                                          <p:spTgt spid="10"/>
                                        </p:tgtEl>
                                        <p:attrNameLst>
                                          <p:attrName>ppt_x</p:attrName>
                                        </p:attrNameLst>
                                      </p:cBhvr>
                                      <p:tavLst>
                                        <p:tav tm="0">
                                          <p:val>
                                            <p:strVal val="#ppt_x"/>
                                          </p:val>
                                        </p:tav>
                                        <p:tav tm="100000">
                                          <p:val>
                                            <p:strVal val="#ppt_x"/>
                                          </p:val>
                                        </p:tav>
                                      </p:tavLst>
                                    </p:anim>
                                    <p:anim calcmode="lin" valueType="num">
                                      <p:cBhvr>
                                        <p:cTn id="41"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anim calcmode="lin" valueType="num">
                                      <p:cBhvr>
                                        <p:cTn id="47" dur="1000" fill="hold"/>
                                        <p:tgtEl>
                                          <p:spTgt spid="16"/>
                                        </p:tgtEl>
                                        <p:attrNameLst>
                                          <p:attrName>ppt_x</p:attrName>
                                        </p:attrNameLst>
                                      </p:cBhvr>
                                      <p:tavLst>
                                        <p:tav tm="0">
                                          <p:val>
                                            <p:strVal val="#ppt_x"/>
                                          </p:val>
                                        </p:tav>
                                        <p:tav tm="100000">
                                          <p:val>
                                            <p:strVal val="#ppt_x"/>
                                          </p:val>
                                        </p:tav>
                                      </p:tavLst>
                                    </p:anim>
                                    <p:anim calcmode="lin" valueType="num">
                                      <p:cBhvr>
                                        <p:cTn id="48" dur="1000" fill="hold"/>
                                        <p:tgtEl>
                                          <p:spTgt spid="16"/>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1000"/>
                                        <p:tgtEl>
                                          <p:spTgt spid="15"/>
                                        </p:tgtEl>
                                      </p:cBhvr>
                                    </p:animEffect>
                                    <p:anim calcmode="lin" valueType="num">
                                      <p:cBhvr>
                                        <p:cTn id="52" dur="1000" fill="hold"/>
                                        <p:tgtEl>
                                          <p:spTgt spid="15"/>
                                        </p:tgtEl>
                                        <p:attrNameLst>
                                          <p:attrName>ppt_x</p:attrName>
                                        </p:attrNameLst>
                                      </p:cBhvr>
                                      <p:tavLst>
                                        <p:tav tm="0">
                                          <p:val>
                                            <p:strVal val="#ppt_x"/>
                                          </p:val>
                                        </p:tav>
                                        <p:tav tm="100000">
                                          <p:val>
                                            <p:strVal val="#ppt_x"/>
                                          </p:val>
                                        </p:tav>
                                      </p:tavLst>
                                    </p:anim>
                                    <p:anim calcmode="lin" valueType="num">
                                      <p:cBhvr>
                                        <p:cTn id="53"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5"/>
                                        </p:tgtEl>
                                        <p:attrNameLst>
                                          <p:attrName>style.visibility</p:attrName>
                                        </p:attrNameLst>
                                      </p:cBhvr>
                                      <p:to>
                                        <p:strVal val="visible"/>
                                      </p:to>
                                    </p:set>
                                    <p:animEffect transition="in" filter="fade">
                                      <p:cBhvr>
                                        <p:cTn id="61" dur="500"/>
                                        <p:tgtEl>
                                          <p:spTgt spid="65"/>
                                        </p:tgtEl>
                                      </p:cBhvr>
                                    </p:animEffect>
                                  </p:childTnLst>
                                </p:cTn>
                              </p:par>
                              <p:par>
                                <p:cTn id="62" presetID="10" presetClass="entr" presetSubtype="0" fill="hold" nodeType="with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4" fill="hold" nodeType="click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wipe(down)">
                                      <p:cBhvr>
                                        <p:cTn id="69" dur="500"/>
                                        <p:tgtEl>
                                          <p:spTgt spid="5"/>
                                        </p:tgtEl>
                                      </p:cBhvr>
                                    </p:animEffect>
                                  </p:childTnLst>
                                </p:cTn>
                              </p:par>
                              <p:par>
                                <p:cTn id="70" presetID="22" presetClass="entr" presetSubtype="4" fill="hold" nodeType="withEffect">
                                  <p:stCondLst>
                                    <p:cond delay="0"/>
                                  </p:stCondLst>
                                  <p:childTnLst>
                                    <p:set>
                                      <p:cBhvr>
                                        <p:cTn id="71" dur="1" fill="hold">
                                          <p:stCondLst>
                                            <p:cond delay="0"/>
                                          </p:stCondLst>
                                        </p:cTn>
                                        <p:tgtEl>
                                          <p:spTgt spid="25"/>
                                        </p:tgtEl>
                                        <p:attrNameLst>
                                          <p:attrName>style.visibility</p:attrName>
                                        </p:attrNameLst>
                                      </p:cBhvr>
                                      <p:to>
                                        <p:strVal val="visible"/>
                                      </p:to>
                                    </p:set>
                                    <p:animEffect transition="in" filter="wipe(down)">
                                      <p:cBhvr>
                                        <p:cTn id="72" dur="500"/>
                                        <p:tgtEl>
                                          <p:spTgt spid="25"/>
                                        </p:tgtEl>
                                      </p:cBhvr>
                                    </p:animEffect>
                                  </p:childTnLst>
                                </p:cTn>
                              </p:par>
                              <p:par>
                                <p:cTn id="73" presetID="22" presetClass="entr" presetSubtype="4" fill="hold" nodeType="withEffect">
                                  <p:stCondLst>
                                    <p:cond delay="0"/>
                                  </p:stCondLst>
                                  <p:childTnLst>
                                    <p:set>
                                      <p:cBhvr>
                                        <p:cTn id="74" dur="1" fill="hold">
                                          <p:stCondLst>
                                            <p:cond delay="0"/>
                                          </p:stCondLst>
                                        </p:cTn>
                                        <p:tgtEl>
                                          <p:spTgt spid="21"/>
                                        </p:tgtEl>
                                        <p:attrNameLst>
                                          <p:attrName>style.visibility</p:attrName>
                                        </p:attrNameLst>
                                      </p:cBhvr>
                                      <p:to>
                                        <p:strVal val="visible"/>
                                      </p:to>
                                    </p:set>
                                    <p:animEffect transition="in" filter="wipe(down)">
                                      <p:cBhvr>
                                        <p:cTn id="75" dur="500"/>
                                        <p:tgtEl>
                                          <p:spTgt spid="21"/>
                                        </p:tgtEl>
                                      </p:cBhvr>
                                    </p:animEffect>
                                  </p:childTnLst>
                                </p:cTn>
                              </p:par>
                              <p:par>
                                <p:cTn id="76" presetID="22" presetClass="entr" presetSubtype="4" fill="hold" nodeType="withEffect">
                                  <p:stCondLst>
                                    <p:cond delay="0"/>
                                  </p:stCondLst>
                                  <p:childTnLst>
                                    <p:set>
                                      <p:cBhvr>
                                        <p:cTn id="77" dur="1" fill="hold">
                                          <p:stCondLst>
                                            <p:cond delay="0"/>
                                          </p:stCondLst>
                                        </p:cTn>
                                        <p:tgtEl>
                                          <p:spTgt spid="23"/>
                                        </p:tgtEl>
                                        <p:attrNameLst>
                                          <p:attrName>style.visibility</p:attrName>
                                        </p:attrNameLst>
                                      </p:cBhvr>
                                      <p:to>
                                        <p:strVal val="visible"/>
                                      </p:to>
                                    </p:set>
                                    <p:animEffect transition="in" filter="wipe(down)">
                                      <p:cBhvr>
                                        <p:cTn id="78" dur="500"/>
                                        <p:tgtEl>
                                          <p:spTgt spid="23"/>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19"/>
                                        </p:tgtEl>
                                        <p:attrNameLst>
                                          <p:attrName>style.visibility</p:attrName>
                                        </p:attrNameLst>
                                      </p:cBhvr>
                                      <p:to>
                                        <p:strVal val="visible"/>
                                      </p:to>
                                    </p:set>
                                    <p:animEffect transition="in" filter="wipe(down)">
                                      <p:cBhvr>
                                        <p:cTn id="81" dur="500"/>
                                        <p:tgtEl>
                                          <p:spTgt spid="19"/>
                                        </p:tgtEl>
                                      </p:cBhvr>
                                    </p:animEffect>
                                  </p:childTnLst>
                                </p:cTn>
                              </p:par>
                              <p:par>
                                <p:cTn id="82" presetID="22" presetClass="entr" presetSubtype="4" fill="hold" nodeType="with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wipe(down)">
                                      <p:cBhvr>
                                        <p:cTn id="84" dur="500"/>
                                        <p:tgtEl>
                                          <p:spTgt spid="27"/>
                                        </p:tgtEl>
                                      </p:cBhvr>
                                    </p:animEffect>
                                  </p:childTnLst>
                                </p:cTn>
                              </p:par>
                            </p:childTnLst>
                          </p:cTn>
                        </p:par>
                      </p:childTnLst>
                    </p:cTn>
                  </p:par>
                  <p:par>
                    <p:cTn id="85" fill="hold">
                      <p:stCondLst>
                        <p:cond delay="indefinite"/>
                      </p:stCondLst>
                      <p:childTnLst>
                        <p:par>
                          <p:cTn id="86" fill="hold">
                            <p:stCondLst>
                              <p:cond delay="0"/>
                            </p:stCondLst>
                            <p:childTnLst>
                              <p:par>
                                <p:cTn id="87" presetID="6" presetClass="entr" presetSubtype="16" fill="hold" grpId="0" nodeType="clickEffect">
                                  <p:stCondLst>
                                    <p:cond delay="0"/>
                                  </p:stCondLst>
                                  <p:childTnLst>
                                    <p:set>
                                      <p:cBhvr>
                                        <p:cTn id="88" dur="1" fill="hold">
                                          <p:stCondLst>
                                            <p:cond delay="0"/>
                                          </p:stCondLst>
                                        </p:cTn>
                                        <p:tgtEl>
                                          <p:spTgt spid="63"/>
                                        </p:tgtEl>
                                        <p:attrNameLst>
                                          <p:attrName>style.visibility</p:attrName>
                                        </p:attrNameLst>
                                      </p:cBhvr>
                                      <p:to>
                                        <p:strVal val="visible"/>
                                      </p:to>
                                    </p:set>
                                    <p:animEffect transition="in" filter="circle(in)">
                                      <p:cBhvr>
                                        <p:cTn id="89" dur="2000"/>
                                        <p:tgtEl>
                                          <p:spTgt spid="63"/>
                                        </p:tgtEl>
                                      </p:cBhvr>
                                    </p:animEffec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nodeType="clickEffect">
                                  <p:stCondLst>
                                    <p:cond delay="0"/>
                                  </p:stCondLst>
                                  <p:childTnLst>
                                    <p:set>
                                      <p:cBhvr>
                                        <p:cTn id="93" dur="1" fill="hold">
                                          <p:stCondLst>
                                            <p:cond delay="0"/>
                                          </p:stCondLst>
                                        </p:cTn>
                                        <p:tgtEl>
                                          <p:spTgt spid="64">
                                            <p:txEl>
                                              <p:pRg st="0" end="0"/>
                                            </p:txEl>
                                          </p:spTgt>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2" presetClass="entr" presetSubtype="4" fill="hold" nodeType="clickEffect">
                                  <p:stCondLst>
                                    <p:cond delay="0"/>
                                  </p:stCondLst>
                                  <p:childTnLst>
                                    <p:set>
                                      <p:cBhvr>
                                        <p:cTn id="97" dur="1" fill="hold">
                                          <p:stCondLst>
                                            <p:cond delay="0"/>
                                          </p:stCondLst>
                                        </p:cTn>
                                        <p:tgtEl>
                                          <p:spTgt spid="64">
                                            <p:txEl>
                                              <p:pRg st="2" end="2"/>
                                            </p:txEl>
                                          </p:spTgt>
                                        </p:tgtEl>
                                        <p:attrNameLst>
                                          <p:attrName>style.visibility</p:attrName>
                                        </p:attrNameLst>
                                      </p:cBhvr>
                                      <p:to>
                                        <p:strVal val="visible"/>
                                      </p:to>
                                    </p:set>
                                    <p:anim calcmode="lin" valueType="num">
                                      <p:cBhvr additive="base">
                                        <p:cTn id="98" dur="500" fill="hold"/>
                                        <p:tgtEl>
                                          <p:spTgt spid="64">
                                            <p:txEl>
                                              <p:pRg st="2" end="2"/>
                                            </p:txEl>
                                          </p:spTgt>
                                        </p:tgtEl>
                                        <p:attrNameLst>
                                          <p:attrName>ppt_x</p:attrName>
                                        </p:attrNameLst>
                                      </p:cBhvr>
                                      <p:tavLst>
                                        <p:tav tm="0">
                                          <p:val>
                                            <p:strVal val="#ppt_x"/>
                                          </p:val>
                                        </p:tav>
                                        <p:tav tm="100000">
                                          <p:val>
                                            <p:strVal val="#ppt_x"/>
                                          </p:val>
                                        </p:tav>
                                      </p:tavLst>
                                    </p:anim>
                                    <p:anim calcmode="lin" valueType="num">
                                      <p:cBhvr additive="base">
                                        <p:cTn id="99" dur="500" fill="hold"/>
                                        <p:tgtEl>
                                          <p:spTgt spid="6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00" fill="hold">
                      <p:stCondLst>
                        <p:cond delay="indefinite"/>
                      </p:stCondLst>
                      <p:childTnLst>
                        <p:par>
                          <p:cTn id="101" fill="hold">
                            <p:stCondLst>
                              <p:cond delay="0"/>
                            </p:stCondLst>
                            <p:childTnLst>
                              <p:par>
                                <p:cTn id="102" presetID="2" presetClass="entr" presetSubtype="4" fill="hold" nodeType="clickEffect">
                                  <p:stCondLst>
                                    <p:cond delay="0"/>
                                  </p:stCondLst>
                                  <p:childTnLst>
                                    <p:set>
                                      <p:cBhvr>
                                        <p:cTn id="103" dur="1" fill="hold">
                                          <p:stCondLst>
                                            <p:cond delay="0"/>
                                          </p:stCondLst>
                                        </p:cTn>
                                        <p:tgtEl>
                                          <p:spTgt spid="64">
                                            <p:txEl>
                                              <p:pRg st="3" end="3"/>
                                            </p:txEl>
                                          </p:spTgt>
                                        </p:tgtEl>
                                        <p:attrNameLst>
                                          <p:attrName>style.visibility</p:attrName>
                                        </p:attrNameLst>
                                      </p:cBhvr>
                                      <p:to>
                                        <p:strVal val="visible"/>
                                      </p:to>
                                    </p:set>
                                    <p:anim calcmode="lin" valueType="num">
                                      <p:cBhvr additive="base">
                                        <p:cTn id="104" dur="500" fill="hold"/>
                                        <p:tgtEl>
                                          <p:spTgt spid="64">
                                            <p:txEl>
                                              <p:pRg st="3" end="3"/>
                                            </p:txEl>
                                          </p:spTgt>
                                        </p:tgtEl>
                                        <p:attrNameLst>
                                          <p:attrName>ppt_x</p:attrName>
                                        </p:attrNameLst>
                                      </p:cBhvr>
                                      <p:tavLst>
                                        <p:tav tm="0">
                                          <p:val>
                                            <p:strVal val="#ppt_x"/>
                                          </p:val>
                                        </p:tav>
                                        <p:tav tm="100000">
                                          <p:val>
                                            <p:strVal val="#ppt_x"/>
                                          </p:val>
                                        </p:tav>
                                      </p:tavLst>
                                    </p:anim>
                                    <p:anim calcmode="lin" valueType="num">
                                      <p:cBhvr additive="base">
                                        <p:cTn id="105" dur="500" fill="hold"/>
                                        <p:tgtEl>
                                          <p:spTgt spid="6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06" fill="hold">
                      <p:stCondLst>
                        <p:cond delay="indefinite"/>
                      </p:stCondLst>
                      <p:childTnLst>
                        <p:par>
                          <p:cTn id="107" fill="hold">
                            <p:stCondLst>
                              <p:cond delay="0"/>
                            </p:stCondLst>
                            <p:childTnLst>
                              <p:par>
                                <p:cTn id="108" presetID="2" presetClass="entr" presetSubtype="4" fill="hold" nodeType="clickEffect">
                                  <p:stCondLst>
                                    <p:cond delay="0"/>
                                  </p:stCondLst>
                                  <p:childTnLst>
                                    <p:set>
                                      <p:cBhvr>
                                        <p:cTn id="109" dur="1" fill="hold">
                                          <p:stCondLst>
                                            <p:cond delay="0"/>
                                          </p:stCondLst>
                                        </p:cTn>
                                        <p:tgtEl>
                                          <p:spTgt spid="64">
                                            <p:txEl>
                                              <p:pRg st="4" end="4"/>
                                            </p:txEl>
                                          </p:spTgt>
                                        </p:tgtEl>
                                        <p:attrNameLst>
                                          <p:attrName>style.visibility</p:attrName>
                                        </p:attrNameLst>
                                      </p:cBhvr>
                                      <p:to>
                                        <p:strVal val="visible"/>
                                      </p:to>
                                    </p:set>
                                    <p:anim calcmode="lin" valueType="num">
                                      <p:cBhvr additive="base">
                                        <p:cTn id="110" dur="500" fill="hold"/>
                                        <p:tgtEl>
                                          <p:spTgt spid="64">
                                            <p:txEl>
                                              <p:pRg st="4" end="4"/>
                                            </p:txEl>
                                          </p:spTgt>
                                        </p:tgtEl>
                                        <p:attrNameLst>
                                          <p:attrName>ppt_x</p:attrName>
                                        </p:attrNameLst>
                                      </p:cBhvr>
                                      <p:tavLst>
                                        <p:tav tm="0">
                                          <p:val>
                                            <p:strVal val="#ppt_x"/>
                                          </p:val>
                                        </p:tav>
                                        <p:tav tm="100000">
                                          <p:val>
                                            <p:strVal val="#ppt_x"/>
                                          </p:val>
                                        </p:tav>
                                      </p:tavLst>
                                    </p:anim>
                                    <p:anim calcmode="lin" valueType="num">
                                      <p:cBhvr additive="base">
                                        <p:cTn id="111" dur="500" fill="hold"/>
                                        <p:tgtEl>
                                          <p:spTgt spid="6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12" fill="hold">
                      <p:stCondLst>
                        <p:cond delay="indefinite"/>
                      </p:stCondLst>
                      <p:childTnLst>
                        <p:par>
                          <p:cTn id="113" fill="hold">
                            <p:stCondLst>
                              <p:cond delay="0"/>
                            </p:stCondLst>
                            <p:childTnLst>
                              <p:par>
                                <p:cTn id="114" presetID="2" presetClass="entr" presetSubtype="4" fill="hold" nodeType="clickEffect">
                                  <p:stCondLst>
                                    <p:cond delay="0"/>
                                  </p:stCondLst>
                                  <p:childTnLst>
                                    <p:set>
                                      <p:cBhvr>
                                        <p:cTn id="115" dur="1" fill="hold">
                                          <p:stCondLst>
                                            <p:cond delay="0"/>
                                          </p:stCondLst>
                                        </p:cTn>
                                        <p:tgtEl>
                                          <p:spTgt spid="64">
                                            <p:txEl>
                                              <p:pRg st="5" end="5"/>
                                            </p:txEl>
                                          </p:spTgt>
                                        </p:tgtEl>
                                        <p:attrNameLst>
                                          <p:attrName>style.visibility</p:attrName>
                                        </p:attrNameLst>
                                      </p:cBhvr>
                                      <p:to>
                                        <p:strVal val="visible"/>
                                      </p:to>
                                    </p:set>
                                    <p:anim calcmode="lin" valueType="num">
                                      <p:cBhvr additive="base">
                                        <p:cTn id="116" dur="500" fill="hold"/>
                                        <p:tgtEl>
                                          <p:spTgt spid="64">
                                            <p:txEl>
                                              <p:pRg st="5" end="5"/>
                                            </p:txEl>
                                          </p:spTgt>
                                        </p:tgtEl>
                                        <p:attrNameLst>
                                          <p:attrName>ppt_x</p:attrName>
                                        </p:attrNameLst>
                                      </p:cBhvr>
                                      <p:tavLst>
                                        <p:tav tm="0">
                                          <p:val>
                                            <p:strVal val="#ppt_x"/>
                                          </p:val>
                                        </p:tav>
                                        <p:tav tm="100000">
                                          <p:val>
                                            <p:strVal val="#ppt_x"/>
                                          </p:val>
                                        </p:tav>
                                      </p:tavLst>
                                    </p:anim>
                                    <p:anim calcmode="lin" valueType="num">
                                      <p:cBhvr additive="base">
                                        <p:cTn id="117" dur="500" fill="hold"/>
                                        <p:tgtEl>
                                          <p:spTgt spid="64">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18" fill="hold">
                      <p:stCondLst>
                        <p:cond delay="indefinite"/>
                      </p:stCondLst>
                      <p:childTnLst>
                        <p:par>
                          <p:cTn id="119" fill="hold">
                            <p:stCondLst>
                              <p:cond delay="0"/>
                            </p:stCondLst>
                            <p:childTnLst>
                              <p:par>
                                <p:cTn id="120" presetID="2" presetClass="entr" presetSubtype="4" fill="hold" nodeType="clickEffect">
                                  <p:stCondLst>
                                    <p:cond delay="0"/>
                                  </p:stCondLst>
                                  <p:childTnLst>
                                    <p:set>
                                      <p:cBhvr>
                                        <p:cTn id="121" dur="1" fill="hold">
                                          <p:stCondLst>
                                            <p:cond delay="0"/>
                                          </p:stCondLst>
                                        </p:cTn>
                                        <p:tgtEl>
                                          <p:spTgt spid="64">
                                            <p:txEl>
                                              <p:pRg st="6" end="6"/>
                                            </p:txEl>
                                          </p:spTgt>
                                        </p:tgtEl>
                                        <p:attrNameLst>
                                          <p:attrName>style.visibility</p:attrName>
                                        </p:attrNameLst>
                                      </p:cBhvr>
                                      <p:to>
                                        <p:strVal val="visible"/>
                                      </p:to>
                                    </p:set>
                                    <p:anim calcmode="lin" valueType="num">
                                      <p:cBhvr additive="base">
                                        <p:cTn id="122" dur="500" fill="hold"/>
                                        <p:tgtEl>
                                          <p:spTgt spid="64">
                                            <p:txEl>
                                              <p:pRg st="6" end="6"/>
                                            </p:txEl>
                                          </p:spTgt>
                                        </p:tgtEl>
                                        <p:attrNameLst>
                                          <p:attrName>ppt_x</p:attrName>
                                        </p:attrNameLst>
                                      </p:cBhvr>
                                      <p:tavLst>
                                        <p:tav tm="0">
                                          <p:val>
                                            <p:strVal val="#ppt_x"/>
                                          </p:val>
                                        </p:tav>
                                        <p:tav tm="100000">
                                          <p:val>
                                            <p:strVal val="#ppt_x"/>
                                          </p:val>
                                        </p:tav>
                                      </p:tavLst>
                                    </p:anim>
                                    <p:anim calcmode="lin" valueType="num">
                                      <p:cBhvr additive="base">
                                        <p:cTn id="123" dur="500" fill="hold"/>
                                        <p:tgtEl>
                                          <p:spTgt spid="6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124" fill="hold">
                      <p:stCondLst>
                        <p:cond delay="indefinite"/>
                      </p:stCondLst>
                      <p:childTnLst>
                        <p:par>
                          <p:cTn id="125" fill="hold">
                            <p:stCondLst>
                              <p:cond delay="0"/>
                            </p:stCondLst>
                            <p:childTnLst>
                              <p:par>
                                <p:cTn id="126" presetID="2" presetClass="entr" presetSubtype="4" fill="hold" nodeType="clickEffect">
                                  <p:stCondLst>
                                    <p:cond delay="0"/>
                                  </p:stCondLst>
                                  <p:childTnLst>
                                    <p:set>
                                      <p:cBhvr>
                                        <p:cTn id="127" dur="1" fill="hold">
                                          <p:stCondLst>
                                            <p:cond delay="0"/>
                                          </p:stCondLst>
                                        </p:cTn>
                                        <p:tgtEl>
                                          <p:spTgt spid="64">
                                            <p:txEl>
                                              <p:pRg st="7" end="7"/>
                                            </p:txEl>
                                          </p:spTgt>
                                        </p:tgtEl>
                                        <p:attrNameLst>
                                          <p:attrName>style.visibility</p:attrName>
                                        </p:attrNameLst>
                                      </p:cBhvr>
                                      <p:to>
                                        <p:strVal val="visible"/>
                                      </p:to>
                                    </p:set>
                                    <p:anim calcmode="lin" valueType="num">
                                      <p:cBhvr additive="base">
                                        <p:cTn id="128" dur="500" fill="hold"/>
                                        <p:tgtEl>
                                          <p:spTgt spid="64">
                                            <p:txEl>
                                              <p:pRg st="7" end="7"/>
                                            </p:txEl>
                                          </p:spTgt>
                                        </p:tgtEl>
                                        <p:attrNameLst>
                                          <p:attrName>ppt_x</p:attrName>
                                        </p:attrNameLst>
                                      </p:cBhvr>
                                      <p:tavLst>
                                        <p:tav tm="0">
                                          <p:val>
                                            <p:strVal val="#ppt_x"/>
                                          </p:val>
                                        </p:tav>
                                        <p:tav tm="100000">
                                          <p:val>
                                            <p:strVal val="#ppt_x"/>
                                          </p:val>
                                        </p:tav>
                                      </p:tavLst>
                                    </p:anim>
                                    <p:anim calcmode="lin" valueType="num">
                                      <p:cBhvr additive="base">
                                        <p:cTn id="129" dur="500" fill="hold"/>
                                        <p:tgtEl>
                                          <p:spTgt spid="64">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130" fill="hold">
                      <p:stCondLst>
                        <p:cond delay="indefinite"/>
                      </p:stCondLst>
                      <p:childTnLst>
                        <p:par>
                          <p:cTn id="131" fill="hold">
                            <p:stCondLst>
                              <p:cond delay="0"/>
                            </p:stCondLst>
                            <p:childTnLst>
                              <p:par>
                                <p:cTn id="132" presetID="2" presetClass="entr" presetSubtype="4" fill="hold" nodeType="clickEffect">
                                  <p:stCondLst>
                                    <p:cond delay="0"/>
                                  </p:stCondLst>
                                  <p:childTnLst>
                                    <p:set>
                                      <p:cBhvr>
                                        <p:cTn id="133" dur="1" fill="hold">
                                          <p:stCondLst>
                                            <p:cond delay="0"/>
                                          </p:stCondLst>
                                        </p:cTn>
                                        <p:tgtEl>
                                          <p:spTgt spid="64">
                                            <p:txEl>
                                              <p:pRg st="8" end="8"/>
                                            </p:txEl>
                                          </p:spTgt>
                                        </p:tgtEl>
                                        <p:attrNameLst>
                                          <p:attrName>style.visibility</p:attrName>
                                        </p:attrNameLst>
                                      </p:cBhvr>
                                      <p:to>
                                        <p:strVal val="visible"/>
                                      </p:to>
                                    </p:set>
                                    <p:anim calcmode="lin" valueType="num">
                                      <p:cBhvr additive="base">
                                        <p:cTn id="134" dur="500" fill="hold"/>
                                        <p:tgtEl>
                                          <p:spTgt spid="64">
                                            <p:txEl>
                                              <p:pRg st="8" end="8"/>
                                            </p:txEl>
                                          </p:spTgt>
                                        </p:tgtEl>
                                        <p:attrNameLst>
                                          <p:attrName>ppt_x</p:attrName>
                                        </p:attrNameLst>
                                      </p:cBhvr>
                                      <p:tavLst>
                                        <p:tav tm="0">
                                          <p:val>
                                            <p:strVal val="#ppt_x"/>
                                          </p:val>
                                        </p:tav>
                                        <p:tav tm="100000">
                                          <p:val>
                                            <p:strVal val="#ppt_x"/>
                                          </p:val>
                                        </p:tav>
                                      </p:tavLst>
                                    </p:anim>
                                    <p:anim calcmode="lin" valueType="num">
                                      <p:cBhvr additive="base">
                                        <p:cTn id="135" dur="500" fill="hold"/>
                                        <p:tgtEl>
                                          <p:spTgt spid="64">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136" fill="hold">
                      <p:stCondLst>
                        <p:cond delay="indefinite"/>
                      </p:stCondLst>
                      <p:childTnLst>
                        <p:par>
                          <p:cTn id="137" fill="hold">
                            <p:stCondLst>
                              <p:cond delay="0"/>
                            </p:stCondLst>
                            <p:childTnLst>
                              <p:par>
                                <p:cTn id="138" presetID="2" presetClass="entr" presetSubtype="4" fill="hold" nodeType="clickEffect">
                                  <p:stCondLst>
                                    <p:cond delay="0"/>
                                  </p:stCondLst>
                                  <p:childTnLst>
                                    <p:set>
                                      <p:cBhvr>
                                        <p:cTn id="139" dur="1" fill="hold">
                                          <p:stCondLst>
                                            <p:cond delay="0"/>
                                          </p:stCondLst>
                                        </p:cTn>
                                        <p:tgtEl>
                                          <p:spTgt spid="64">
                                            <p:txEl>
                                              <p:pRg st="9" end="9"/>
                                            </p:txEl>
                                          </p:spTgt>
                                        </p:tgtEl>
                                        <p:attrNameLst>
                                          <p:attrName>style.visibility</p:attrName>
                                        </p:attrNameLst>
                                      </p:cBhvr>
                                      <p:to>
                                        <p:strVal val="visible"/>
                                      </p:to>
                                    </p:set>
                                    <p:anim calcmode="lin" valueType="num">
                                      <p:cBhvr additive="base">
                                        <p:cTn id="140" dur="500" fill="hold"/>
                                        <p:tgtEl>
                                          <p:spTgt spid="64">
                                            <p:txEl>
                                              <p:pRg st="9" end="9"/>
                                            </p:txEl>
                                          </p:spTgt>
                                        </p:tgtEl>
                                        <p:attrNameLst>
                                          <p:attrName>ppt_x</p:attrName>
                                        </p:attrNameLst>
                                      </p:cBhvr>
                                      <p:tavLst>
                                        <p:tav tm="0">
                                          <p:val>
                                            <p:strVal val="#ppt_x"/>
                                          </p:val>
                                        </p:tav>
                                        <p:tav tm="100000">
                                          <p:val>
                                            <p:strVal val="#ppt_x"/>
                                          </p:val>
                                        </p:tav>
                                      </p:tavLst>
                                    </p:anim>
                                    <p:anim calcmode="lin" valueType="num">
                                      <p:cBhvr additive="base">
                                        <p:cTn id="141" dur="500" fill="hold"/>
                                        <p:tgtEl>
                                          <p:spTgt spid="64">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142" fill="hold">
                      <p:stCondLst>
                        <p:cond delay="indefinite"/>
                      </p:stCondLst>
                      <p:childTnLst>
                        <p:par>
                          <p:cTn id="143" fill="hold">
                            <p:stCondLst>
                              <p:cond delay="0"/>
                            </p:stCondLst>
                            <p:childTnLst>
                              <p:par>
                                <p:cTn id="144" presetID="2" presetClass="entr" presetSubtype="4" fill="hold" nodeType="clickEffect">
                                  <p:stCondLst>
                                    <p:cond delay="0"/>
                                  </p:stCondLst>
                                  <p:childTnLst>
                                    <p:set>
                                      <p:cBhvr>
                                        <p:cTn id="145" dur="1" fill="hold">
                                          <p:stCondLst>
                                            <p:cond delay="0"/>
                                          </p:stCondLst>
                                        </p:cTn>
                                        <p:tgtEl>
                                          <p:spTgt spid="64">
                                            <p:txEl>
                                              <p:pRg st="10" end="10"/>
                                            </p:txEl>
                                          </p:spTgt>
                                        </p:tgtEl>
                                        <p:attrNameLst>
                                          <p:attrName>style.visibility</p:attrName>
                                        </p:attrNameLst>
                                      </p:cBhvr>
                                      <p:to>
                                        <p:strVal val="visible"/>
                                      </p:to>
                                    </p:set>
                                    <p:anim calcmode="lin" valueType="num">
                                      <p:cBhvr additive="base">
                                        <p:cTn id="146" dur="500" fill="hold"/>
                                        <p:tgtEl>
                                          <p:spTgt spid="64">
                                            <p:txEl>
                                              <p:pRg st="10" end="10"/>
                                            </p:txEl>
                                          </p:spTgt>
                                        </p:tgtEl>
                                        <p:attrNameLst>
                                          <p:attrName>ppt_x</p:attrName>
                                        </p:attrNameLst>
                                      </p:cBhvr>
                                      <p:tavLst>
                                        <p:tav tm="0">
                                          <p:val>
                                            <p:strVal val="#ppt_x"/>
                                          </p:val>
                                        </p:tav>
                                        <p:tav tm="100000">
                                          <p:val>
                                            <p:strVal val="#ppt_x"/>
                                          </p:val>
                                        </p:tav>
                                      </p:tavLst>
                                    </p:anim>
                                    <p:anim calcmode="lin" valueType="num">
                                      <p:cBhvr additive="base">
                                        <p:cTn id="147" dur="500" fill="hold"/>
                                        <p:tgtEl>
                                          <p:spTgt spid="64">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148" fill="hold">
                      <p:stCondLst>
                        <p:cond delay="indefinite"/>
                      </p:stCondLst>
                      <p:childTnLst>
                        <p:par>
                          <p:cTn id="149" fill="hold">
                            <p:stCondLst>
                              <p:cond delay="0"/>
                            </p:stCondLst>
                            <p:childTnLst>
                              <p:par>
                                <p:cTn id="150" presetID="2" presetClass="entr" presetSubtype="4" fill="hold" nodeType="clickEffect">
                                  <p:stCondLst>
                                    <p:cond delay="0"/>
                                  </p:stCondLst>
                                  <p:childTnLst>
                                    <p:set>
                                      <p:cBhvr>
                                        <p:cTn id="151" dur="1" fill="hold">
                                          <p:stCondLst>
                                            <p:cond delay="0"/>
                                          </p:stCondLst>
                                        </p:cTn>
                                        <p:tgtEl>
                                          <p:spTgt spid="64">
                                            <p:txEl>
                                              <p:pRg st="11" end="11"/>
                                            </p:txEl>
                                          </p:spTgt>
                                        </p:tgtEl>
                                        <p:attrNameLst>
                                          <p:attrName>style.visibility</p:attrName>
                                        </p:attrNameLst>
                                      </p:cBhvr>
                                      <p:to>
                                        <p:strVal val="visible"/>
                                      </p:to>
                                    </p:set>
                                    <p:anim calcmode="lin" valueType="num">
                                      <p:cBhvr additive="base">
                                        <p:cTn id="152" dur="500" fill="hold"/>
                                        <p:tgtEl>
                                          <p:spTgt spid="64">
                                            <p:txEl>
                                              <p:pRg st="11" end="11"/>
                                            </p:txEl>
                                          </p:spTgt>
                                        </p:tgtEl>
                                        <p:attrNameLst>
                                          <p:attrName>ppt_x</p:attrName>
                                        </p:attrNameLst>
                                      </p:cBhvr>
                                      <p:tavLst>
                                        <p:tav tm="0">
                                          <p:val>
                                            <p:strVal val="#ppt_x"/>
                                          </p:val>
                                        </p:tav>
                                        <p:tav tm="100000">
                                          <p:val>
                                            <p:strVal val="#ppt_x"/>
                                          </p:val>
                                        </p:tav>
                                      </p:tavLst>
                                    </p:anim>
                                    <p:anim calcmode="lin" valueType="num">
                                      <p:cBhvr additive="base">
                                        <p:cTn id="153" dur="500" fill="hold"/>
                                        <p:tgtEl>
                                          <p:spTgt spid="64">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2" presetClass="entr" presetSubtype="4" fill="hold" nodeType="clickEffect">
                                  <p:stCondLst>
                                    <p:cond delay="0"/>
                                  </p:stCondLst>
                                  <p:childTnLst>
                                    <p:set>
                                      <p:cBhvr>
                                        <p:cTn id="157" dur="1" fill="hold">
                                          <p:stCondLst>
                                            <p:cond delay="0"/>
                                          </p:stCondLst>
                                        </p:cTn>
                                        <p:tgtEl>
                                          <p:spTgt spid="64">
                                            <p:txEl>
                                              <p:pRg st="12" end="12"/>
                                            </p:txEl>
                                          </p:spTgt>
                                        </p:tgtEl>
                                        <p:attrNameLst>
                                          <p:attrName>style.visibility</p:attrName>
                                        </p:attrNameLst>
                                      </p:cBhvr>
                                      <p:to>
                                        <p:strVal val="visible"/>
                                      </p:to>
                                    </p:set>
                                    <p:anim calcmode="lin" valueType="num">
                                      <p:cBhvr additive="base">
                                        <p:cTn id="158" dur="500" fill="hold"/>
                                        <p:tgtEl>
                                          <p:spTgt spid="64">
                                            <p:txEl>
                                              <p:pRg st="12" end="12"/>
                                            </p:txEl>
                                          </p:spTgt>
                                        </p:tgtEl>
                                        <p:attrNameLst>
                                          <p:attrName>ppt_x</p:attrName>
                                        </p:attrNameLst>
                                      </p:cBhvr>
                                      <p:tavLst>
                                        <p:tav tm="0">
                                          <p:val>
                                            <p:strVal val="#ppt_x"/>
                                          </p:val>
                                        </p:tav>
                                        <p:tav tm="100000">
                                          <p:val>
                                            <p:strVal val="#ppt_x"/>
                                          </p:val>
                                        </p:tav>
                                      </p:tavLst>
                                    </p:anim>
                                    <p:anim calcmode="lin" valueType="num">
                                      <p:cBhvr additive="base">
                                        <p:cTn id="159" dur="500" fill="hold"/>
                                        <p:tgtEl>
                                          <p:spTgt spid="64">
                                            <p:txEl>
                                              <p:pRg st="12" end="1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5" grpId="0" animBg="1"/>
      <p:bldP spid="19" grpId="0" animBg="1"/>
      <p:bldP spid="63" grpId="0"/>
      <p:bldP spid="6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034157" y="3432191"/>
            <a:ext cx="1752600" cy="2667000"/>
          </a:xfrm>
          <a:prstGeom prst="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4" name="Rectangle 3"/>
          <p:cNvSpPr/>
          <p:nvPr/>
        </p:nvSpPr>
        <p:spPr>
          <a:xfrm>
            <a:off x="838200" y="1219200"/>
            <a:ext cx="2249334" cy="400110"/>
          </a:xfrm>
          <a:prstGeom prst="rect">
            <a:avLst/>
          </a:prstGeom>
        </p:spPr>
        <p:txBody>
          <a:bodyPr wrap="none">
            <a:spAutoFit/>
          </a:bodyPr>
          <a:lstStyle/>
          <a:p>
            <a:r>
              <a:rPr lang="en-IN" sz="2000" dirty="0">
                <a:latin typeface="Arial" panose="020B0604020202020204" pitchFamily="34" charset="0"/>
              </a:rPr>
              <a:t>What is the edge?</a:t>
            </a:r>
            <a:endParaRPr lang="en-IN" dirty="0"/>
          </a:p>
        </p:txBody>
      </p:sp>
      <p:sp>
        <p:nvSpPr>
          <p:cNvPr id="2" name="Title 1"/>
          <p:cNvSpPr>
            <a:spLocks noGrp="1"/>
          </p:cNvSpPr>
          <p:nvPr>
            <p:ph type="title"/>
          </p:nvPr>
        </p:nvSpPr>
        <p:spPr/>
        <p:txBody>
          <a:bodyPr/>
          <a:lstStyle/>
          <a:p>
            <a:r>
              <a:rPr lang="en-IN" sz="2400" dirty="0"/>
              <a:t>Extending the Intelligent Enterprise to the Edge</a:t>
            </a:r>
          </a:p>
        </p:txBody>
      </p:sp>
      <p:sp>
        <p:nvSpPr>
          <p:cNvPr id="3" name="Rectangle 2"/>
          <p:cNvSpPr/>
          <p:nvPr/>
        </p:nvSpPr>
        <p:spPr>
          <a:xfrm>
            <a:off x="838200" y="1634496"/>
            <a:ext cx="8382000" cy="1461939"/>
          </a:xfrm>
          <a:prstGeom prst="rect">
            <a:avLst/>
          </a:prstGeom>
        </p:spPr>
        <p:txBody>
          <a:bodyPr wrap="square">
            <a:spAutoFit/>
          </a:bodyPr>
          <a:lstStyle/>
          <a:p>
            <a:r>
              <a:rPr lang="en-IN" sz="1400" dirty="0">
                <a:latin typeface="Arial" panose="020B0604020202020204" pitchFamily="34" charset="0"/>
              </a:rPr>
              <a:t>An </a:t>
            </a:r>
            <a:r>
              <a:rPr lang="en-IN" sz="1400" b="1" dirty="0">
                <a:solidFill>
                  <a:schemeClr val="accent1"/>
                </a:solidFill>
                <a:latin typeface="Arial" panose="020B0604020202020204" pitchFamily="34" charset="0"/>
              </a:rPr>
              <a:t>edge device</a:t>
            </a:r>
            <a:r>
              <a:rPr lang="en-IN" sz="1400" dirty="0">
                <a:latin typeface="Arial" panose="020B0604020202020204" pitchFamily="34" charset="0"/>
              </a:rPr>
              <a:t> is any piece of </a:t>
            </a:r>
            <a:r>
              <a:rPr lang="en-IN" sz="1400" dirty="0" smtClean="0">
                <a:latin typeface="Arial" panose="020B0604020202020204" pitchFamily="34" charset="0"/>
              </a:rPr>
              <a:t>hardware that </a:t>
            </a:r>
            <a:r>
              <a:rPr lang="en-IN" sz="1400" dirty="0">
                <a:latin typeface="Arial" panose="020B0604020202020204" pitchFamily="34" charset="0"/>
              </a:rPr>
              <a:t>controls data flow </a:t>
            </a:r>
            <a:r>
              <a:rPr lang="en-IN" sz="1400" dirty="0" smtClean="0">
                <a:latin typeface="Arial" panose="020B0604020202020204" pitchFamily="34" charset="0"/>
              </a:rPr>
              <a:t>at the</a:t>
            </a:r>
            <a:r>
              <a:rPr lang="en-IN" sz="1400" dirty="0">
                <a:latin typeface="Arial" panose="020B0604020202020204" pitchFamily="34" charset="0"/>
              </a:rPr>
              <a:t> </a:t>
            </a:r>
            <a:r>
              <a:rPr lang="en-IN" sz="1400" dirty="0" smtClean="0">
                <a:latin typeface="Arial" panose="020B0604020202020204" pitchFamily="34" charset="0"/>
              </a:rPr>
              <a:t>boundary</a:t>
            </a:r>
            <a:r>
              <a:rPr lang="en-IN" sz="1400" dirty="0">
                <a:latin typeface="Arial" panose="020B0604020202020204" pitchFamily="34" charset="0"/>
              </a:rPr>
              <a:t> between two </a:t>
            </a:r>
            <a:r>
              <a:rPr lang="en-IN" sz="1400" dirty="0" smtClean="0">
                <a:latin typeface="Arial" panose="020B0604020202020204" pitchFamily="34" charset="0"/>
              </a:rPr>
              <a:t>networks.</a:t>
            </a:r>
          </a:p>
          <a:p>
            <a:endParaRPr lang="en-IN" dirty="0">
              <a:latin typeface="Arial" panose="020B0604020202020204" pitchFamily="34" charset="0"/>
            </a:endParaRPr>
          </a:p>
          <a:p>
            <a:r>
              <a:rPr lang="en-IN" sz="1400" b="1" dirty="0">
                <a:solidFill>
                  <a:schemeClr val="accent1"/>
                </a:solidFill>
              </a:rPr>
              <a:t>Edge computing</a:t>
            </a:r>
            <a:r>
              <a:rPr lang="en-IN" sz="1400" dirty="0"/>
              <a:t> is a </a:t>
            </a:r>
            <a:r>
              <a:rPr lang="en-IN" sz="1400" dirty="0" smtClean="0">
                <a:solidFill>
                  <a:schemeClr val="accent1"/>
                </a:solidFill>
              </a:rPr>
              <a:t>distributed computing</a:t>
            </a:r>
            <a:r>
              <a:rPr lang="en-IN" sz="1400" dirty="0"/>
              <a:t> paradigm which brings </a:t>
            </a:r>
            <a:r>
              <a:rPr lang="en-IN" sz="1400" dirty="0" smtClean="0">
                <a:solidFill>
                  <a:schemeClr val="accent1"/>
                </a:solidFill>
              </a:rPr>
              <a:t>computer data storage</a:t>
            </a:r>
            <a:r>
              <a:rPr lang="en-IN" sz="1400" dirty="0"/>
              <a:t> closer to the location where it is needed</a:t>
            </a:r>
            <a:r>
              <a:rPr lang="en-IN" sz="1400" dirty="0" smtClean="0"/>
              <a:t>. </a:t>
            </a:r>
          </a:p>
          <a:p>
            <a:endParaRPr lang="en-IN" sz="1400" dirty="0"/>
          </a:p>
          <a:p>
            <a:r>
              <a:rPr lang="en-IN" sz="1400" dirty="0" smtClean="0"/>
              <a:t>Basically any location close to source of data, i.e. IoT devices exists which generates the data.</a:t>
            </a:r>
            <a:endParaRPr lang="en-IN" sz="1400" dirty="0"/>
          </a:p>
        </p:txBody>
      </p:sp>
      <p:sp>
        <p:nvSpPr>
          <p:cNvPr id="5" name="TextBox 4"/>
          <p:cNvSpPr txBox="1"/>
          <p:nvPr/>
        </p:nvSpPr>
        <p:spPr>
          <a:xfrm>
            <a:off x="1082040" y="3508391"/>
            <a:ext cx="914400" cy="369332"/>
          </a:xfrm>
          <a:prstGeom prst="rect">
            <a:avLst/>
          </a:prstGeom>
          <a:noFill/>
        </p:spPr>
        <p:txBody>
          <a:bodyPr wrap="square" rtlCol="0">
            <a:spAutoFit/>
          </a:bodyPr>
          <a:lstStyle/>
          <a:p>
            <a:r>
              <a:rPr lang="en-IN" sz="1800" b="1" u="sng" dirty="0" smtClean="0">
                <a:solidFill>
                  <a:schemeClr val="tx2">
                    <a:lumMod val="50000"/>
                  </a:schemeClr>
                </a:solidFill>
              </a:rPr>
              <a:t>Edge</a:t>
            </a:r>
          </a:p>
        </p:txBody>
      </p:sp>
      <p:sp>
        <p:nvSpPr>
          <p:cNvPr id="6" name="TextBox 5"/>
          <p:cNvSpPr txBox="1"/>
          <p:nvPr/>
        </p:nvSpPr>
        <p:spPr>
          <a:xfrm>
            <a:off x="1158240" y="3968568"/>
            <a:ext cx="914400" cy="307777"/>
          </a:xfrm>
          <a:prstGeom prst="rect">
            <a:avLst/>
          </a:prstGeom>
          <a:noFill/>
        </p:spPr>
        <p:txBody>
          <a:bodyPr wrap="square" rtlCol="0">
            <a:spAutoFit/>
          </a:bodyPr>
          <a:lstStyle/>
          <a:p>
            <a:r>
              <a:rPr lang="en-IN" sz="1400" dirty="0" smtClean="0">
                <a:solidFill>
                  <a:schemeClr val="tx2">
                    <a:lumMod val="50000"/>
                  </a:schemeClr>
                </a:solidFill>
              </a:rPr>
              <a:t>Devices</a:t>
            </a:r>
          </a:p>
        </p:txBody>
      </p:sp>
      <p:sp>
        <p:nvSpPr>
          <p:cNvPr id="7" name="TextBox 6"/>
          <p:cNvSpPr txBox="1"/>
          <p:nvPr/>
        </p:nvSpPr>
        <p:spPr>
          <a:xfrm>
            <a:off x="1158240" y="5032391"/>
            <a:ext cx="914400" cy="307777"/>
          </a:xfrm>
          <a:prstGeom prst="rect">
            <a:avLst/>
          </a:prstGeom>
          <a:noFill/>
        </p:spPr>
        <p:txBody>
          <a:bodyPr wrap="square" rtlCol="0">
            <a:spAutoFit/>
          </a:bodyPr>
          <a:lstStyle/>
          <a:p>
            <a:r>
              <a:rPr lang="en-IN" sz="1400" dirty="0" smtClean="0">
                <a:solidFill>
                  <a:schemeClr val="tx2">
                    <a:lumMod val="50000"/>
                  </a:schemeClr>
                </a:solidFill>
              </a:rPr>
              <a:t>Sensors</a:t>
            </a:r>
          </a:p>
        </p:txBody>
      </p:sp>
      <p:sp>
        <p:nvSpPr>
          <p:cNvPr id="8" name="Rounded Rectangle 7"/>
          <p:cNvSpPr/>
          <p:nvPr/>
        </p:nvSpPr>
        <p:spPr>
          <a:xfrm>
            <a:off x="1386840" y="4276345"/>
            <a:ext cx="381000" cy="222646"/>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9" name="Rounded Rectangle 8"/>
          <p:cNvSpPr/>
          <p:nvPr/>
        </p:nvSpPr>
        <p:spPr>
          <a:xfrm>
            <a:off x="1501140" y="4358499"/>
            <a:ext cx="381000" cy="222646"/>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0" name="Rounded Rectangle 9"/>
          <p:cNvSpPr/>
          <p:nvPr/>
        </p:nvSpPr>
        <p:spPr>
          <a:xfrm>
            <a:off x="1591056" y="4432077"/>
            <a:ext cx="381000" cy="222646"/>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1" name="Rounded Rectangle 10"/>
          <p:cNvSpPr/>
          <p:nvPr/>
        </p:nvSpPr>
        <p:spPr>
          <a:xfrm>
            <a:off x="1673307" y="4503492"/>
            <a:ext cx="381000" cy="222646"/>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2" name="Isosceles Triangle 11"/>
          <p:cNvSpPr/>
          <p:nvPr/>
        </p:nvSpPr>
        <p:spPr>
          <a:xfrm>
            <a:off x="1615440" y="5413391"/>
            <a:ext cx="360000" cy="324000"/>
          </a:xfrm>
          <a:prstGeom prst="triangle">
            <a:avLst/>
          </a:prstGeom>
          <a:solidFill>
            <a:schemeClr val="accent5">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3" name="Isosceles Triangle 12"/>
          <p:cNvSpPr/>
          <p:nvPr/>
        </p:nvSpPr>
        <p:spPr>
          <a:xfrm>
            <a:off x="1703787" y="5482184"/>
            <a:ext cx="360000" cy="324000"/>
          </a:xfrm>
          <a:prstGeom prst="triangle">
            <a:avLst/>
          </a:prstGeom>
          <a:solidFill>
            <a:schemeClr val="accent5">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4" name="Isosceles Triangle 13"/>
          <p:cNvSpPr/>
          <p:nvPr/>
        </p:nvSpPr>
        <p:spPr>
          <a:xfrm>
            <a:off x="1806657" y="5562814"/>
            <a:ext cx="360000" cy="324000"/>
          </a:xfrm>
          <a:prstGeom prst="triangle">
            <a:avLst/>
          </a:prstGeom>
          <a:solidFill>
            <a:schemeClr val="accent5">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5" name="Isosceles Triangle 14"/>
          <p:cNvSpPr/>
          <p:nvPr/>
        </p:nvSpPr>
        <p:spPr>
          <a:xfrm>
            <a:off x="1882140" y="5636799"/>
            <a:ext cx="360000" cy="324000"/>
          </a:xfrm>
          <a:prstGeom prst="triangle">
            <a:avLst/>
          </a:prstGeom>
          <a:solidFill>
            <a:schemeClr val="accent5">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7" name="Flowchart: Decision 16"/>
          <p:cNvSpPr/>
          <p:nvPr/>
        </p:nvSpPr>
        <p:spPr>
          <a:xfrm>
            <a:off x="2783978" y="4323731"/>
            <a:ext cx="838200" cy="826292"/>
          </a:xfrm>
          <a:prstGeom prst="flowChartDecision">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cxnSp>
        <p:nvCxnSpPr>
          <p:cNvPr id="19" name="Straight Arrow Connector 18"/>
          <p:cNvCxnSpPr>
            <a:endCxn id="16" idx="3"/>
          </p:cNvCxnSpPr>
          <p:nvPr/>
        </p:nvCxnSpPr>
        <p:spPr>
          <a:xfrm>
            <a:off x="2120523" y="4543400"/>
            <a:ext cx="666234" cy="222291"/>
          </a:xfrm>
          <a:prstGeom prst="straightConnector1">
            <a:avLst/>
          </a:prstGeom>
          <a:ln>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1925814" y="4312975"/>
            <a:ext cx="870930" cy="318074"/>
          </a:xfrm>
          <a:prstGeom prst="straightConnector1">
            <a:avLst/>
          </a:prstGeom>
          <a:ln>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2196723" y="4957946"/>
            <a:ext cx="645133" cy="462853"/>
          </a:xfrm>
          <a:prstGeom prst="straightConnector1">
            <a:avLst/>
          </a:prstGeom>
          <a:ln>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2138721" y="5030938"/>
            <a:ext cx="820444" cy="633879"/>
          </a:xfrm>
          <a:prstGeom prst="straightConnector1">
            <a:avLst/>
          </a:prstGeom>
          <a:ln>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2769948" y="5116532"/>
            <a:ext cx="1288184" cy="307777"/>
          </a:xfrm>
          <a:prstGeom prst="rect">
            <a:avLst/>
          </a:prstGeom>
          <a:noFill/>
        </p:spPr>
        <p:txBody>
          <a:bodyPr wrap="square" rtlCol="0">
            <a:spAutoFit/>
          </a:bodyPr>
          <a:lstStyle/>
          <a:p>
            <a:r>
              <a:rPr lang="en-IN" sz="1400" dirty="0" smtClean="0">
                <a:solidFill>
                  <a:schemeClr val="tx2">
                    <a:lumMod val="50000"/>
                  </a:schemeClr>
                </a:solidFill>
              </a:rPr>
              <a:t>Gateway</a:t>
            </a:r>
          </a:p>
        </p:txBody>
      </p:sp>
      <p:sp>
        <p:nvSpPr>
          <p:cNvPr id="28" name="Cloud 27"/>
          <p:cNvSpPr/>
          <p:nvPr/>
        </p:nvSpPr>
        <p:spPr>
          <a:xfrm>
            <a:off x="4058132" y="4122456"/>
            <a:ext cx="2738908" cy="1452935"/>
          </a:xfrm>
          <a:prstGeom prst="cloud">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9" name="Cloud 28"/>
          <p:cNvSpPr/>
          <p:nvPr/>
        </p:nvSpPr>
        <p:spPr>
          <a:xfrm>
            <a:off x="4493453" y="4323731"/>
            <a:ext cx="1672108" cy="986134"/>
          </a:xfrm>
          <a:prstGeom prst="cloud">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Cloud</a:t>
            </a:r>
          </a:p>
        </p:txBody>
      </p:sp>
      <p:cxnSp>
        <p:nvCxnSpPr>
          <p:cNvPr id="31" name="Straight Arrow Connector 30"/>
          <p:cNvCxnSpPr>
            <a:stCxn id="17" idx="3"/>
          </p:cNvCxnSpPr>
          <p:nvPr/>
        </p:nvCxnSpPr>
        <p:spPr>
          <a:xfrm>
            <a:off x="3622178" y="4736877"/>
            <a:ext cx="893949" cy="0"/>
          </a:xfrm>
          <a:prstGeom prst="straightConnector1">
            <a:avLst/>
          </a:prstGeom>
          <a:ln w="28575">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7711440" y="3508391"/>
            <a:ext cx="1219200" cy="369332"/>
          </a:xfrm>
          <a:prstGeom prst="rect">
            <a:avLst/>
          </a:prstGeom>
          <a:noFill/>
        </p:spPr>
        <p:txBody>
          <a:bodyPr wrap="square" rtlCol="0">
            <a:spAutoFit/>
          </a:bodyPr>
          <a:lstStyle/>
          <a:p>
            <a:r>
              <a:rPr lang="en-IN" sz="1800" b="1" u="sng" dirty="0" smtClean="0">
                <a:solidFill>
                  <a:schemeClr val="tx2">
                    <a:lumMod val="50000"/>
                  </a:schemeClr>
                </a:solidFill>
              </a:rPr>
              <a:t>Systems</a:t>
            </a:r>
          </a:p>
        </p:txBody>
      </p:sp>
      <p:sp>
        <p:nvSpPr>
          <p:cNvPr id="35" name="Rectangle 34"/>
          <p:cNvSpPr/>
          <p:nvPr/>
        </p:nvSpPr>
        <p:spPr>
          <a:xfrm>
            <a:off x="8001000" y="4148027"/>
            <a:ext cx="533400" cy="42094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6" name="Rectangle 35"/>
          <p:cNvSpPr/>
          <p:nvPr/>
        </p:nvSpPr>
        <p:spPr>
          <a:xfrm>
            <a:off x="8001000" y="4693922"/>
            <a:ext cx="533400" cy="42094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7" name="Rectangle 36"/>
          <p:cNvSpPr/>
          <p:nvPr/>
        </p:nvSpPr>
        <p:spPr>
          <a:xfrm>
            <a:off x="8001000" y="5242561"/>
            <a:ext cx="533400" cy="42094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8" name="Rectangle 37"/>
          <p:cNvSpPr/>
          <p:nvPr/>
        </p:nvSpPr>
        <p:spPr>
          <a:xfrm>
            <a:off x="8001000" y="5791200"/>
            <a:ext cx="533400" cy="42094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cxnSp>
        <p:nvCxnSpPr>
          <p:cNvPr id="39" name="Straight Arrow Connector 38"/>
          <p:cNvCxnSpPr/>
          <p:nvPr/>
        </p:nvCxnSpPr>
        <p:spPr>
          <a:xfrm flipV="1">
            <a:off x="6238371" y="4312992"/>
            <a:ext cx="1625469" cy="301823"/>
          </a:xfrm>
          <a:prstGeom prst="straightConnector1">
            <a:avLst/>
          </a:prstGeom>
          <a:ln w="28575">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3769491" y="5030938"/>
            <a:ext cx="893949" cy="0"/>
          </a:xfrm>
          <a:prstGeom prst="straightConnector1">
            <a:avLst/>
          </a:prstGeom>
          <a:ln w="28575">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6390771" y="4767216"/>
            <a:ext cx="1473069" cy="346339"/>
          </a:xfrm>
          <a:prstGeom prst="straightConnector1">
            <a:avLst/>
          </a:prstGeom>
          <a:ln w="28575">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195318" y="4998133"/>
            <a:ext cx="1668522" cy="917531"/>
          </a:xfrm>
          <a:prstGeom prst="straightConnector1">
            <a:avLst/>
          </a:prstGeom>
          <a:ln w="28575">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8426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solidFill>
                  <a:schemeClr val="bg1"/>
                </a:solidFill>
              </a:rPr>
              <a:t>Agenda</a:t>
            </a:r>
            <a:endParaRPr lang="en-GB" dirty="0">
              <a:solidFill>
                <a:schemeClr val="bg1"/>
              </a:solidFill>
            </a:endParaRPr>
          </a:p>
        </p:txBody>
      </p:sp>
      <p:sp>
        <p:nvSpPr>
          <p:cNvPr id="7" name="TextBox 6"/>
          <p:cNvSpPr txBox="1"/>
          <p:nvPr/>
        </p:nvSpPr>
        <p:spPr>
          <a:xfrm>
            <a:off x="2133600" y="1905000"/>
            <a:ext cx="7010400" cy="3970318"/>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1800" dirty="0" smtClean="0">
                <a:solidFill>
                  <a:schemeClr val="tx2">
                    <a:lumMod val="50000"/>
                  </a:schemeClr>
                </a:solidFill>
              </a:rPr>
              <a:t>Introduction to IoT</a:t>
            </a:r>
          </a:p>
          <a:p>
            <a:pPr marL="285750" indent="-285750">
              <a:lnSpc>
                <a:spcPct val="200000"/>
              </a:lnSpc>
              <a:buFont typeface="Arial" panose="020B0604020202020204" pitchFamily="34" charset="0"/>
              <a:buChar char="•"/>
            </a:pPr>
            <a:r>
              <a:rPr lang="en-US" sz="1800" dirty="0" smtClean="0">
                <a:solidFill>
                  <a:schemeClr val="tx2">
                    <a:lumMod val="50000"/>
                  </a:schemeClr>
                </a:solidFill>
              </a:rPr>
              <a:t>Sensors, Connectivity &amp; SAP Cloud Platform</a:t>
            </a:r>
          </a:p>
          <a:p>
            <a:pPr marL="285750" indent="-285750">
              <a:lnSpc>
                <a:spcPct val="200000"/>
              </a:lnSpc>
              <a:buFont typeface="Arial" panose="020B0604020202020204" pitchFamily="34" charset="0"/>
              <a:buChar char="•"/>
            </a:pPr>
            <a:r>
              <a:rPr lang="en-IN" sz="1800" dirty="0">
                <a:solidFill>
                  <a:schemeClr val="tx2">
                    <a:lumMod val="50000"/>
                  </a:schemeClr>
                </a:solidFill>
              </a:rPr>
              <a:t>SAP Cloud platform </a:t>
            </a:r>
            <a:r>
              <a:rPr lang="en-IN" sz="1800" dirty="0" smtClean="0">
                <a:solidFill>
                  <a:schemeClr val="tx2">
                    <a:lumMod val="50000"/>
                  </a:schemeClr>
                </a:solidFill>
              </a:rPr>
              <a:t>IoT service on-boarding </a:t>
            </a:r>
            <a:r>
              <a:rPr lang="en-IN" sz="1800" dirty="0">
                <a:solidFill>
                  <a:schemeClr val="tx2">
                    <a:lumMod val="50000"/>
                  </a:schemeClr>
                </a:solidFill>
              </a:rPr>
              <a:t>and service cockpit</a:t>
            </a:r>
            <a:endParaRPr lang="en-US" sz="1800" dirty="0" smtClean="0">
              <a:solidFill>
                <a:schemeClr val="tx2">
                  <a:lumMod val="50000"/>
                </a:schemeClr>
              </a:solidFill>
            </a:endParaRPr>
          </a:p>
          <a:p>
            <a:pPr marL="285750" indent="-285750">
              <a:lnSpc>
                <a:spcPct val="200000"/>
              </a:lnSpc>
              <a:buFont typeface="Arial" panose="020B0604020202020204" pitchFamily="34" charset="0"/>
              <a:buChar char="•"/>
            </a:pPr>
            <a:r>
              <a:rPr lang="en-US" sz="1800" dirty="0" smtClean="0">
                <a:solidFill>
                  <a:schemeClr val="tx2">
                    <a:lumMod val="50000"/>
                  </a:schemeClr>
                </a:solidFill>
              </a:rPr>
              <a:t>SAP Leonardo IoT Foundation – Technical Services</a:t>
            </a:r>
          </a:p>
          <a:p>
            <a:pPr marL="285750" indent="-285750">
              <a:lnSpc>
                <a:spcPct val="200000"/>
              </a:lnSpc>
              <a:buFont typeface="Arial" panose="020B0604020202020204" pitchFamily="34" charset="0"/>
              <a:buChar char="•"/>
            </a:pPr>
            <a:r>
              <a:rPr lang="en-US" sz="1800" dirty="0" smtClean="0">
                <a:solidFill>
                  <a:schemeClr val="tx2">
                    <a:lumMod val="50000"/>
                  </a:schemeClr>
                </a:solidFill>
              </a:rPr>
              <a:t>SAP Leonardo Device Management</a:t>
            </a:r>
          </a:p>
          <a:p>
            <a:pPr marL="285750" indent="-285750">
              <a:lnSpc>
                <a:spcPct val="200000"/>
              </a:lnSpc>
              <a:buFont typeface="Arial" panose="020B0604020202020204" pitchFamily="34" charset="0"/>
              <a:buChar char="•"/>
            </a:pPr>
            <a:r>
              <a:rPr lang="en-US" sz="1800" dirty="0" smtClean="0">
                <a:solidFill>
                  <a:schemeClr val="tx2">
                    <a:lumMod val="50000"/>
                  </a:schemeClr>
                </a:solidFill>
              </a:rPr>
              <a:t>Edge Computing</a:t>
            </a:r>
          </a:p>
          <a:p>
            <a:pPr marL="285750" indent="-285750">
              <a:lnSpc>
                <a:spcPct val="200000"/>
              </a:lnSpc>
              <a:buFont typeface="Arial" panose="020B0604020202020204" pitchFamily="34" charset="0"/>
              <a:buChar char="•"/>
            </a:pPr>
            <a:r>
              <a:rPr lang="en-US" sz="1800" dirty="0" smtClean="0">
                <a:solidFill>
                  <a:schemeClr val="tx2">
                    <a:lumMod val="50000"/>
                  </a:schemeClr>
                </a:solidFill>
              </a:rPr>
              <a:t>SAP IoT Application Enablement</a:t>
            </a:r>
          </a:p>
        </p:txBody>
      </p:sp>
      <p:sp>
        <p:nvSpPr>
          <p:cNvPr id="10" name="Freeform 6"/>
          <p:cNvSpPr>
            <a:spLocks/>
          </p:cNvSpPr>
          <p:nvPr/>
        </p:nvSpPr>
        <p:spPr bwMode="auto">
          <a:xfrm flipH="1">
            <a:off x="-10400" y="-26252"/>
            <a:ext cx="4968948" cy="1736883"/>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Title 2"/>
          <p:cNvSpPr txBox="1">
            <a:spLocks/>
          </p:cNvSpPr>
          <p:nvPr/>
        </p:nvSpPr>
        <p:spPr>
          <a:xfrm>
            <a:off x="381000" y="356147"/>
            <a:ext cx="2286000" cy="634453"/>
          </a:xfrm>
          <a:prstGeom prst="rect">
            <a:avLst/>
          </a:prstGeom>
        </p:spPr>
        <p:txBody>
          <a:bodyPr vert="horz" lIns="0" tIns="0" rIns="0" bIns="0" rtlCol="0" anchor="t">
            <a:normAutofit/>
          </a:bodyPr>
          <a:lstStyle>
            <a:lvl1pPr algn="l" defTabSz="742950" rtl="0" eaLnBrk="1" latinLnBrk="0" hangingPunct="1">
              <a:lnSpc>
                <a:spcPct val="90000"/>
              </a:lnSpc>
              <a:spcBef>
                <a:spcPct val="0"/>
              </a:spcBef>
              <a:buNone/>
              <a:defRPr lang="pt-PT" sz="2113"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IN" smtClean="0">
                <a:solidFill>
                  <a:schemeClr val="bg1"/>
                </a:solidFill>
              </a:rPr>
              <a:t>Agenda</a:t>
            </a:r>
            <a:endParaRPr lang="en-IN" dirty="0">
              <a:solidFill>
                <a:schemeClr val="bg1"/>
              </a:solidFill>
            </a:endParaRPr>
          </a:p>
        </p:txBody>
      </p:sp>
    </p:spTree>
    <p:extLst>
      <p:ext uri="{BB962C8B-B14F-4D97-AF65-F5344CB8AC3E}">
        <p14:creationId xmlns:p14="http://schemas.microsoft.com/office/powerpoint/2010/main" val="1398113299"/>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 Same Side Corner Rectangle 16"/>
          <p:cNvSpPr/>
          <p:nvPr/>
        </p:nvSpPr>
        <p:spPr>
          <a:xfrm rot="10800000">
            <a:off x="3814002" y="2614162"/>
            <a:ext cx="1828800" cy="1044000"/>
          </a:xfrm>
          <a:prstGeom prst="round2Same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smtClean="0">
              <a:solidFill>
                <a:schemeClr val="tx2">
                  <a:lumMod val="50000"/>
                </a:schemeClr>
              </a:solidFill>
            </a:endParaRPr>
          </a:p>
        </p:txBody>
      </p:sp>
      <p:sp>
        <p:nvSpPr>
          <p:cNvPr id="15" name="Round Same Side Corner Rectangle 14"/>
          <p:cNvSpPr/>
          <p:nvPr/>
        </p:nvSpPr>
        <p:spPr>
          <a:xfrm rot="10800000">
            <a:off x="6260592" y="2623686"/>
            <a:ext cx="1828800" cy="1044000"/>
          </a:xfrm>
          <a:prstGeom prst="round2Same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smtClean="0">
              <a:solidFill>
                <a:schemeClr val="tx2">
                  <a:lumMod val="50000"/>
                </a:schemeClr>
              </a:solidFill>
            </a:endParaRPr>
          </a:p>
        </p:txBody>
      </p:sp>
      <p:sp>
        <p:nvSpPr>
          <p:cNvPr id="16" name="Round Same Side Corner Rectangle 15"/>
          <p:cNvSpPr/>
          <p:nvPr/>
        </p:nvSpPr>
        <p:spPr>
          <a:xfrm rot="10800000">
            <a:off x="1362506" y="2632911"/>
            <a:ext cx="1828800" cy="1044000"/>
          </a:xfrm>
          <a:prstGeom prst="round2Same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smtClean="0">
              <a:solidFill>
                <a:schemeClr val="tx2">
                  <a:lumMod val="50000"/>
                </a:schemeClr>
              </a:solidFill>
            </a:endParaRPr>
          </a:p>
        </p:txBody>
      </p:sp>
      <p:sp>
        <p:nvSpPr>
          <p:cNvPr id="13" name="Round Same Side Corner Rectangle 12"/>
          <p:cNvSpPr/>
          <p:nvPr/>
        </p:nvSpPr>
        <p:spPr>
          <a:xfrm>
            <a:off x="6248400" y="1482491"/>
            <a:ext cx="1828800" cy="1044000"/>
          </a:xfrm>
          <a:prstGeom prst="round2Same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solidFill>
                  <a:schemeClr val="tx2">
                    <a:lumMod val="50000"/>
                  </a:schemeClr>
                </a:solidFill>
              </a:rPr>
              <a:t>Fast Decision Making</a:t>
            </a:r>
          </a:p>
          <a:p>
            <a:pPr algn="ctr"/>
            <a:endParaRPr lang="en-IN" sz="1200" dirty="0">
              <a:solidFill>
                <a:schemeClr val="tx2">
                  <a:lumMod val="50000"/>
                </a:schemeClr>
              </a:solidFill>
            </a:endParaRPr>
          </a:p>
          <a:p>
            <a:pPr algn="ctr"/>
            <a:endParaRPr lang="en-IN" sz="1200" dirty="0" smtClean="0">
              <a:solidFill>
                <a:schemeClr val="tx2">
                  <a:lumMod val="50000"/>
                </a:schemeClr>
              </a:solidFill>
            </a:endParaRPr>
          </a:p>
          <a:p>
            <a:pPr algn="ctr"/>
            <a:endParaRPr lang="en-IN" sz="1200" dirty="0">
              <a:solidFill>
                <a:schemeClr val="tx2">
                  <a:lumMod val="50000"/>
                </a:schemeClr>
              </a:solidFill>
            </a:endParaRPr>
          </a:p>
          <a:p>
            <a:pPr algn="ctr"/>
            <a:endParaRPr lang="en-IN" sz="1200" dirty="0" err="1" smtClean="0">
              <a:solidFill>
                <a:schemeClr val="tx2">
                  <a:lumMod val="50000"/>
                </a:schemeClr>
              </a:solidFill>
            </a:endParaRPr>
          </a:p>
        </p:txBody>
      </p:sp>
      <p:sp>
        <p:nvSpPr>
          <p:cNvPr id="12" name="Round Same Side Corner Rectangle 11"/>
          <p:cNvSpPr/>
          <p:nvPr/>
        </p:nvSpPr>
        <p:spPr>
          <a:xfrm>
            <a:off x="3801810" y="1482491"/>
            <a:ext cx="1828800" cy="1044000"/>
          </a:xfrm>
          <a:prstGeom prst="round2Same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smtClean="0">
              <a:solidFill>
                <a:schemeClr val="tx2">
                  <a:lumMod val="50000"/>
                </a:schemeClr>
              </a:solidFill>
            </a:endParaRPr>
          </a:p>
          <a:p>
            <a:pPr algn="ctr"/>
            <a:r>
              <a:rPr lang="en-IN" sz="1200" dirty="0" smtClean="0">
                <a:solidFill>
                  <a:schemeClr val="tx2">
                    <a:lumMod val="50000"/>
                  </a:schemeClr>
                </a:solidFill>
              </a:rPr>
              <a:t>Intermittent Connectivity</a:t>
            </a:r>
          </a:p>
          <a:p>
            <a:pPr algn="ctr"/>
            <a:endParaRPr lang="en-IN" sz="1200" dirty="0">
              <a:solidFill>
                <a:schemeClr val="tx2">
                  <a:lumMod val="50000"/>
                </a:schemeClr>
              </a:solidFill>
            </a:endParaRPr>
          </a:p>
          <a:p>
            <a:pPr algn="ctr"/>
            <a:endParaRPr lang="en-IN" sz="1200" dirty="0" smtClean="0">
              <a:solidFill>
                <a:schemeClr val="tx2">
                  <a:lumMod val="50000"/>
                </a:schemeClr>
              </a:solidFill>
            </a:endParaRPr>
          </a:p>
          <a:p>
            <a:pPr algn="ctr"/>
            <a:endParaRPr lang="en-IN" sz="1200" dirty="0">
              <a:solidFill>
                <a:schemeClr val="tx2">
                  <a:lumMod val="50000"/>
                </a:schemeClr>
              </a:solidFill>
            </a:endParaRPr>
          </a:p>
          <a:p>
            <a:pPr algn="ctr"/>
            <a:endParaRPr lang="en-IN" sz="1200" dirty="0" smtClean="0">
              <a:solidFill>
                <a:schemeClr val="tx2">
                  <a:lumMod val="50000"/>
                </a:schemeClr>
              </a:solidFill>
            </a:endParaRPr>
          </a:p>
        </p:txBody>
      </p:sp>
      <p:sp>
        <p:nvSpPr>
          <p:cNvPr id="11" name="Round Same Side Corner Rectangle 10"/>
          <p:cNvSpPr/>
          <p:nvPr/>
        </p:nvSpPr>
        <p:spPr>
          <a:xfrm>
            <a:off x="1350314" y="1482491"/>
            <a:ext cx="1828800" cy="1044000"/>
          </a:xfrm>
          <a:prstGeom prst="round2Same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solidFill>
                  <a:schemeClr val="tx2">
                    <a:lumMod val="50000"/>
                  </a:schemeClr>
                </a:solidFill>
              </a:rPr>
              <a:t>Data Volume &amp; Bandwidth Capacity</a:t>
            </a:r>
          </a:p>
          <a:p>
            <a:pPr algn="ctr"/>
            <a:endParaRPr lang="en-IN" sz="1200" dirty="0" smtClean="0">
              <a:solidFill>
                <a:schemeClr val="tx2">
                  <a:lumMod val="50000"/>
                </a:schemeClr>
              </a:solidFill>
            </a:endParaRPr>
          </a:p>
          <a:p>
            <a:pPr algn="ctr"/>
            <a:endParaRPr lang="en-IN" sz="1400" dirty="0">
              <a:solidFill>
                <a:schemeClr val="tx2">
                  <a:lumMod val="50000"/>
                </a:schemeClr>
              </a:solidFill>
            </a:endParaRPr>
          </a:p>
          <a:p>
            <a:pPr algn="ctr"/>
            <a:endParaRPr lang="en-IN" sz="1400" dirty="0" smtClean="0">
              <a:solidFill>
                <a:schemeClr val="tx2">
                  <a:lumMod val="50000"/>
                </a:schemeClr>
              </a:solidFill>
            </a:endParaRPr>
          </a:p>
        </p:txBody>
      </p:sp>
      <p:sp>
        <p:nvSpPr>
          <p:cNvPr id="10" name="Oval 9"/>
          <p:cNvSpPr/>
          <p:nvPr/>
        </p:nvSpPr>
        <p:spPr>
          <a:xfrm>
            <a:off x="6651878" y="2056472"/>
            <a:ext cx="1064419" cy="1024459"/>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8" name="Oval 7"/>
          <p:cNvSpPr/>
          <p:nvPr/>
        </p:nvSpPr>
        <p:spPr>
          <a:xfrm>
            <a:off x="4205287" y="2057400"/>
            <a:ext cx="1064419" cy="1024459"/>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7" name="Oval 6"/>
          <p:cNvSpPr/>
          <p:nvPr/>
        </p:nvSpPr>
        <p:spPr>
          <a:xfrm>
            <a:off x="1752600" y="2057400"/>
            <a:ext cx="1064419" cy="1024459"/>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pic>
        <p:nvPicPr>
          <p:cNvPr id="4" name="Picture 3"/>
          <p:cNvPicPr>
            <a:picLocks noChangeAspect="1"/>
          </p:cNvPicPr>
          <p:nvPr/>
        </p:nvPicPr>
        <p:blipFill>
          <a:blip r:embed="rId2"/>
          <a:stretch>
            <a:fillRect/>
          </a:stretch>
        </p:blipFill>
        <p:spPr>
          <a:xfrm>
            <a:off x="1981200" y="2209800"/>
            <a:ext cx="614363" cy="666750"/>
          </a:xfrm>
          <a:prstGeom prst="rect">
            <a:avLst/>
          </a:prstGeom>
        </p:spPr>
      </p:pic>
      <p:sp>
        <p:nvSpPr>
          <p:cNvPr id="3" name="Subtitle 2"/>
          <p:cNvSpPr>
            <a:spLocks noGrp="1"/>
          </p:cNvSpPr>
          <p:nvPr>
            <p:ph type="subTitle" idx="4294967295"/>
          </p:nvPr>
        </p:nvSpPr>
        <p:spPr>
          <a:xfrm>
            <a:off x="0" y="533400"/>
            <a:ext cx="8915400" cy="314325"/>
          </a:xfrm>
        </p:spPr>
        <p:txBody>
          <a:bodyPr/>
          <a:lstStyle/>
          <a:p>
            <a:r>
              <a:rPr lang="en-IN" sz="2400" dirty="0" smtClean="0"/>
              <a:t>Drivers for Edge computing</a:t>
            </a:r>
            <a:endParaRPr lang="en-IN" sz="2400" dirty="0"/>
          </a:p>
        </p:txBody>
      </p:sp>
      <p:pic>
        <p:nvPicPr>
          <p:cNvPr id="5" name="Picture 4"/>
          <p:cNvPicPr>
            <a:picLocks noChangeAspect="1"/>
          </p:cNvPicPr>
          <p:nvPr/>
        </p:nvPicPr>
        <p:blipFill>
          <a:blip r:embed="rId3"/>
          <a:stretch>
            <a:fillRect/>
          </a:stretch>
        </p:blipFill>
        <p:spPr>
          <a:xfrm>
            <a:off x="4450424" y="2302932"/>
            <a:ext cx="574146" cy="533400"/>
          </a:xfrm>
          <a:prstGeom prst="rect">
            <a:avLst/>
          </a:prstGeom>
        </p:spPr>
      </p:pic>
      <p:pic>
        <p:nvPicPr>
          <p:cNvPr id="6" name="Picture 5"/>
          <p:cNvPicPr>
            <a:picLocks noChangeAspect="1"/>
          </p:cNvPicPr>
          <p:nvPr/>
        </p:nvPicPr>
        <p:blipFill>
          <a:blip r:embed="rId4"/>
          <a:stretch>
            <a:fillRect/>
          </a:stretch>
        </p:blipFill>
        <p:spPr>
          <a:xfrm>
            <a:off x="6836424" y="2224112"/>
            <a:ext cx="695325" cy="691033"/>
          </a:xfrm>
          <a:prstGeom prst="rect">
            <a:avLst/>
          </a:prstGeom>
        </p:spPr>
      </p:pic>
      <p:sp>
        <p:nvSpPr>
          <p:cNvPr id="18" name="Rounded Rectangular Callout 17"/>
          <p:cNvSpPr/>
          <p:nvPr/>
        </p:nvSpPr>
        <p:spPr>
          <a:xfrm>
            <a:off x="472440" y="4176484"/>
            <a:ext cx="2880360" cy="1538515"/>
          </a:xfrm>
          <a:prstGeom prst="wedgeRoundRectCallout">
            <a:avLst>
              <a:gd name="adj1" fmla="val 38201"/>
              <a:gd name="adj2" fmla="val -78524"/>
              <a:gd name="adj3" fmla="val 16667"/>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Devices are producing more raw data, Transmitting all of these data is costly and data is more than the bandwidth available – Technical and economic challenges</a:t>
            </a:r>
          </a:p>
        </p:txBody>
      </p:sp>
      <p:sp>
        <p:nvSpPr>
          <p:cNvPr id="19" name="Rounded Rectangular Callout 18"/>
          <p:cNvSpPr/>
          <p:nvPr/>
        </p:nvSpPr>
        <p:spPr>
          <a:xfrm>
            <a:off x="3771518" y="4154298"/>
            <a:ext cx="2880360" cy="1538515"/>
          </a:xfrm>
          <a:prstGeom prst="wedgeRoundRectCallout">
            <a:avLst>
              <a:gd name="adj1" fmla="val -39259"/>
              <a:gd name="adj2" fmla="val -77930"/>
              <a:gd name="adj3" fmla="val 16667"/>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Devices are located a places with intermittent connectivity </a:t>
            </a:r>
            <a:r>
              <a:rPr lang="en-IN" sz="1400" dirty="0" err="1" smtClean="0">
                <a:solidFill>
                  <a:schemeClr val="tx2">
                    <a:lumMod val="50000"/>
                  </a:schemeClr>
                </a:solidFill>
              </a:rPr>
              <a:t>eg</a:t>
            </a:r>
            <a:r>
              <a:rPr lang="en-IN" sz="1400" dirty="0" smtClean="0">
                <a:solidFill>
                  <a:schemeClr val="tx2">
                    <a:lumMod val="50000"/>
                  </a:schemeClr>
                </a:solidFill>
              </a:rPr>
              <a:t>. Oil rigs, Container ships, Vessels. Connection is inconsistent and unreliable with low bandwidth</a:t>
            </a:r>
          </a:p>
        </p:txBody>
      </p:sp>
      <p:sp>
        <p:nvSpPr>
          <p:cNvPr id="20" name="Rounded Rectangular Callout 19"/>
          <p:cNvSpPr/>
          <p:nvPr/>
        </p:nvSpPr>
        <p:spPr>
          <a:xfrm>
            <a:off x="6824232" y="4154297"/>
            <a:ext cx="2880360" cy="1538515"/>
          </a:xfrm>
          <a:prstGeom prst="wedgeRoundRectCallout">
            <a:avLst>
              <a:gd name="adj1" fmla="val -39259"/>
              <a:gd name="adj2" fmla="val -77930"/>
              <a:gd name="adj3" fmla="val 16667"/>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Decisions made from sensor data needs to be fast, </a:t>
            </a:r>
            <a:r>
              <a:rPr lang="en-IN" sz="1400" dirty="0" err="1" smtClean="0">
                <a:solidFill>
                  <a:schemeClr val="tx2">
                    <a:lumMod val="50000"/>
                  </a:schemeClr>
                </a:solidFill>
              </a:rPr>
              <a:t>eg</a:t>
            </a:r>
            <a:r>
              <a:rPr lang="en-IN" sz="1400" dirty="0" smtClean="0">
                <a:solidFill>
                  <a:schemeClr val="tx2">
                    <a:lumMod val="50000"/>
                  </a:schemeClr>
                </a:solidFill>
              </a:rPr>
              <a:t>. Train collision detection or automated self driving cars</a:t>
            </a:r>
          </a:p>
        </p:txBody>
      </p:sp>
    </p:spTree>
    <p:extLst>
      <p:ext uri="{BB962C8B-B14F-4D97-AF65-F5344CB8AC3E}">
        <p14:creationId xmlns:p14="http://schemas.microsoft.com/office/powerpoint/2010/main" val="30993153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56"/>
          <p:cNvPicPr>
            <a:picLocks noChangeAspect="1"/>
          </p:cNvPicPr>
          <p:nvPr/>
        </p:nvPicPr>
        <p:blipFill>
          <a:blip r:embed="rId2"/>
          <a:stretch>
            <a:fillRect/>
          </a:stretch>
        </p:blipFill>
        <p:spPr>
          <a:xfrm>
            <a:off x="4889634" y="5835071"/>
            <a:ext cx="2190870" cy="451767"/>
          </a:xfrm>
          <a:prstGeom prst="rect">
            <a:avLst/>
          </a:prstGeom>
        </p:spPr>
      </p:pic>
      <p:sp>
        <p:nvSpPr>
          <p:cNvPr id="4" name="Cloud 3"/>
          <p:cNvSpPr/>
          <p:nvPr/>
        </p:nvSpPr>
        <p:spPr>
          <a:xfrm>
            <a:off x="3810000" y="1752600"/>
            <a:ext cx="4572000" cy="1676400"/>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5856 w 43256"/>
              <a:gd name="connsiteY3" fmla="*/ 3513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8232 w 43256"/>
              <a:gd name="connsiteY16" fmla="*/ 25935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8232 w 43256"/>
              <a:gd name="connsiteY16" fmla="*/ 25935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8232 w 43256"/>
              <a:gd name="connsiteY16" fmla="*/ 25935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6514 w 43256"/>
              <a:gd name="connsiteY4" fmla="*/ 38949 h 43219"/>
              <a:gd name="connsiteX5" fmla="*/ 10962 w 43256"/>
              <a:gd name="connsiteY5" fmla="*/ 26517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8232 w 43256"/>
              <a:gd name="connsiteY16" fmla="*/ 25935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0234 w 43256"/>
              <a:gd name="connsiteY4" fmla="*/ 26961 h 43219"/>
              <a:gd name="connsiteX5" fmla="*/ 10962 w 43256"/>
              <a:gd name="connsiteY5" fmla="*/ 26517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438"/>
              <a:gd name="connsiteX1" fmla="*/ 5659 w 43256"/>
              <a:gd name="connsiteY1" fmla="*/ 6766 h 43438"/>
              <a:gd name="connsiteX2" fmla="*/ 14041 w 43256"/>
              <a:gd name="connsiteY2" fmla="*/ 5061 h 43438"/>
              <a:gd name="connsiteX3" fmla="*/ 22492 w 43256"/>
              <a:gd name="connsiteY3" fmla="*/ 3291 h 43438"/>
              <a:gd name="connsiteX4" fmla="*/ 25785 w 43256"/>
              <a:gd name="connsiteY4" fmla="*/ 59 h 43438"/>
              <a:gd name="connsiteX5" fmla="*/ 29869 w 43256"/>
              <a:gd name="connsiteY5" fmla="*/ 2340 h 43438"/>
              <a:gd name="connsiteX6" fmla="*/ 35499 w 43256"/>
              <a:gd name="connsiteY6" fmla="*/ 549 h 43438"/>
              <a:gd name="connsiteX7" fmla="*/ 38354 w 43256"/>
              <a:gd name="connsiteY7" fmla="*/ 5435 h 43438"/>
              <a:gd name="connsiteX8" fmla="*/ 42018 w 43256"/>
              <a:gd name="connsiteY8" fmla="*/ 10177 h 43438"/>
              <a:gd name="connsiteX9" fmla="*/ 41854 w 43256"/>
              <a:gd name="connsiteY9" fmla="*/ 15319 h 43438"/>
              <a:gd name="connsiteX10" fmla="*/ 43052 w 43256"/>
              <a:gd name="connsiteY10" fmla="*/ 23181 h 43438"/>
              <a:gd name="connsiteX11" fmla="*/ 37440 w 43256"/>
              <a:gd name="connsiteY11" fmla="*/ 30063 h 43438"/>
              <a:gd name="connsiteX12" fmla="*/ 35431 w 43256"/>
              <a:gd name="connsiteY12" fmla="*/ 35960 h 43438"/>
              <a:gd name="connsiteX13" fmla="*/ 28591 w 43256"/>
              <a:gd name="connsiteY13" fmla="*/ 36674 h 43438"/>
              <a:gd name="connsiteX14" fmla="*/ 23703 w 43256"/>
              <a:gd name="connsiteY14" fmla="*/ 42965 h 43438"/>
              <a:gd name="connsiteX15" fmla="*/ 14921 w 43256"/>
              <a:gd name="connsiteY15" fmla="*/ 24221 h 43438"/>
              <a:gd name="connsiteX16" fmla="*/ 8232 w 43256"/>
              <a:gd name="connsiteY16" fmla="*/ 25935 h 43438"/>
              <a:gd name="connsiteX17" fmla="*/ 5731 w 43256"/>
              <a:gd name="connsiteY17" fmla="*/ 26087 h 43438"/>
              <a:gd name="connsiteX18" fmla="*/ 2149 w 43256"/>
              <a:gd name="connsiteY18" fmla="*/ 25410 h 43438"/>
              <a:gd name="connsiteX19" fmla="*/ 31 w 43256"/>
              <a:gd name="connsiteY19" fmla="*/ 19563 h 43438"/>
              <a:gd name="connsiteX20" fmla="*/ 3899 w 43256"/>
              <a:gd name="connsiteY20" fmla="*/ 14366 h 43438"/>
              <a:gd name="connsiteX21" fmla="*/ 3936 w 43256"/>
              <a:gd name="connsiteY21" fmla="*/ 14229 h 43438"/>
              <a:gd name="connsiteX0" fmla="*/ 4729 w 43256"/>
              <a:gd name="connsiteY0" fmla="*/ 26036 h 43438"/>
              <a:gd name="connsiteX1" fmla="*/ 2196 w 43256"/>
              <a:gd name="connsiteY1" fmla="*/ 25239 h 43438"/>
              <a:gd name="connsiteX2" fmla="*/ 8160 w 43256"/>
              <a:gd name="connsiteY2" fmla="*/ 26172 h 43438"/>
              <a:gd name="connsiteX3" fmla="*/ 6653 w 43256"/>
              <a:gd name="connsiteY3" fmla="*/ 26229 h 43438"/>
              <a:gd name="connsiteX4" fmla="*/ 10234 w 43256"/>
              <a:gd name="connsiteY4" fmla="*/ 26961 h 43438"/>
              <a:gd name="connsiteX5" fmla="*/ 10962 w 43256"/>
              <a:gd name="connsiteY5" fmla="*/ 26517 h 43438"/>
              <a:gd name="connsiteX6" fmla="*/ 28863 w 43256"/>
              <a:gd name="connsiteY6" fmla="*/ 34610 h 43438"/>
              <a:gd name="connsiteX7" fmla="*/ 28596 w 43256"/>
              <a:gd name="connsiteY7" fmla="*/ 36519 h 43438"/>
              <a:gd name="connsiteX8" fmla="*/ 34165 w 43256"/>
              <a:gd name="connsiteY8" fmla="*/ 22813 h 43438"/>
              <a:gd name="connsiteX9" fmla="*/ 37416 w 43256"/>
              <a:gd name="connsiteY9" fmla="*/ 29949 h 43438"/>
              <a:gd name="connsiteX10" fmla="*/ 41834 w 43256"/>
              <a:gd name="connsiteY10" fmla="*/ 15213 h 43438"/>
              <a:gd name="connsiteX11" fmla="*/ 40386 w 43256"/>
              <a:gd name="connsiteY11" fmla="*/ 17889 h 43438"/>
              <a:gd name="connsiteX12" fmla="*/ 38360 w 43256"/>
              <a:gd name="connsiteY12" fmla="*/ 5285 h 43438"/>
              <a:gd name="connsiteX13" fmla="*/ 38436 w 43256"/>
              <a:gd name="connsiteY13" fmla="*/ 6549 h 43438"/>
              <a:gd name="connsiteX14" fmla="*/ 29114 w 43256"/>
              <a:gd name="connsiteY14" fmla="*/ 3811 h 43438"/>
              <a:gd name="connsiteX15" fmla="*/ 29856 w 43256"/>
              <a:gd name="connsiteY15" fmla="*/ 2199 h 43438"/>
              <a:gd name="connsiteX16" fmla="*/ 22177 w 43256"/>
              <a:gd name="connsiteY16" fmla="*/ 4579 h 43438"/>
              <a:gd name="connsiteX17" fmla="*/ 22536 w 43256"/>
              <a:gd name="connsiteY17" fmla="*/ 3189 h 43438"/>
              <a:gd name="connsiteX18" fmla="*/ 14036 w 43256"/>
              <a:gd name="connsiteY18" fmla="*/ 5051 h 43438"/>
              <a:gd name="connsiteX19" fmla="*/ 15336 w 43256"/>
              <a:gd name="connsiteY19" fmla="*/ 6399 h 43438"/>
              <a:gd name="connsiteX20" fmla="*/ 4163 w 43256"/>
              <a:gd name="connsiteY20" fmla="*/ 15648 h 43438"/>
              <a:gd name="connsiteX21" fmla="*/ 3936 w 43256"/>
              <a:gd name="connsiteY21" fmla="*/ 14229 h 43438"/>
              <a:gd name="connsiteX0" fmla="*/ 3936 w 43256"/>
              <a:gd name="connsiteY0" fmla="*/ 14229 h 43384"/>
              <a:gd name="connsiteX1" fmla="*/ 5659 w 43256"/>
              <a:gd name="connsiteY1" fmla="*/ 6766 h 43384"/>
              <a:gd name="connsiteX2" fmla="*/ 14041 w 43256"/>
              <a:gd name="connsiteY2" fmla="*/ 5061 h 43384"/>
              <a:gd name="connsiteX3" fmla="*/ 22492 w 43256"/>
              <a:gd name="connsiteY3" fmla="*/ 3291 h 43384"/>
              <a:gd name="connsiteX4" fmla="*/ 25785 w 43256"/>
              <a:gd name="connsiteY4" fmla="*/ 59 h 43384"/>
              <a:gd name="connsiteX5" fmla="*/ 29869 w 43256"/>
              <a:gd name="connsiteY5" fmla="*/ 2340 h 43384"/>
              <a:gd name="connsiteX6" fmla="*/ 35499 w 43256"/>
              <a:gd name="connsiteY6" fmla="*/ 549 h 43384"/>
              <a:gd name="connsiteX7" fmla="*/ 38354 w 43256"/>
              <a:gd name="connsiteY7" fmla="*/ 5435 h 43384"/>
              <a:gd name="connsiteX8" fmla="*/ 42018 w 43256"/>
              <a:gd name="connsiteY8" fmla="*/ 10177 h 43384"/>
              <a:gd name="connsiteX9" fmla="*/ 41854 w 43256"/>
              <a:gd name="connsiteY9" fmla="*/ 15319 h 43384"/>
              <a:gd name="connsiteX10" fmla="*/ 43052 w 43256"/>
              <a:gd name="connsiteY10" fmla="*/ 23181 h 43384"/>
              <a:gd name="connsiteX11" fmla="*/ 37440 w 43256"/>
              <a:gd name="connsiteY11" fmla="*/ 30063 h 43384"/>
              <a:gd name="connsiteX12" fmla="*/ 35431 w 43256"/>
              <a:gd name="connsiteY12" fmla="*/ 35960 h 43384"/>
              <a:gd name="connsiteX13" fmla="*/ 28591 w 43256"/>
              <a:gd name="connsiteY13" fmla="*/ 36674 h 43384"/>
              <a:gd name="connsiteX14" fmla="*/ 23703 w 43256"/>
              <a:gd name="connsiteY14" fmla="*/ 42965 h 43384"/>
              <a:gd name="connsiteX15" fmla="*/ 15021 w 43256"/>
              <a:gd name="connsiteY15" fmla="*/ 25193 h 43384"/>
              <a:gd name="connsiteX16" fmla="*/ 8232 w 43256"/>
              <a:gd name="connsiteY16" fmla="*/ 25935 h 43384"/>
              <a:gd name="connsiteX17" fmla="*/ 5731 w 43256"/>
              <a:gd name="connsiteY17" fmla="*/ 26087 h 43384"/>
              <a:gd name="connsiteX18" fmla="*/ 2149 w 43256"/>
              <a:gd name="connsiteY18" fmla="*/ 25410 h 43384"/>
              <a:gd name="connsiteX19" fmla="*/ 31 w 43256"/>
              <a:gd name="connsiteY19" fmla="*/ 19563 h 43384"/>
              <a:gd name="connsiteX20" fmla="*/ 3899 w 43256"/>
              <a:gd name="connsiteY20" fmla="*/ 14366 h 43384"/>
              <a:gd name="connsiteX21" fmla="*/ 3936 w 43256"/>
              <a:gd name="connsiteY21" fmla="*/ 14229 h 43384"/>
              <a:gd name="connsiteX0" fmla="*/ 4729 w 43256"/>
              <a:gd name="connsiteY0" fmla="*/ 26036 h 43384"/>
              <a:gd name="connsiteX1" fmla="*/ 2196 w 43256"/>
              <a:gd name="connsiteY1" fmla="*/ 25239 h 43384"/>
              <a:gd name="connsiteX2" fmla="*/ 8160 w 43256"/>
              <a:gd name="connsiteY2" fmla="*/ 26172 h 43384"/>
              <a:gd name="connsiteX3" fmla="*/ 6653 w 43256"/>
              <a:gd name="connsiteY3" fmla="*/ 26229 h 43384"/>
              <a:gd name="connsiteX4" fmla="*/ 10234 w 43256"/>
              <a:gd name="connsiteY4" fmla="*/ 26961 h 43384"/>
              <a:gd name="connsiteX5" fmla="*/ 10962 w 43256"/>
              <a:gd name="connsiteY5" fmla="*/ 26517 h 43384"/>
              <a:gd name="connsiteX6" fmla="*/ 28863 w 43256"/>
              <a:gd name="connsiteY6" fmla="*/ 34610 h 43384"/>
              <a:gd name="connsiteX7" fmla="*/ 28596 w 43256"/>
              <a:gd name="connsiteY7" fmla="*/ 36519 h 43384"/>
              <a:gd name="connsiteX8" fmla="*/ 34165 w 43256"/>
              <a:gd name="connsiteY8" fmla="*/ 22813 h 43384"/>
              <a:gd name="connsiteX9" fmla="*/ 37416 w 43256"/>
              <a:gd name="connsiteY9" fmla="*/ 29949 h 43384"/>
              <a:gd name="connsiteX10" fmla="*/ 41834 w 43256"/>
              <a:gd name="connsiteY10" fmla="*/ 15213 h 43384"/>
              <a:gd name="connsiteX11" fmla="*/ 40386 w 43256"/>
              <a:gd name="connsiteY11" fmla="*/ 17889 h 43384"/>
              <a:gd name="connsiteX12" fmla="*/ 38360 w 43256"/>
              <a:gd name="connsiteY12" fmla="*/ 5285 h 43384"/>
              <a:gd name="connsiteX13" fmla="*/ 38436 w 43256"/>
              <a:gd name="connsiteY13" fmla="*/ 6549 h 43384"/>
              <a:gd name="connsiteX14" fmla="*/ 29114 w 43256"/>
              <a:gd name="connsiteY14" fmla="*/ 3811 h 43384"/>
              <a:gd name="connsiteX15" fmla="*/ 29856 w 43256"/>
              <a:gd name="connsiteY15" fmla="*/ 2199 h 43384"/>
              <a:gd name="connsiteX16" fmla="*/ 22177 w 43256"/>
              <a:gd name="connsiteY16" fmla="*/ 4579 h 43384"/>
              <a:gd name="connsiteX17" fmla="*/ 22536 w 43256"/>
              <a:gd name="connsiteY17" fmla="*/ 3189 h 43384"/>
              <a:gd name="connsiteX18" fmla="*/ 14036 w 43256"/>
              <a:gd name="connsiteY18" fmla="*/ 5051 h 43384"/>
              <a:gd name="connsiteX19" fmla="*/ 15336 w 43256"/>
              <a:gd name="connsiteY19" fmla="*/ 6399 h 43384"/>
              <a:gd name="connsiteX20" fmla="*/ 4163 w 43256"/>
              <a:gd name="connsiteY20" fmla="*/ 15648 h 43384"/>
              <a:gd name="connsiteX21" fmla="*/ 3936 w 43256"/>
              <a:gd name="connsiteY21" fmla="*/ 14229 h 43384"/>
              <a:gd name="connsiteX0" fmla="*/ 3936 w 43256"/>
              <a:gd name="connsiteY0" fmla="*/ 14229 h 43384"/>
              <a:gd name="connsiteX1" fmla="*/ 5659 w 43256"/>
              <a:gd name="connsiteY1" fmla="*/ 6766 h 43384"/>
              <a:gd name="connsiteX2" fmla="*/ 14041 w 43256"/>
              <a:gd name="connsiteY2" fmla="*/ 5061 h 43384"/>
              <a:gd name="connsiteX3" fmla="*/ 22492 w 43256"/>
              <a:gd name="connsiteY3" fmla="*/ 3291 h 43384"/>
              <a:gd name="connsiteX4" fmla="*/ 25785 w 43256"/>
              <a:gd name="connsiteY4" fmla="*/ 59 h 43384"/>
              <a:gd name="connsiteX5" fmla="*/ 29869 w 43256"/>
              <a:gd name="connsiteY5" fmla="*/ 2340 h 43384"/>
              <a:gd name="connsiteX6" fmla="*/ 35499 w 43256"/>
              <a:gd name="connsiteY6" fmla="*/ 549 h 43384"/>
              <a:gd name="connsiteX7" fmla="*/ 38354 w 43256"/>
              <a:gd name="connsiteY7" fmla="*/ 5435 h 43384"/>
              <a:gd name="connsiteX8" fmla="*/ 42018 w 43256"/>
              <a:gd name="connsiteY8" fmla="*/ 10177 h 43384"/>
              <a:gd name="connsiteX9" fmla="*/ 41854 w 43256"/>
              <a:gd name="connsiteY9" fmla="*/ 15319 h 43384"/>
              <a:gd name="connsiteX10" fmla="*/ 43052 w 43256"/>
              <a:gd name="connsiteY10" fmla="*/ 23181 h 43384"/>
              <a:gd name="connsiteX11" fmla="*/ 37440 w 43256"/>
              <a:gd name="connsiteY11" fmla="*/ 30063 h 43384"/>
              <a:gd name="connsiteX12" fmla="*/ 35431 w 43256"/>
              <a:gd name="connsiteY12" fmla="*/ 35960 h 43384"/>
              <a:gd name="connsiteX13" fmla="*/ 28591 w 43256"/>
              <a:gd name="connsiteY13" fmla="*/ 36674 h 43384"/>
              <a:gd name="connsiteX14" fmla="*/ 23703 w 43256"/>
              <a:gd name="connsiteY14" fmla="*/ 42965 h 43384"/>
              <a:gd name="connsiteX15" fmla="*/ 15021 w 43256"/>
              <a:gd name="connsiteY15" fmla="*/ 25193 h 43384"/>
              <a:gd name="connsiteX16" fmla="*/ 8232 w 43256"/>
              <a:gd name="connsiteY16" fmla="*/ 25935 h 43384"/>
              <a:gd name="connsiteX17" fmla="*/ 5731 w 43256"/>
              <a:gd name="connsiteY17" fmla="*/ 26087 h 43384"/>
              <a:gd name="connsiteX18" fmla="*/ 2149 w 43256"/>
              <a:gd name="connsiteY18" fmla="*/ 25410 h 43384"/>
              <a:gd name="connsiteX19" fmla="*/ 31 w 43256"/>
              <a:gd name="connsiteY19" fmla="*/ 19563 h 43384"/>
              <a:gd name="connsiteX20" fmla="*/ 3899 w 43256"/>
              <a:gd name="connsiteY20" fmla="*/ 14366 h 43384"/>
              <a:gd name="connsiteX21" fmla="*/ 3936 w 43256"/>
              <a:gd name="connsiteY21" fmla="*/ 14229 h 43384"/>
              <a:gd name="connsiteX0" fmla="*/ 4729 w 43256"/>
              <a:gd name="connsiteY0" fmla="*/ 26036 h 43384"/>
              <a:gd name="connsiteX1" fmla="*/ 2196 w 43256"/>
              <a:gd name="connsiteY1" fmla="*/ 25239 h 43384"/>
              <a:gd name="connsiteX2" fmla="*/ 8160 w 43256"/>
              <a:gd name="connsiteY2" fmla="*/ 26172 h 43384"/>
              <a:gd name="connsiteX3" fmla="*/ 6653 w 43256"/>
              <a:gd name="connsiteY3" fmla="*/ 26229 h 43384"/>
              <a:gd name="connsiteX4" fmla="*/ 10234 w 43256"/>
              <a:gd name="connsiteY4" fmla="*/ 26961 h 43384"/>
              <a:gd name="connsiteX5" fmla="*/ 10962 w 43256"/>
              <a:gd name="connsiteY5" fmla="*/ 26517 h 43384"/>
              <a:gd name="connsiteX6" fmla="*/ 28863 w 43256"/>
              <a:gd name="connsiteY6" fmla="*/ 34610 h 43384"/>
              <a:gd name="connsiteX7" fmla="*/ 28596 w 43256"/>
              <a:gd name="connsiteY7" fmla="*/ 36519 h 43384"/>
              <a:gd name="connsiteX8" fmla="*/ 34165 w 43256"/>
              <a:gd name="connsiteY8" fmla="*/ 22813 h 43384"/>
              <a:gd name="connsiteX9" fmla="*/ 37416 w 43256"/>
              <a:gd name="connsiteY9" fmla="*/ 29949 h 43384"/>
              <a:gd name="connsiteX10" fmla="*/ 41834 w 43256"/>
              <a:gd name="connsiteY10" fmla="*/ 15213 h 43384"/>
              <a:gd name="connsiteX11" fmla="*/ 40386 w 43256"/>
              <a:gd name="connsiteY11" fmla="*/ 17889 h 43384"/>
              <a:gd name="connsiteX12" fmla="*/ 38360 w 43256"/>
              <a:gd name="connsiteY12" fmla="*/ 5285 h 43384"/>
              <a:gd name="connsiteX13" fmla="*/ 38436 w 43256"/>
              <a:gd name="connsiteY13" fmla="*/ 6549 h 43384"/>
              <a:gd name="connsiteX14" fmla="*/ 29114 w 43256"/>
              <a:gd name="connsiteY14" fmla="*/ 3811 h 43384"/>
              <a:gd name="connsiteX15" fmla="*/ 29856 w 43256"/>
              <a:gd name="connsiteY15" fmla="*/ 2199 h 43384"/>
              <a:gd name="connsiteX16" fmla="*/ 22177 w 43256"/>
              <a:gd name="connsiteY16" fmla="*/ 4579 h 43384"/>
              <a:gd name="connsiteX17" fmla="*/ 22536 w 43256"/>
              <a:gd name="connsiteY17" fmla="*/ 3189 h 43384"/>
              <a:gd name="connsiteX18" fmla="*/ 14036 w 43256"/>
              <a:gd name="connsiteY18" fmla="*/ 5051 h 43384"/>
              <a:gd name="connsiteX19" fmla="*/ 15336 w 43256"/>
              <a:gd name="connsiteY19" fmla="*/ 6399 h 43384"/>
              <a:gd name="connsiteX20" fmla="*/ 4163 w 43256"/>
              <a:gd name="connsiteY20" fmla="*/ 15648 h 43384"/>
              <a:gd name="connsiteX21" fmla="*/ 3936 w 43256"/>
              <a:gd name="connsiteY21" fmla="*/ 14229 h 43384"/>
              <a:gd name="connsiteX0" fmla="*/ 3936 w 43256"/>
              <a:gd name="connsiteY0" fmla="*/ 14229 h 43384"/>
              <a:gd name="connsiteX1" fmla="*/ 5659 w 43256"/>
              <a:gd name="connsiteY1" fmla="*/ 6766 h 43384"/>
              <a:gd name="connsiteX2" fmla="*/ 14041 w 43256"/>
              <a:gd name="connsiteY2" fmla="*/ 5061 h 43384"/>
              <a:gd name="connsiteX3" fmla="*/ 22492 w 43256"/>
              <a:gd name="connsiteY3" fmla="*/ 3291 h 43384"/>
              <a:gd name="connsiteX4" fmla="*/ 25785 w 43256"/>
              <a:gd name="connsiteY4" fmla="*/ 59 h 43384"/>
              <a:gd name="connsiteX5" fmla="*/ 29869 w 43256"/>
              <a:gd name="connsiteY5" fmla="*/ 2340 h 43384"/>
              <a:gd name="connsiteX6" fmla="*/ 35499 w 43256"/>
              <a:gd name="connsiteY6" fmla="*/ 549 h 43384"/>
              <a:gd name="connsiteX7" fmla="*/ 38354 w 43256"/>
              <a:gd name="connsiteY7" fmla="*/ 5435 h 43384"/>
              <a:gd name="connsiteX8" fmla="*/ 42018 w 43256"/>
              <a:gd name="connsiteY8" fmla="*/ 10177 h 43384"/>
              <a:gd name="connsiteX9" fmla="*/ 41854 w 43256"/>
              <a:gd name="connsiteY9" fmla="*/ 15319 h 43384"/>
              <a:gd name="connsiteX10" fmla="*/ 43052 w 43256"/>
              <a:gd name="connsiteY10" fmla="*/ 23181 h 43384"/>
              <a:gd name="connsiteX11" fmla="*/ 37440 w 43256"/>
              <a:gd name="connsiteY11" fmla="*/ 30063 h 43384"/>
              <a:gd name="connsiteX12" fmla="*/ 35431 w 43256"/>
              <a:gd name="connsiteY12" fmla="*/ 35960 h 43384"/>
              <a:gd name="connsiteX13" fmla="*/ 28591 w 43256"/>
              <a:gd name="connsiteY13" fmla="*/ 36674 h 43384"/>
              <a:gd name="connsiteX14" fmla="*/ 23703 w 43256"/>
              <a:gd name="connsiteY14" fmla="*/ 42965 h 43384"/>
              <a:gd name="connsiteX15" fmla="*/ 15021 w 43256"/>
              <a:gd name="connsiteY15" fmla="*/ 25193 h 43384"/>
              <a:gd name="connsiteX16" fmla="*/ 8232 w 43256"/>
              <a:gd name="connsiteY16" fmla="*/ 25935 h 43384"/>
              <a:gd name="connsiteX17" fmla="*/ 5731 w 43256"/>
              <a:gd name="connsiteY17" fmla="*/ 26087 h 43384"/>
              <a:gd name="connsiteX18" fmla="*/ 2149 w 43256"/>
              <a:gd name="connsiteY18" fmla="*/ 25410 h 43384"/>
              <a:gd name="connsiteX19" fmla="*/ 31 w 43256"/>
              <a:gd name="connsiteY19" fmla="*/ 19563 h 43384"/>
              <a:gd name="connsiteX20" fmla="*/ 3899 w 43256"/>
              <a:gd name="connsiteY20" fmla="*/ 14366 h 43384"/>
              <a:gd name="connsiteX21" fmla="*/ 3936 w 43256"/>
              <a:gd name="connsiteY21" fmla="*/ 14229 h 43384"/>
              <a:gd name="connsiteX0" fmla="*/ 4729 w 43256"/>
              <a:gd name="connsiteY0" fmla="*/ 26036 h 43384"/>
              <a:gd name="connsiteX1" fmla="*/ 2196 w 43256"/>
              <a:gd name="connsiteY1" fmla="*/ 25239 h 43384"/>
              <a:gd name="connsiteX2" fmla="*/ 8160 w 43256"/>
              <a:gd name="connsiteY2" fmla="*/ 26172 h 43384"/>
              <a:gd name="connsiteX3" fmla="*/ 6653 w 43256"/>
              <a:gd name="connsiteY3" fmla="*/ 26229 h 43384"/>
              <a:gd name="connsiteX4" fmla="*/ 10234 w 43256"/>
              <a:gd name="connsiteY4" fmla="*/ 26961 h 43384"/>
              <a:gd name="connsiteX5" fmla="*/ 10962 w 43256"/>
              <a:gd name="connsiteY5" fmla="*/ 26517 h 43384"/>
              <a:gd name="connsiteX6" fmla="*/ 28863 w 43256"/>
              <a:gd name="connsiteY6" fmla="*/ 34610 h 43384"/>
              <a:gd name="connsiteX7" fmla="*/ 28596 w 43256"/>
              <a:gd name="connsiteY7" fmla="*/ 36519 h 43384"/>
              <a:gd name="connsiteX8" fmla="*/ 34165 w 43256"/>
              <a:gd name="connsiteY8" fmla="*/ 22813 h 43384"/>
              <a:gd name="connsiteX9" fmla="*/ 37416 w 43256"/>
              <a:gd name="connsiteY9" fmla="*/ 29949 h 43384"/>
              <a:gd name="connsiteX10" fmla="*/ 41834 w 43256"/>
              <a:gd name="connsiteY10" fmla="*/ 15213 h 43384"/>
              <a:gd name="connsiteX11" fmla="*/ 40386 w 43256"/>
              <a:gd name="connsiteY11" fmla="*/ 17889 h 43384"/>
              <a:gd name="connsiteX12" fmla="*/ 38360 w 43256"/>
              <a:gd name="connsiteY12" fmla="*/ 5285 h 43384"/>
              <a:gd name="connsiteX13" fmla="*/ 38436 w 43256"/>
              <a:gd name="connsiteY13" fmla="*/ 6549 h 43384"/>
              <a:gd name="connsiteX14" fmla="*/ 29114 w 43256"/>
              <a:gd name="connsiteY14" fmla="*/ 3811 h 43384"/>
              <a:gd name="connsiteX15" fmla="*/ 29856 w 43256"/>
              <a:gd name="connsiteY15" fmla="*/ 2199 h 43384"/>
              <a:gd name="connsiteX16" fmla="*/ 22177 w 43256"/>
              <a:gd name="connsiteY16" fmla="*/ 4579 h 43384"/>
              <a:gd name="connsiteX17" fmla="*/ 22536 w 43256"/>
              <a:gd name="connsiteY17" fmla="*/ 3189 h 43384"/>
              <a:gd name="connsiteX18" fmla="*/ 14036 w 43256"/>
              <a:gd name="connsiteY18" fmla="*/ 5051 h 43384"/>
              <a:gd name="connsiteX19" fmla="*/ 15336 w 43256"/>
              <a:gd name="connsiteY19" fmla="*/ 6399 h 43384"/>
              <a:gd name="connsiteX20" fmla="*/ 4163 w 43256"/>
              <a:gd name="connsiteY20" fmla="*/ 15648 h 43384"/>
              <a:gd name="connsiteX21" fmla="*/ 3936 w 43256"/>
              <a:gd name="connsiteY21" fmla="*/ 14229 h 43384"/>
              <a:gd name="connsiteX0" fmla="*/ 3936 w 43256"/>
              <a:gd name="connsiteY0" fmla="*/ 14229 h 43324"/>
              <a:gd name="connsiteX1" fmla="*/ 5659 w 43256"/>
              <a:gd name="connsiteY1" fmla="*/ 6766 h 43324"/>
              <a:gd name="connsiteX2" fmla="*/ 14041 w 43256"/>
              <a:gd name="connsiteY2" fmla="*/ 5061 h 43324"/>
              <a:gd name="connsiteX3" fmla="*/ 22492 w 43256"/>
              <a:gd name="connsiteY3" fmla="*/ 3291 h 43324"/>
              <a:gd name="connsiteX4" fmla="*/ 25785 w 43256"/>
              <a:gd name="connsiteY4" fmla="*/ 59 h 43324"/>
              <a:gd name="connsiteX5" fmla="*/ 29869 w 43256"/>
              <a:gd name="connsiteY5" fmla="*/ 2340 h 43324"/>
              <a:gd name="connsiteX6" fmla="*/ 35499 w 43256"/>
              <a:gd name="connsiteY6" fmla="*/ 549 h 43324"/>
              <a:gd name="connsiteX7" fmla="*/ 38354 w 43256"/>
              <a:gd name="connsiteY7" fmla="*/ 5435 h 43324"/>
              <a:gd name="connsiteX8" fmla="*/ 42018 w 43256"/>
              <a:gd name="connsiteY8" fmla="*/ 10177 h 43324"/>
              <a:gd name="connsiteX9" fmla="*/ 41854 w 43256"/>
              <a:gd name="connsiteY9" fmla="*/ 15319 h 43324"/>
              <a:gd name="connsiteX10" fmla="*/ 43052 w 43256"/>
              <a:gd name="connsiteY10" fmla="*/ 23181 h 43324"/>
              <a:gd name="connsiteX11" fmla="*/ 37440 w 43256"/>
              <a:gd name="connsiteY11" fmla="*/ 30063 h 43324"/>
              <a:gd name="connsiteX12" fmla="*/ 35431 w 43256"/>
              <a:gd name="connsiteY12" fmla="*/ 35960 h 43324"/>
              <a:gd name="connsiteX13" fmla="*/ 28591 w 43256"/>
              <a:gd name="connsiteY13" fmla="*/ 36674 h 43324"/>
              <a:gd name="connsiteX14" fmla="*/ 23703 w 43256"/>
              <a:gd name="connsiteY14" fmla="*/ 42965 h 43324"/>
              <a:gd name="connsiteX15" fmla="*/ 15021 w 43256"/>
              <a:gd name="connsiteY15" fmla="*/ 26327 h 43324"/>
              <a:gd name="connsiteX16" fmla="*/ 8232 w 43256"/>
              <a:gd name="connsiteY16" fmla="*/ 25935 h 43324"/>
              <a:gd name="connsiteX17" fmla="*/ 5731 w 43256"/>
              <a:gd name="connsiteY17" fmla="*/ 26087 h 43324"/>
              <a:gd name="connsiteX18" fmla="*/ 2149 w 43256"/>
              <a:gd name="connsiteY18" fmla="*/ 25410 h 43324"/>
              <a:gd name="connsiteX19" fmla="*/ 31 w 43256"/>
              <a:gd name="connsiteY19" fmla="*/ 19563 h 43324"/>
              <a:gd name="connsiteX20" fmla="*/ 3899 w 43256"/>
              <a:gd name="connsiteY20" fmla="*/ 14366 h 43324"/>
              <a:gd name="connsiteX21" fmla="*/ 3936 w 43256"/>
              <a:gd name="connsiteY21" fmla="*/ 14229 h 43324"/>
              <a:gd name="connsiteX0" fmla="*/ 4729 w 43256"/>
              <a:gd name="connsiteY0" fmla="*/ 26036 h 43324"/>
              <a:gd name="connsiteX1" fmla="*/ 2196 w 43256"/>
              <a:gd name="connsiteY1" fmla="*/ 25239 h 43324"/>
              <a:gd name="connsiteX2" fmla="*/ 8160 w 43256"/>
              <a:gd name="connsiteY2" fmla="*/ 26172 h 43324"/>
              <a:gd name="connsiteX3" fmla="*/ 6653 w 43256"/>
              <a:gd name="connsiteY3" fmla="*/ 26229 h 43324"/>
              <a:gd name="connsiteX4" fmla="*/ 10234 w 43256"/>
              <a:gd name="connsiteY4" fmla="*/ 26961 h 43324"/>
              <a:gd name="connsiteX5" fmla="*/ 10962 w 43256"/>
              <a:gd name="connsiteY5" fmla="*/ 26517 h 43324"/>
              <a:gd name="connsiteX6" fmla="*/ 28863 w 43256"/>
              <a:gd name="connsiteY6" fmla="*/ 34610 h 43324"/>
              <a:gd name="connsiteX7" fmla="*/ 28596 w 43256"/>
              <a:gd name="connsiteY7" fmla="*/ 36519 h 43324"/>
              <a:gd name="connsiteX8" fmla="*/ 34165 w 43256"/>
              <a:gd name="connsiteY8" fmla="*/ 22813 h 43324"/>
              <a:gd name="connsiteX9" fmla="*/ 37416 w 43256"/>
              <a:gd name="connsiteY9" fmla="*/ 29949 h 43324"/>
              <a:gd name="connsiteX10" fmla="*/ 41834 w 43256"/>
              <a:gd name="connsiteY10" fmla="*/ 15213 h 43324"/>
              <a:gd name="connsiteX11" fmla="*/ 40386 w 43256"/>
              <a:gd name="connsiteY11" fmla="*/ 17889 h 43324"/>
              <a:gd name="connsiteX12" fmla="*/ 38360 w 43256"/>
              <a:gd name="connsiteY12" fmla="*/ 5285 h 43324"/>
              <a:gd name="connsiteX13" fmla="*/ 38436 w 43256"/>
              <a:gd name="connsiteY13" fmla="*/ 6549 h 43324"/>
              <a:gd name="connsiteX14" fmla="*/ 29114 w 43256"/>
              <a:gd name="connsiteY14" fmla="*/ 3811 h 43324"/>
              <a:gd name="connsiteX15" fmla="*/ 29856 w 43256"/>
              <a:gd name="connsiteY15" fmla="*/ 2199 h 43324"/>
              <a:gd name="connsiteX16" fmla="*/ 22177 w 43256"/>
              <a:gd name="connsiteY16" fmla="*/ 4579 h 43324"/>
              <a:gd name="connsiteX17" fmla="*/ 22536 w 43256"/>
              <a:gd name="connsiteY17" fmla="*/ 3189 h 43324"/>
              <a:gd name="connsiteX18" fmla="*/ 14036 w 43256"/>
              <a:gd name="connsiteY18" fmla="*/ 5051 h 43324"/>
              <a:gd name="connsiteX19" fmla="*/ 15336 w 43256"/>
              <a:gd name="connsiteY19" fmla="*/ 6399 h 43324"/>
              <a:gd name="connsiteX20" fmla="*/ 4163 w 43256"/>
              <a:gd name="connsiteY20" fmla="*/ 15648 h 43324"/>
              <a:gd name="connsiteX21" fmla="*/ 3936 w 43256"/>
              <a:gd name="connsiteY21" fmla="*/ 14229 h 43324"/>
              <a:gd name="connsiteX0" fmla="*/ 3936 w 43256"/>
              <a:gd name="connsiteY0" fmla="*/ 14229 h 43324"/>
              <a:gd name="connsiteX1" fmla="*/ 5659 w 43256"/>
              <a:gd name="connsiteY1" fmla="*/ 6766 h 43324"/>
              <a:gd name="connsiteX2" fmla="*/ 14041 w 43256"/>
              <a:gd name="connsiteY2" fmla="*/ 5061 h 43324"/>
              <a:gd name="connsiteX3" fmla="*/ 22492 w 43256"/>
              <a:gd name="connsiteY3" fmla="*/ 3291 h 43324"/>
              <a:gd name="connsiteX4" fmla="*/ 25785 w 43256"/>
              <a:gd name="connsiteY4" fmla="*/ 59 h 43324"/>
              <a:gd name="connsiteX5" fmla="*/ 29869 w 43256"/>
              <a:gd name="connsiteY5" fmla="*/ 2340 h 43324"/>
              <a:gd name="connsiteX6" fmla="*/ 35499 w 43256"/>
              <a:gd name="connsiteY6" fmla="*/ 549 h 43324"/>
              <a:gd name="connsiteX7" fmla="*/ 38354 w 43256"/>
              <a:gd name="connsiteY7" fmla="*/ 5435 h 43324"/>
              <a:gd name="connsiteX8" fmla="*/ 42018 w 43256"/>
              <a:gd name="connsiteY8" fmla="*/ 10177 h 43324"/>
              <a:gd name="connsiteX9" fmla="*/ 41854 w 43256"/>
              <a:gd name="connsiteY9" fmla="*/ 15319 h 43324"/>
              <a:gd name="connsiteX10" fmla="*/ 43052 w 43256"/>
              <a:gd name="connsiteY10" fmla="*/ 23181 h 43324"/>
              <a:gd name="connsiteX11" fmla="*/ 37440 w 43256"/>
              <a:gd name="connsiteY11" fmla="*/ 30063 h 43324"/>
              <a:gd name="connsiteX12" fmla="*/ 35431 w 43256"/>
              <a:gd name="connsiteY12" fmla="*/ 35960 h 43324"/>
              <a:gd name="connsiteX13" fmla="*/ 28591 w 43256"/>
              <a:gd name="connsiteY13" fmla="*/ 36674 h 43324"/>
              <a:gd name="connsiteX14" fmla="*/ 23703 w 43256"/>
              <a:gd name="connsiteY14" fmla="*/ 42965 h 43324"/>
              <a:gd name="connsiteX15" fmla="*/ 15021 w 43256"/>
              <a:gd name="connsiteY15" fmla="*/ 26327 h 43324"/>
              <a:gd name="connsiteX16" fmla="*/ 8232 w 43256"/>
              <a:gd name="connsiteY16" fmla="*/ 25935 h 43324"/>
              <a:gd name="connsiteX17" fmla="*/ 5731 w 43256"/>
              <a:gd name="connsiteY17" fmla="*/ 26087 h 43324"/>
              <a:gd name="connsiteX18" fmla="*/ 2149 w 43256"/>
              <a:gd name="connsiteY18" fmla="*/ 25410 h 43324"/>
              <a:gd name="connsiteX19" fmla="*/ 31 w 43256"/>
              <a:gd name="connsiteY19" fmla="*/ 19563 h 43324"/>
              <a:gd name="connsiteX20" fmla="*/ 3899 w 43256"/>
              <a:gd name="connsiteY20" fmla="*/ 14366 h 43324"/>
              <a:gd name="connsiteX21" fmla="*/ 3936 w 43256"/>
              <a:gd name="connsiteY21" fmla="*/ 14229 h 43324"/>
              <a:gd name="connsiteX0" fmla="*/ 4729 w 43256"/>
              <a:gd name="connsiteY0" fmla="*/ 26036 h 43324"/>
              <a:gd name="connsiteX1" fmla="*/ 2196 w 43256"/>
              <a:gd name="connsiteY1" fmla="*/ 25239 h 43324"/>
              <a:gd name="connsiteX2" fmla="*/ 8160 w 43256"/>
              <a:gd name="connsiteY2" fmla="*/ 26172 h 43324"/>
              <a:gd name="connsiteX3" fmla="*/ 6653 w 43256"/>
              <a:gd name="connsiteY3" fmla="*/ 26229 h 43324"/>
              <a:gd name="connsiteX4" fmla="*/ 10234 w 43256"/>
              <a:gd name="connsiteY4" fmla="*/ 26961 h 43324"/>
              <a:gd name="connsiteX5" fmla="*/ 10962 w 43256"/>
              <a:gd name="connsiteY5" fmla="*/ 26517 h 43324"/>
              <a:gd name="connsiteX6" fmla="*/ 28863 w 43256"/>
              <a:gd name="connsiteY6" fmla="*/ 34610 h 43324"/>
              <a:gd name="connsiteX7" fmla="*/ 28596 w 43256"/>
              <a:gd name="connsiteY7" fmla="*/ 36519 h 43324"/>
              <a:gd name="connsiteX8" fmla="*/ 34165 w 43256"/>
              <a:gd name="connsiteY8" fmla="*/ 22813 h 43324"/>
              <a:gd name="connsiteX9" fmla="*/ 37416 w 43256"/>
              <a:gd name="connsiteY9" fmla="*/ 29949 h 43324"/>
              <a:gd name="connsiteX10" fmla="*/ 41834 w 43256"/>
              <a:gd name="connsiteY10" fmla="*/ 15213 h 43324"/>
              <a:gd name="connsiteX11" fmla="*/ 40386 w 43256"/>
              <a:gd name="connsiteY11" fmla="*/ 17889 h 43324"/>
              <a:gd name="connsiteX12" fmla="*/ 38360 w 43256"/>
              <a:gd name="connsiteY12" fmla="*/ 5285 h 43324"/>
              <a:gd name="connsiteX13" fmla="*/ 38436 w 43256"/>
              <a:gd name="connsiteY13" fmla="*/ 6549 h 43324"/>
              <a:gd name="connsiteX14" fmla="*/ 29114 w 43256"/>
              <a:gd name="connsiteY14" fmla="*/ 3811 h 43324"/>
              <a:gd name="connsiteX15" fmla="*/ 29856 w 43256"/>
              <a:gd name="connsiteY15" fmla="*/ 2199 h 43324"/>
              <a:gd name="connsiteX16" fmla="*/ 22177 w 43256"/>
              <a:gd name="connsiteY16" fmla="*/ 4579 h 43324"/>
              <a:gd name="connsiteX17" fmla="*/ 22536 w 43256"/>
              <a:gd name="connsiteY17" fmla="*/ 3189 h 43324"/>
              <a:gd name="connsiteX18" fmla="*/ 14036 w 43256"/>
              <a:gd name="connsiteY18" fmla="*/ 5051 h 43324"/>
              <a:gd name="connsiteX19" fmla="*/ 15336 w 43256"/>
              <a:gd name="connsiteY19" fmla="*/ 6399 h 43324"/>
              <a:gd name="connsiteX20" fmla="*/ 4163 w 43256"/>
              <a:gd name="connsiteY20" fmla="*/ 15648 h 43324"/>
              <a:gd name="connsiteX21" fmla="*/ 3936 w 43256"/>
              <a:gd name="connsiteY21" fmla="*/ 14229 h 43324"/>
              <a:gd name="connsiteX0" fmla="*/ 3936 w 43256"/>
              <a:gd name="connsiteY0" fmla="*/ 14229 h 43324"/>
              <a:gd name="connsiteX1" fmla="*/ 5659 w 43256"/>
              <a:gd name="connsiteY1" fmla="*/ 6766 h 43324"/>
              <a:gd name="connsiteX2" fmla="*/ 14041 w 43256"/>
              <a:gd name="connsiteY2" fmla="*/ 5061 h 43324"/>
              <a:gd name="connsiteX3" fmla="*/ 22492 w 43256"/>
              <a:gd name="connsiteY3" fmla="*/ 3291 h 43324"/>
              <a:gd name="connsiteX4" fmla="*/ 25785 w 43256"/>
              <a:gd name="connsiteY4" fmla="*/ 59 h 43324"/>
              <a:gd name="connsiteX5" fmla="*/ 29869 w 43256"/>
              <a:gd name="connsiteY5" fmla="*/ 2340 h 43324"/>
              <a:gd name="connsiteX6" fmla="*/ 35499 w 43256"/>
              <a:gd name="connsiteY6" fmla="*/ 549 h 43324"/>
              <a:gd name="connsiteX7" fmla="*/ 38354 w 43256"/>
              <a:gd name="connsiteY7" fmla="*/ 5435 h 43324"/>
              <a:gd name="connsiteX8" fmla="*/ 42018 w 43256"/>
              <a:gd name="connsiteY8" fmla="*/ 10177 h 43324"/>
              <a:gd name="connsiteX9" fmla="*/ 41854 w 43256"/>
              <a:gd name="connsiteY9" fmla="*/ 15319 h 43324"/>
              <a:gd name="connsiteX10" fmla="*/ 43052 w 43256"/>
              <a:gd name="connsiteY10" fmla="*/ 23181 h 43324"/>
              <a:gd name="connsiteX11" fmla="*/ 37440 w 43256"/>
              <a:gd name="connsiteY11" fmla="*/ 30063 h 43324"/>
              <a:gd name="connsiteX12" fmla="*/ 35431 w 43256"/>
              <a:gd name="connsiteY12" fmla="*/ 35960 h 43324"/>
              <a:gd name="connsiteX13" fmla="*/ 28591 w 43256"/>
              <a:gd name="connsiteY13" fmla="*/ 36674 h 43324"/>
              <a:gd name="connsiteX14" fmla="*/ 23703 w 43256"/>
              <a:gd name="connsiteY14" fmla="*/ 42965 h 43324"/>
              <a:gd name="connsiteX15" fmla="*/ 15021 w 43256"/>
              <a:gd name="connsiteY15" fmla="*/ 26327 h 43324"/>
              <a:gd name="connsiteX16" fmla="*/ 8232 w 43256"/>
              <a:gd name="connsiteY16" fmla="*/ 25935 h 43324"/>
              <a:gd name="connsiteX17" fmla="*/ 5731 w 43256"/>
              <a:gd name="connsiteY17" fmla="*/ 26087 h 43324"/>
              <a:gd name="connsiteX18" fmla="*/ 2149 w 43256"/>
              <a:gd name="connsiteY18" fmla="*/ 25410 h 43324"/>
              <a:gd name="connsiteX19" fmla="*/ 31 w 43256"/>
              <a:gd name="connsiteY19" fmla="*/ 19563 h 43324"/>
              <a:gd name="connsiteX20" fmla="*/ 3899 w 43256"/>
              <a:gd name="connsiteY20" fmla="*/ 14366 h 43324"/>
              <a:gd name="connsiteX21" fmla="*/ 3936 w 43256"/>
              <a:gd name="connsiteY21" fmla="*/ 14229 h 43324"/>
              <a:gd name="connsiteX0" fmla="*/ 4729 w 43256"/>
              <a:gd name="connsiteY0" fmla="*/ 26036 h 43324"/>
              <a:gd name="connsiteX1" fmla="*/ 2196 w 43256"/>
              <a:gd name="connsiteY1" fmla="*/ 25239 h 43324"/>
              <a:gd name="connsiteX2" fmla="*/ 8160 w 43256"/>
              <a:gd name="connsiteY2" fmla="*/ 26172 h 43324"/>
              <a:gd name="connsiteX3" fmla="*/ 6653 w 43256"/>
              <a:gd name="connsiteY3" fmla="*/ 26229 h 43324"/>
              <a:gd name="connsiteX4" fmla="*/ 10234 w 43256"/>
              <a:gd name="connsiteY4" fmla="*/ 26961 h 43324"/>
              <a:gd name="connsiteX5" fmla="*/ 10962 w 43256"/>
              <a:gd name="connsiteY5" fmla="*/ 26517 h 43324"/>
              <a:gd name="connsiteX6" fmla="*/ 28863 w 43256"/>
              <a:gd name="connsiteY6" fmla="*/ 34610 h 43324"/>
              <a:gd name="connsiteX7" fmla="*/ 28596 w 43256"/>
              <a:gd name="connsiteY7" fmla="*/ 36519 h 43324"/>
              <a:gd name="connsiteX8" fmla="*/ 34165 w 43256"/>
              <a:gd name="connsiteY8" fmla="*/ 22813 h 43324"/>
              <a:gd name="connsiteX9" fmla="*/ 37416 w 43256"/>
              <a:gd name="connsiteY9" fmla="*/ 29949 h 43324"/>
              <a:gd name="connsiteX10" fmla="*/ 41834 w 43256"/>
              <a:gd name="connsiteY10" fmla="*/ 15213 h 43324"/>
              <a:gd name="connsiteX11" fmla="*/ 40386 w 43256"/>
              <a:gd name="connsiteY11" fmla="*/ 17889 h 43324"/>
              <a:gd name="connsiteX12" fmla="*/ 38360 w 43256"/>
              <a:gd name="connsiteY12" fmla="*/ 5285 h 43324"/>
              <a:gd name="connsiteX13" fmla="*/ 38436 w 43256"/>
              <a:gd name="connsiteY13" fmla="*/ 6549 h 43324"/>
              <a:gd name="connsiteX14" fmla="*/ 29114 w 43256"/>
              <a:gd name="connsiteY14" fmla="*/ 3811 h 43324"/>
              <a:gd name="connsiteX15" fmla="*/ 29856 w 43256"/>
              <a:gd name="connsiteY15" fmla="*/ 2199 h 43324"/>
              <a:gd name="connsiteX16" fmla="*/ 22177 w 43256"/>
              <a:gd name="connsiteY16" fmla="*/ 4579 h 43324"/>
              <a:gd name="connsiteX17" fmla="*/ 22536 w 43256"/>
              <a:gd name="connsiteY17" fmla="*/ 3189 h 43324"/>
              <a:gd name="connsiteX18" fmla="*/ 14036 w 43256"/>
              <a:gd name="connsiteY18" fmla="*/ 5051 h 43324"/>
              <a:gd name="connsiteX19" fmla="*/ 15336 w 43256"/>
              <a:gd name="connsiteY19" fmla="*/ 6399 h 43324"/>
              <a:gd name="connsiteX20" fmla="*/ 4163 w 43256"/>
              <a:gd name="connsiteY20" fmla="*/ 15648 h 43324"/>
              <a:gd name="connsiteX21" fmla="*/ 3936 w 43256"/>
              <a:gd name="connsiteY21" fmla="*/ 14229 h 43324"/>
              <a:gd name="connsiteX0" fmla="*/ 3936 w 43256"/>
              <a:gd name="connsiteY0" fmla="*/ 14229 h 37867"/>
              <a:gd name="connsiteX1" fmla="*/ 5659 w 43256"/>
              <a:gd name="connsiteY1" fmla="*/ 6766 h 37867"/>
              <a:gd name="connsiteX2" fmla="*/ 14041 w 43256"/>
              <a:gd name="connsiteY2" fmla="*/ 5061 h 37867"/>
              <a:gd name="connsiteX3" fmla="*/ 22492 w 43256"/>
              <a:gd name="connsiteY3" fmla="*/ 3291 h 37867"/>
              <a:gd name="connsiteX4" fmla="*/ 25785 w 43256"/>
              <a:gd name="connsiteY4" fmla="*/ 59 h 37867"/>
              <a:gd name="connsiteX5" fmla="*/ 29869 w 43256"/>
              <a:gd name="connsiteY5" fmla="*/ 2340 h 37867"/>
              <a:gd name="connsiteX6" fmla="*/ 35499 w 43256"/>
              <a:gd name="connsiteY6" fmla="*/ 549 h 37867"/>
              <a:gd name="connsiteX7" fmla="*/ 38354 w 43256"/>
              <a:gd name="connsiteY7" fmla="*/ 5435 h 37867"/>
              <a:gd name="connsiteX8" fmla="*/ 42018 w 43256"/>
              <a:gd name="connsiteY8" fmla="*/ 10177 h 37867"/>
              <a:gd name="connsiteX9" fmla="*/ 41854 w 43256"/>
              <a:gd name="connsiteY9" fmla="*/ 15319 h 37867"/>
              <a:gd name="connsiteX10" fmla="*/ 43052 w 43256"/>
              <a:gd name="connsiteY10" fmla="*/ 23181 h 37867"/>
              <a:gd name="connsiteX11" fmla="*/ 37440 w 43256"/>
              <a:gd name="connsiteY11" fmla="*/ 30063 h 37867"/>
              <a:gd name="connsiteX12" fmla="*/ 35431 w 43256"/>
              <a:gd name="connsiteY12" fmla="*/ 35960 h 37867"/>
              <a:gd name="connsiteX13" fmla="*/ 28591 w 43256"/>
              <a:gd name="connsiteY13" fmla="*/ 36674 h 37867"/>
              <a:gd name="connsiteX14" fmla="*/ 23703 w 43256"/>
              <a:gd name="connsiteY14" fmla="*/ 28385 h 37867"/>
              <a:gd name="connsiteX15" fmla="*/ 15021 w 43256"/>
              <a:gd name="connsiteY15" fmla="*/ 26327 h 37867"/>
              <a:gd name="connsiteX16" fmla="*/ 8232 w 43256"/>
              <a:gd name="connsiteY16" fmla="*/ 25935 h 37867"/>
              <a:gd name="connsiteX17" fmla="*/ 5731 w 43256"/>
              <a:gd name="connsiteY17" fmla="*/ 26087 h 37867"/>
              <a:gd name="connsiteX18" fmla="*/ 2149 w 43256"/>
              <a:gd name="connsiteY18" fmla="*/ 25410 h 37867"/>
              <a:gd name="connsiteX19" fmla="*/ 31 w 43256"/>
              <a:gd name="connsiteY19" fmla="*/ 19563 h 37867"/>
              <a:gd name="connsiteX20" fmla="*/ 3899 w 43256"/>
              <a:gd name="connsiteY20" fmla="*/ 14366 h 37867"/>
              <a:gd name="connsiteX21" fmla="*/ 3936 w 43256"/>
              <a:gd name="connsiteY21" fmla="*/ 14229 h 37867"/>
              <a:gd name="connsiteX0" fmla="*/ 4729 w 43256"/>
              <a:gd name="connsiteY0" fmla="*/ 26036 h 37867"/>
              <a:gd name="connsiteX1" fmla="*/ 2196 w 43256"/>
              <a:gd name="connsiteY1" fmla="*/ 25239 h 37867"/>
              <a:gd name="connsiteX2" fmla="*/ 8160 w 43256"/>
              <a:gd name="connsiteY2" fmla="*/ 26172 h 37867"/>
              <a:gd name="connsiteX3" fmla="*/ 6653 w 43256"/>
              <a:gd name="connsiteY3" fmla="*/ 26229 h 37867"/>
              <a:gd name="connsiteX4" fmla="*/ 10234 w 43256"/>
              <a:gd name="connsiteY4" fmla="*/ 26961 h 37867"/>
              <a:gd name="connsiteX5" fmla="*/ 10962 w 43256"/>
              <a:gd name="connsiteY5" fmla="*/ 26517 h 37867"/>
              <a:gd name="connsiteX6" fmla="*/ 28863 w 43256"/>
              <a:gd name="connsiteY6" fmla="*/ 34610 h 37867"/>
              <a:gd name="connsiteX7" fmla="*/ 28596 w 43256"/>
              <a:gd name="connsiteY7" fmla="*/ 36519 h 37867"/>
              <a:gd name="connsiteX8" fmla="*/ 34165 w 43256"/>
              <a:gd name="connsiteY8" fmla="*/ 22813 h 37867"/>
              <a:gd name="connsiteX9" fmla="*/ 37416 w 43256"/>
              <a:gd name="connsiteY9" fmla="*/ 29949 h 37867"/>
              <a:gd name="connsiteX10" fmla="*/ 41834 w 43256"/>
              <a:gd name="connsiteY10" fmla="*/ 15213 h 37867"/>
              <a:gd name="connsiteX11" fmla="*/ 40386 w 43256"/>
              <a:gd name="connsiteY11" fmla="*/ 17889 h 37867"/>
              <a:gd name="connsiteX12" fmla="*/ 38360 w 43256"/>
              <a:gd name="connsiteY12" fmla="*/ 5285 h 37867"/>
              <a:gd name="connsiteX13" fmla="*/ 38436 w 43256"/>
              <a:gd name="connsiteY13" fmla="*/ 6549 h 37867"/>
              <a:gd name="connsiteX14" fmla="*/ 29114 w 43256"/>
              <a:gd name="connsiteY14" fmla="*/ 3811 h 37867"/>
              <a:gd name="connsiteX15" fmla="*/ 29856 w 43256"/>
              <a:gd name="connsiteY15" fmla="*/ 2199 h 37867"/>
              <a:gd name="connsiteX16" fmla="*/ 22177 w 43256"/>
              <a:gd name="connsiteY16" fmla="*/ 4579 h 37867"/>
              <a:gd name="connsiteX17" fmla="*/ 22536 w 43256"/>
              <a:gd name="connsiteY17" fmla="*/ 3189 h 37867"/>
              <a:gd name="connsiteX18" fmla="*/ 14036 w 43256"/>
              <a:gd name="connsiteY18" fmla="*/ 5051 h 37867"/>
              <a:gd name="connsiteX19" fmla="*/ 15336 w 43256"/>
              <a:gd name="connsiteY19" fmla="*/ 6399 h 37867"/>
              <a:gd name="connsiteX20" fmla="*/ 4163 w 43256"/>
              <a:gd name="connsiteY20" fmla="*/ 15648 h 37867"/>
              <a:gd name="connsiteX21" fmla="*/ 3936 w 43256"/>
              <a:gd name="connsiteY21" fmla="*/ 14229 h 37867"/>
              <a:gd name="connsiteX0" fmla="*/ 3936 w 43256"/>
              <a:gd name="connsiteY0" fmla="*/ 14229 h 37867"/>
              <a:gd name="connsiteX1" fmla="*/ 5659 w 43256"/>
              <a:gd name="connsiteY1" fmla="*/ 6766 h 37867"/>
              <a:gd name="connsiteX2" fmla="*/ 14041 w 43256"/>
              <a:gd name="connsiteY2" fmla="*/ 5061 h 37867"/>
              <a:gd name="connsiteX3" fmla="*/ 22492 w 43256"/>
              <a:gd name="connsiteY3" fmla="*/ 3291 h 37867"/>
              <a:gd name="connsiteX4" fmla="*/ 25785 w 43256"/>
              <a:gd name="connsiteY4" fmla="*/ 59 h 37867"/>
              <a:gd name="connsiteX5" fmla="*/ 29869 w 43256"/>
              <a:gd name="connsiteY5" fmla="*/ 2340 h 37867"/>
              <a:gd name="connsiteX6" fmla="*/ 35499 w 43256"/>
              <a:gd name="connsiteY6" fmla="*/ 549 h 37867"/>
              <a:gd name="connsiteX7" fmla="*/ 38354 w 43256"/>
              <a:gd name="connsiteY7" fmla="*/ 5435 h 37867"/>
              <a:gd name="connsiteX8" fmla="*/ 42018 w 43256"/>
              <a:gd name="connsiteY8" fmla="*/ 10177 h 37867"/>
              <a:gd name="connsiteX9" fmla="*/ 41854 w 43256"/>
              <a:gd name="connsiteY9" fmla="*/ 15319 h 37867"/>
              <a:gd name="connsiteX10" fmla="*/ 43052 w 43256"/>
              <a:gd name="connsiteY10" fmla="*/ 23181 h 37867"/>
              <a:gd name="connsiteX11" fmla="*/ 37440 w 43256"/>
              <a:gd name="connsiteY11" fmla="*/ 30063 h 37867"/>
              <a:gd name="connsiteX12" fmla="*/ 35431 w 43256"/>
              <a:gd name="connsiteY12" fmla="*/ 35960 h 37867"/>
              <a:gd name="connsiteX13" fmla="*/ 28591 w 43256"/>
              <a:gd name="connsiteY13" fmla="*/ 36674 h 37867"/>
              <a:gd name="connsiteX14" fmla="*/ 23703 w 43256"/>
              <a:gd name="connsiteY14" fmla="*/ 28385 h 37867"/>
              <a:gd name="connsiteX15" fmla="*/ 15021 w 43256"/>
              <a:gd name="connsiteY15" fmla="*/ 26327 h 37867"/>
              <a:gd name="connsiteX16" fmla="*/ 8232 w 43256"/>
              <a:gd name="connsiteY16" fmla="*/ 25935 h 37867"/>
              <a:gd name="connsiteX17" fmla="*/ 5731 w 43256"/>
              <a:gd name="connsiteY17" fmla="*/ 26087 h 37867"/>
              <a:gd name="connsiteX18" fmla="*/ 2149 w 43256"/>
              <a:gd name="connsiteY18" fmla="*/ 25410 h 37867"/>
              <a:gd name="connsiteX19" fmla="*/ 31 w 43256"/>
              <a:gd name="connsiteY19" fmla="*/ 19563 h 37867"/>
              <a:gd name="connsiteX20" fmla="*/ 3899 w 43256"/>
              <a:gd name="connsiteY20" fmla="*/ 14366 h 37867"/>
              <a:gd name="connsiteX21" fmla="*/ 3936 w 43256"/>
              <a:gd name="connsiteY21" fmla="*/ 14229 h 37867"/>
              <a:gd name="connsiteX0" fmla="*/ 4729 w 43256"/>
              <a:gd name="connsiteY0" fmla="*/ 26036 h 37867"/>
              <a:gd name="connsiteX1" fmla="*/ 2196 w 43256"/>
              <a:gd name="connsiteY1" fmla="*/ 25239 h 37867"/>
              <a:gd name="connsiteX2" fmla="*/ 8160 w 43256"/>
              <a:gd name="connsiteY2" fmla="*/ 26172 h 37867"/>
              <a:gd name="connsiteX3" fmla="*/ 6653 w 43256"/>
              <a:gd name="connsiteY3" fmla="*/ 26229 h 37867"/>
              <a:gd name="connsiteX4" fmla="*/ 10234 w 43256"/>
              <a:gd name="connsiteY4" fmla="*/ 26961 h 37867"/>
              <a:gd name="connsiteX5" fmla="*/ 10962 w 43256"/>
              <a:gd name="connsiteY5" fmla="*/ 26517 h 37867"/>
              <a:gd name="connsiteX6" fmla="*/ 28863 w 43256"/>
              <a:gd name="connsiteY6" fmla="*/ 27320 h 37867"/>
              <a:gd name="connsiteX7" fmla="*/ 28596 w 43256"/>
              <a:gd name="connsiteY7" fmla="*/ 36519 h 37867"/>
              <a:gd name="connsiteX8" fmla="*/ 34165 w 43256"/>
              <a:gd name="connsiteY8" fmla="*/ 22813 h 37867"/>
              <a:gd name="connsiteX9" fmla="*/ 37416 w 43256"/>
              <a:gd name="connsiteY9" fmla="*/ 29949 h 37867"/>
              <a:gd name="connsiteX10" fmla="*/ 41834 w 43256"/>
              <a:gd name="connsiteY10" fmla="*/ 15213 h 37867"/>
              <a:gd name="connsiteX11" fmla="*/ 40386 w 43256"/>
              <a:gd name="connsiteY11" fmla="*/ 17889 h 37867"/>
              <a:gd name="connsiteX12" fmla="*/ 38360 w 43256"/>
              <a:gd name="connsiteY12" fmla="*/ 5285 h 37867"/>
              <a:gd name="connsiteX13" fmla="*/ 38436 w 43256"/>
              <a:gd name="connsiteY13" fmla="*/ 6549 h 37867"/>
              <a:gd name="connsiteX14" fmla="*/ 29114 w 43256"/>
              <a:gd name="connsiteY14" fmla="*/ 3811 h 37867"/>
              <a:gd name="connsiteX15" fmla="*/ 29856 w 43256"/>
              <a:gd name="connsiteY15" fmla="*/ 2199 h 37867"/>
              <a:gd name="connsiteX16" fmla="*/ 22177 w 43256"/>
              <a:gd name="connsiteY16" fmla="*/ 4579 h 37867"/>
              <a:gd name="connsiteX17" fmla="*/ 22536 w 43256"/>
              <a:gd name="connsiteY17" fmla="*/ 3189 h 37867"/>
              <a:gd name="connsiteX18" fmla="*/ 14036 w 43256"/>
              <a:gd name="connsiteY18" fmla="*/ 5051 h 37867"/>
              <a:gd name="connsiteX19" fmla="*/ 15336 w 43256"/>
              <a:gd name="connsiteY19" fmla="*/ 6399 h 37867"/>
              <a:gd name="connsiteX20" fmla="*/ 4163 w 43256"/>
              <a:gd name="connsiteY20" fmla="*/ 15648 h 37867"/>
              <a:gd name="connsiteX21" fmla="*/ 3936 w 43256"/>
              <a:gd name="connsiteY21" fmla="*/ 14229 h 37867"/>
              <a:gd name="connsiteX0" fmla="*/ 3936 w 43256"/>
              <a:gd name="connsiteY0" fmla="*/ 14229 h 37292"/>
              <a:gd name="connsiteX1" fmla="*/ 5659 w 43256"/>
              <a:gd name="connsiteY1" fmla="*/ 6766 h 37292"/>
              <a:gd name="connsiteX2" fmla="*/ 14041 w 43256"/>
              <a:gd name="connsiteY2" fmla="*/ 5061 h 37292"/>
              <a:gd name="connsiteX3" fmla="*/ 22492 w 43256"/>
              <a:gd name="connsiteY3" fmla="*/ 3291 h 37292"/>
              <a:gd name="connsiteX4" fmla="*/ 25785 w 43256"/>
              <a:gd name="connsiteY4" fmla="*/ 59 h 37292"/>
              <a:gd name="connsiteX5" fmla="*/ 29869 w 43256"/>
              <a:gd name="connsiteY5" fmla="*/ 2340 h 37292"/>
              <a:gd name="connsiteX6" fmla="*/ 35499 w 43256"/>
              <a:gd name="connsiteY6" fmla="*/ 549 h 37292"/>
              <a:gd name="connsiteX7" fmla="*/ 38354 w 43256"/>
              <a:gd name="connsiteY7" fmla="*/ 5435 h 37292"/>
              <a:gd name="connsiteX8" fmla="*/ 42018 w 43256"/>
              <a:gd name="connsiteY8" fmla="*/ 10177 h 37292"/>
              <a:gd name="connsiteX9" fmla="*/ 41854 w 43256"/>
              <a:gd name="connsiteY9" fmla="*/ 15319 h 37292"/>
              <a:gd name="connsiteX10" fmla="*/ 43052 w 43256"/>
              <a:gd name="connsiteY10" fmla="*/ 23181 h 37292"/>
              <a:gd name="connsiteX11" fmla="*/ 37440 w 43256"/>
              <a:gd name="connsiteY11" fmla="*/ 30063 h 37292"/>
              <a:gd name="connsiteX12" fmla="*/ 33736 w 43256"/>
              <a:gd name="connsiteY12" fmla="*/ 25430 h 37292"/>
              <a:gd name="connsiteX13" fmla="*/ 28591 w 43256"/>
              <a:gd name="connsiteY13" fmla="*/ 36674 h 37292"/>
              <a:gd name="connsiteX14" fmla="*/ 23703 w 43256"/>
              <a:gd name="connsiteY14" fmla="*/ 28385 h 37292"/>
              <a:gd name="connsiteX15" fmla="*/ 15021 w 43256"/>
              <a:gd name="connsiteY15" fmla="*/ 26327 h 37292"/>
              <a:gd name="connsiteX16" fmla="*/ 8232 w 43256"/>
              <a:gd name="connsiteY16" fmla="*/ 25935 h 37292"/>
              <a:gd name="connsiteX17" fmla="*/ 5731 w 43256"/>
              <a:gd name="connsiteY17" fmla="*/ 26087 h 37292"/>
              <a:gd name="connsiteX18" fmla="*/ 2149 w 43256"/>
              <a:gd name="connsiteY18" fmla="*/ 25410 h 37292"/>
              <a:gd name="connsiteX19" fmla="*/ 31 w 43256"/>
              <a:gd name="connsiteY19" fmla="*/ 19563 h 37292"/>
              <a:gd name="connsiteX20" fmla="*/ 3899 w 43256"/>
              <a:gd name="connsiteY20" fmla="*/ 14366 h 37292"/>
              <a:gd name="connsiteX21" fmla="*/ 3936 w 43256"/>
              <a:gd name="connsiteY21" fmla="*/ 14229 h 37292"/>
              <a:gd name="connsiteX0" fmla="*/ 4729 w 43256"/>
              <a:gd name="connsiteY0" fmla="*/ 26036 h 37292"/>
              <a:gd name="connsiteX1" fmla="*/ 2196 w 43256"/>
              <a:gd name="connsiteY1" fmla="*/ 25239 h 37292"/>
              <a:gd name="connsiteX2" fmla="*/ 8160 w 43256"/>
              <a:gd name="connsiteY2" fmla="*/ 26172 h 37292"/>
              <a:gd name="connsiteX3" fmla="*/ 6653 w 43256"/>
              <a:gd name="connsiteY3" fmla="*/ 26229 h 37292"/>
              <a:gd name="connsiteX4" fmla="*/ 10234 w 43256"/>
              <a:gd name="connsiteY4" fmla="*/ 26961 h 37292"/>
              <a:gd name="connsiteX5" fmla="*/ 10962 w 43256"/>
              <a:gd name="connsiteY5" fmla="*/ 26517 h 37292"/>
              <a:gd name="connsiteX6" fmla="*/ 28863 w 43256"/>
              <a:gd name="connsiteY6" fmla="*/ 27320 h 37292"/>
              <a:gd name="connsiteX7" fmla="*/ 28596 w 43256"/>
              <a:gd name="connsiteY7" fmla="*/ 36519 h 37292"/>
              <a:gd name="connsiteX8" fmla="*/ 34165 w 43256"/>
              <a:gd name="connsiteY8" fmla="*/ 22813 h 37292"/>
              <a:gd name="connsiteX9" fmla="*/ 37416 w 43256"/>
              <a:gd name="connsiteY9" fmla="*/ 29949 h 37292"/>
              <a:gd name="connsiteX10" fmla="*/ 41834 w 43256"/>
              <a:gd name="connsiteY10" fmla="*/ 15213 h 37292"/>
              <a:gd name="connsiteX11" fmla="*/ 40386 w 43256"/>
              <a:gd name="connsiteY11" fmla="*/ 17889 h 37292"/>
              <a:gd name="connsiteX12" fmla="*/ 38360 w 43256"/>
              <a:gd name="connsiteY12" fmla="*/ 5285 h 37292"/>
              <a:gd name="connsiteX13" fmla="*/ 38436 w 43256"/>
              <a:gd name="connsiteY13" fmla="*/ 6549 h 37292"/>
              <a:gd name="connsiteX14" fmla="*/ 29114 w 43256"/>
              <a:gd name="connsiteY14" fmla="*/ 3811 h 37292"/>
              <a:gd name="connsiteX15" fmla="*/ 29856 w 43256"/>
              <a:gd name="connsiteY15" fmla="*/ 2199 h 37292"/>
              <a:gd name="connsiteX16" fmla="*/ 22177 w 43256"/>
              <a:gd name="connsiteY16" fmla="*/ 4579 h 37292"/>
              <a:gd name="connsiteX17" fmla="*/ 22536 w 43256"/>
              <a:gd name="connsiteY17" fmla="*/ 3189 h 37292"/>
              <a:gd name="connsiteX18" fmla="*/ 14036 w 43256"/>
              <a:gd name="connsiteY18" fmla="*/ 5051 h 37292"/>
              <a:gd name="connsiteX19" fmla="*/ 15336 w 43256"/>
              <a:gd name="connsiteY19" fmla="*/ 6399 h 37292"/>
              <a:gd name="connsiteX20" fmla="*/ 4163 w 43256"/>
              <a:gd name="connsiteY20" fmla="*/ 15648 h 37292"/>
              <a:gd name="connsiteX21" fmla="*/ 3936 w 43256"/>
              <a:gd name="connsiteY21" fmla="*/ 14229 h 37292"/>
              <a:gd name="connsiteX0" fmla="*/ 3936 w 43256"/>
              <a:gd name="connsiteY0" fmla="*/ 14229 h 37292"/>
              <a:gd name="connsiteX1" fmla="*/ 5659 w 43256"/>
              <a:gd name="connsiteY1" fmla="*/ 6766 h 37292"/>
              <a:gd name="connsiteX2" fmla="*/ 14041 w 43256"/>
              <a:gd name="connsiteY2" fmla="*/ 5061 h 37292"/>
              <a:gd name="connsiteX3" fmla="*/ 22492 w 43256"/>
              <a:gd name="connsiteY3" fmla="*/ 3291 h 37292"/>
              <a:gd name="connsiteX4" fmla="*/ 25785 w 43256"/>
              <a:gd name="connsiteY4" fmla="*/ 59 h 37292"/>
              <a:gd name="connsiteX5" fmla="*/ 29869 w 43256"/>
              <a:gd name="connsiteY5" fmla="*/ 2340 h 37292"/>
              <a:gd name="connsiteX6" fmla="*/ 35499 w 43256"/>
              <a:gd name="connsiteY6" fmla="*/ 549 h 37292"/>
              <a:gd name="connsiteX7" fmla="*/ 38354 w 43256"/>
              <a:gd name="connsiteY7" fmla="*/ 5435 h 37292"/>
              <a:gd name="connsiteX8" fmla="*/ 42018 w 43256"/>
              <a:gd name="connsiteY8" fmla="*/ 10177 h 37292"/>
              <a:gd name="connsiteX9" fmla="*/ 41854 w 43256"/>
              <a:gd name="connsiteY9" fmla="*/ 15319 h 37292"/>
              <a:gd name="connsiteX10" fmla="*/ 43052 w 43256"/>
              <a:gd name="connsiteY10" fmla="*/ 23181 h 37292"/>
              <a:gd name="connsiteX11" fmla="*/ 37440 w 43256"/>
              <a:gd name="connsiteY11" fmla="*/ 30063 h 37292"/>
              <a:gd name="connsiteX12" fmla="*/ 33736 w 43256"/>
              <a:gd name="connsiteY12" fmla="*/ 25430 h 37292"/>
              <a:gd name="connsiteX13" fmla="*/ 28591 w 43256"/>
              <a:gd name="connsiteY13" fmla="*/ 36674 h 37292"/>
              <a:gd name="connsiteX14" fmla="*/ 23703 w 43256"/>
              <a:gd name="connsiteY14" fmla="*/ 28385 h 37292"/>
              <a:gd name="connsiteX15" fmla="*/ 15021 w 43256"/>
              <a:gd name="connsiteY15" fmla="*/ 26327 h 37292"/>
              <a:gd name="connsiteX16" fmla="*/ 8232 w 43256"/>
              <a:gd name="connsiteY16" fmla="*/ 25935 h 37292"/>
              <a:gd name="connsiteX17" fmla="*/ 5731 w 43256"/>
              <a:gd name="connsiteY17" fmla="*/ 26087 h 37292"/>
              <a:gd name="connsiteX18" fmla="*/ 2149 w 43256"/>
              <a:gd name="connsiteY18" fmla="*/ 25410 h 37292"/>
              <a:gd name="connsiteX19" fmla="*/ 31 w 43256"/>
              <a:gd name="connsiteY19" fmla="*/ 19563 h 37292"/>
              <a:gd name="connsiteX20" fmla="*/ 3899 w 43256"/>
              <a:gd name="connsiteY20" fmla="*/ 14366 h 37292"/>
              <a:gd name="connsiteX21" fmla="*/ 3936 w 43256"/>
              <a:gd name="connsiteY21" fmla="*/ 14229 h 37292"/>
              <a:gd name="connsiteX0" fmla="*/ 4729 w 43256"/>
              <a:gd name="connsiteY0" fmla="*/ 26036 h 37292"/>
              <a:gd name="connsiteX1" fmla="*/ 2196 w 43256"/>
              <a:gd name="connsiteY1" fmla="*/ 25239 h 37292"/>
              <a:gd name="connsiteX2" fmla="*/ 8160 w 43256"/>
              <a:gd name="connsiteY2" fmla="*/ 26172 h 37292"/>
              <a:gd name="connsiteX3" fmla="*/ 6653 w 43256"/>
              <a:gd name="connsiteY3" fmla="*/ 26229 h 37292"/>
              <a:gd name="connsiteX4" fmla="*/ 10234 w 43256"/>
              <a:gd name="connsiteY4" fmla="*/ 26961 h 37292"/>
              <a:gd name="connsiteX5" fmla="*/ 10962 w 43256"/>
              <a:gd name="connsiteY5" fmla="*/ 26517 h 37292"/>
              <a:gd name="connsiteX6" fmla="*/ 28863 w 43256"/>
              <a:gd name="connsiteY6" fmla="*/ 27320 h 37292"/>
              <a:gd name="connsiteX7" fmla="*/ 27998 w 43256"/>
              <a:gd name="connsiteY7" fmla="*/ 27933 h 37292"/>
              <a:gd name="connsiteX8" fmla="*/ 34165 w 43256"/>
              <a:gd name="connsiteY8" fmla="*/ 22813 h 37292"/>
              <a:gd name="connsiteX9" fmla="*/ 37416 w 43256"/>
              <a:gd name="connsiteY9" fmla="*/ 29949 h 37292"/>
              <a:gd name="connsiteX10" fmla="*/ 41834 w 43256"/>
              <a:gd name="connsiteY10" fmla="*/ 15213 h 37292"/>
              <a:gd name="connsiteX11" fmla="*/ 40386 w 43256"/>
              <a:gd name="connsiteY11" fmla="*/ 17889 h 37292"/>
              <a:gd name="connsiteX12" fmla="*/ 38360 w 43256"/>
              <a:gd name="connsiteY12" fmla="*/ 5285 h 37292"/>
              <a:gd name="connsiteX13" fmla="*/ 38436 w 43256"/>
              <a:gd name="connsiteY13" fmla="*/ 6549 h 37292"/>
              <a:gd name="connsiteX14" fmla="*/ 29114 w 43256"/>
              <a:gd name="connsiteY14" fmla="*/ 3811 h 37292"/>
              <a:gd name="connsiteX15" fmla="*/ 29856 w 43256"/>
              <a:gd name="connsiteY15" fmla="*/ 2199 h 37292"/>
              <a:gd name="connsiteX16" fmla="*/ 22177 w 43256"/>
              <a:gd name="connsiteY16" fmla="*/ 4579 h 37292"/>
              <a:gd name="connsiteX17" fmla="*/ 22536 w 43256"/>
              <a:gd name="connsiteY17" fmla="*/ 3189 h 37292"/>
              <a:gd name="connsiteX18" fmla="*/ 14036 w 43256"/>
              <a:gd name="connsiteY18" fmla="*/ 5051 h 37292"/>
              <a:gd name="connsiteX19" fmla="*/ 15336 w 43256"/>
              <a:gd name="connsiteY19" fmla="*/ 6399 h 37292"/>
              <a:gd name="connsiteX20" fmla="*/ 4163 w 43256"/>
              <a:gd name="connsiteY20" fmla="*/ 15648 h 37292"/>
              <a:gd name="connsiteX21" fmla="*/ 3936 w 43256"/>
              <a:gd name="connsiteY21" fmla="*/ 14229 h 37292"/>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703 w 43256"/>
              <a:gd name="connsiteY14" fmla="*/ 28385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998 w 43256"/>
              <a:gd name="connsiteY7" fmla="*/ 27933 h 30549"/>
              <a:gd name="connsiteX8" fmla="*/ 34165 w 43256"/>
              <a:gd name="connsiteY8" fmla="*/ 22813 h 30549"/>
              <a:gd name="connsiteX9" fmla="*/ 37416 w 43256"/>
              <a:gd name="connsiteY9" fmla="*/ 2994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703 w 43256"/>
              <a:gd name="connsiteY14" fmla="*/ 28385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998 w 43256"/>
              <a:gd name="connsiteY7" fmla="*/ 27933 h 30549"/>
              <a:gd name="connsiteX8" fmla="*/ 34165 w 43256"/>
              <a:gd name="connsiteY8" fmla="*/ 22813 h 30549"/>
              <a:gd name="connsiteX9" fmla="*/ 37416 w 43256"/>
              <a:gd name="connsiteY9" fmla="*/ 2994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404 w 43256"/>
              <a:gd name="connsiteY14" fmla="*/ 26927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998 w 43256"/>
              <a:gd name="connsiteY7" fmla="*/ 27933 h 30549"/>
              <a:gd name="connsiteX8" fmla="*/ 34165 w 43256"/>
              <a:gd name="connsiteY8" fmla="*/ 22813 h 30549"/>
              <a:gd name="connsiteX9" fmla="*/ 37416 w 43256"/>
              <a:gd name="connsiteY9" fmla="*/ 2994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404 w 43256"/>
              <a:gd name="connsiteY14" fmla="*/ 26927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898 w 43256"/>
              <a:gd name="connsiteY7" fmla="*/ 26961 h 30549"/>
              <a:gd name="connsiteX8" fmla="*/ 34165 w 43256"/>
              <a:gd name="connsiteY8" fmla="*/ 22813 h 30549"/>
              <a:gd name="connsiteX9" fmla="*/ 37416 w 43256"/>
              <a:gd name="connsiteY9" fmla="*/ 2994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404 w 43256"/>
              <a:gd name="connsiteY14" fmla="*/ 26927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898 w 43256"/>
              <a:gd name="connsiteY7" fmla="*/ 26961 h 30549"/>
              <a:gd name="connsiteX8" fmla="*/ 34165 w 43256"/>
              <a:gd name="connsiteY8" fmla="*/ 22813 h 30549"/>
              <a:gd name="connsiteX9" fmla="*/ 38512 w 43256"/>
              <a:gd name="connsiteY9" fmla="*/ 2670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488"/>
              <a:gd name="connsiteY0" fmla="*/ 14229 h 27520"/>
              <a:gd name="connsiteX1" fmla="*/ 5659 w 43488"/>
              <a:gd name="connsiteY1" fmla="*/ 6766 h 27520"/>
              <a:gd name="connsiteX2" fmla="*/ 14041 w 43488"/>
              <a:gd name="connsiteY2" fmla="*/ 5061 h 27520"/>
              <a:gd name="connsiteX3" fmla="*/ 22492 w 43488"/>
              <a:gd name="connsiteY3" fmla="*/ 3291 h 27520"/>
              <a:gd name="connsiteX4" fmla="*/ 25785 w 43488"/>
              <a:gd name="connsiteY4" fmla="*/ 59 h 27520"/>
              <a:gd name="connsiteX5" fmla="*/ 29869 w 43488"/>
              <a:gd name="connsiteY5" fmla="*/ 2340 h 27520"/>
              <a:gd name="connsiteX6" fmla="*/ 35499 w 43488"/>
              <a:gd name="connsiteY6" fmla="*/ 549 h 27520"/>
              <a:gd name="connsiteX7" fmla="*/ 38354 w 43488"/>
              <a:gd name="connsiteY7" fmla="*/ 5435 h 27520"/>
              <a:gd name="connsiteX8" fmla="*/ 42018 w 43488"/>
              <a:gd name="connsiteY8" fmla="*/ 10177 h 27520"/>
              <a:gd name="connsiteX9" fmla="*/ 41854 w 43488"/>
              <a:gd name="connsiteY9" fmla="*/ 15319 h 27520"/>
              <a:gd name="connsiteX10" fmla="*/ 43052 w 43488"/>
              <a:gd name="connsiteY10" fmla="*/ 23181 h 27520"/>
              <a:gd name="connsiteX11" fmla="*/ 35646 w 43488"/>
              <a:gd name="connsiteY11" fmla="*/ 25365 h 27520"/>
              <a:gd name="connsiteX12" fmla="*/ 33736 w 43488"/>
              <a:gd name="connsiteY12" fmla="*/ 25430 h 27520"/>
              <a:gd name="connsiteX13" fmla="*/ 26099 w 43488"/>
              <a:gd name="connsiteY13" fmla="*/ 26792 h 27520"/>
              <a:gd name="connsiteX14" fmla="*/ 23404 w 43488"/>
              <a:gd name="connsiteY14" fmla="*/ 26927 h 27520"/>
              <a:gd name="connsiteX15" fmla="*/ 15021 w 43488"/>
              <a:gd name="connsiteY15" fmla="*/ 26327 h 27520"/>
              <a:gd name="connsiteX16" fmla="*/ 8232 w 43488"/>
              <a:gd name="connsiteY16" fmla="*/ 25935 h 27520"/>
              <a:gd name="connsiteX17" fmla="*/ 5731 w 43488"/>
              <a:gd name="connsiteY17" fmla="*/ 26087 h 27520"/>
              <a:gd name="connsiteX18" fmla="*/ 2149 w 43488"/>
              <a:gd name="connsiteY18" fmla="*/ 25410 h 27520"/>
              <a:gd name="connsiteX19" fmla="*/ 31 w 43488"/>
              <a:gd name="connsiteY19" fmla="*/ 19563 h 27520"/>
              <a:gd name="connsiteX20" fmla="*/ 3899 w 43488"/>
              <a:gd name="connsiteY20" fmla="*/ 14366 h 27520"/>
              <a:gd name="connsiteX21" fmla="*/ 3936 w 43488"/>
              <a:gd name="connsiteY21" fmla="*/ 14229 h 27520"/>
              <a:gd name="connsiteX0" fmla="*/ 4729 w 43488"/>
              <a:gd name="connsiteY0" fmla="*/ 26036 h 27520"/>
              <a:gd name="connsiteX1" fmla="*/ 2196 w 43488"/>
              <a:gd name="connsiteY1" fmla="*/ 25239 h 27520"/>
              <a:gd name="connsiteX2" fmla="*/ 8160 w 43488"/>
              <a:gd name="connsiteY2" fmla="*/ 26172 h 27520"/>
              <a:gd name="connsiteX3" fmla="*/ 6653 w 43488"/>
              <a:gd name="connsiteY3" fmla="*/ 26229 h 27520"/>
              <a:gd name="connsiteX4" fmla="*/ 10234 w 43488"/>
              <a:gd name="connsiteY4" fmla="*/ 26961 h 27520"/>
              <a:gd name="connsiteX5" fmla="*/ 10962 w 43488"/>
              <a:gd name="connsiteY5" fmla="*/ 26517 h 27520"/>
              <a:gd name="connsiteX6" fmla="*/ 28863 w 43488"/>
              <a:gd name="connsiteY6" fmla="*/ 27320 h 27520"/>
              <a:gd name="connsiteX7" fmla="*/ 27898 w 43488"/>
              <a:gd name="connsiteY7" fmla="*/ 26961 h 27520"/>
              <a:gd name="connsiteX8" fmla="*/ 34165 w 43488"/>
              <a:gd name="connsiteY8" fmla="*/ 22813 h 27520"/>
              <a:gd name="connsiteX9" fmla="*/ 38512 w 43488"/>
              <a:gd name="connsiteY9" fmla="*/ 26709 h 27520"/>
              <a:gd name="connsiteX10" fmla="*/ 41834 w 43488"/>
              <a:gd name="connsiteY10" fmla="*/ 15213 h 27520"/>
              <a:gd name="connsiteX11" fmla="*/ 40386 w 43488"/>
              <a:gd name="connsiteY11" fmla="*/ 17889 h 27520"/>
              <a:gd name="connsiteX12" fmla="*/ 38360 w 43488"/>
              <a:gd name="connsiteY12" fmla="*/ 5285 h 27520"/>
              <a:gd name="connsiteX13" fmla="*/ 38436 w 43488"/>
              <a:gd name="connsiteY13" fmla="*/ 6549 h 27520"/>
              <a:gd name="connsiteX14" fmla="*/ 29114 w 43488"/>
              <a:gd name="connsiteY14" fmla="*/ 3811 h 27520"/>
              <a:gd name="connsiteX15" fmla="*/ 29856 w 43488"/>
              <a:gd name="connsiteY15" fmla="*/ 2199 h 27520"/>
              <a:gd name="connsiteX16" fmla="*/ 22177 w 43488"/>
              <a:gd name="connsiteY16" fmla="*/ 4579 h 27520"/>
              <a:gd name="connsiteX17" fmla="*/ 22536 w 43488"/>
              <a:gd name="connsiteY17" fmla="*/ 3189 h 27520"/>
              <a:gd name="connsiteX18" fmla="*/ 14036 w 43488"/>
              <a:gd name="connsiteY18" fmla="*/ 5051 h 27520"/>
              <a:gd name="connsiteX19" fmla="*/ 15336 w 43488"/>
              <a:gd name="connsiteY19" fmla="*/ 6399 h 27520"/>
              <a:gd name="connsiteX20" fmla="*/ 4163 w 43488"/>
              <a:gd name="connsiteY20" fmla="*/ 15648 h 27520"/>
              <a:gd name="connsiteX21" fmla="*/ 3936 w 43488"/>
              <a:gd name="connsiteY21" fmla="*/ 14229 h 27520"/>
              <a:gd name="connsiteX0" fmla="*/ 3936 w 43488"/>
              <a:gd name="connsiteY0" fmla="*/ 14229 h 27520"/>
              <a:gd name="connsiteX1" fmla="*/ 5659 w 43488"/>
              <a:gd name="connsiteY1" fmla="*/ 6766 h 27520"/>
              <a:gd name="connsiteX2" fmla="*/ 14041 w 43488"/>
              <a:gd name="connsiteY2" fmla="*/ 5061 h 27520"/>
              <a:gd name="connsiteX3" fmla="*/ 22492 w 43488"/>
              <a:gd name="connsiteY3" fmla="*/ 3291 h 27520"/>
              <a:gd name="connsiteX4" fmla="*/ 25785 w 43488"/>
              <a:gd name="connsiteY4" fmla="*/ 59 h 27520"/>
              <a:gd name="connsiteX5" fmla="*/ 29869 w 43488"/>
              <a:gd name="connsiteY5" fmla="*/ 2340 h 27520"/>
              <a:gd name="connsiteX6" fmla="*/ 35499 w 43488"/>
              <a:gd name="connsiteY6" fmla="*/ 549 h 27520"/>
              <a:gd name="connsiteX7" fmla="*/ 38354 w 43488"/>
              <a:gd name="connsiteY7" fmla="*/ 5435 h 27520"/>
              <a:gd name="connsiteX8" fmla="*/ 42018 w 43488"/>
              <a:gd name="connsiteY8" fmla="*/ 10177 h 27520"/>
              <a:gd name="connsiteX9" fmla="*/ 41854 w 43488"/>
              <a:gd name="connsiteY9" fmla="*/ 15319 h 27520"/>
              <a:gd name="connsiteX10" fmla="*/ 43052 w 43488"/>
              <a:gd name="connsiteY10" fmla="*/ 23181 h 27520"/>
              <a:gd name="connsiteX11" fmla="*/ 35646 w 43488"/>
              <a:gd name="connsiteY11" fmla="*/ 25365 h 27520"/>
              <a:gd name="connsiteX12" fmla="*/ 33736 w 43488"/>
              <a:gd name="connsiteY12" fmla="*/ 25430 h 27520"/>
              <a:gd name="connsiteX13" fmla="*/ 26099 w 43488"/>
              <a:gd name="connsiteY13" fmla="*/ 26792 h 27520"/>
              <a:gd name="connsiteX14" fmla="*/ 23404 w 43488"/>
              <a:gd name="connsiteY14" fmla="*/ 26927 h 27520"/>
              <a:gd name="connsiteX15" fmla="*/ 15021 w 43488"/>
              <a:gd name="connsiteY15" fmla="*/ 26327 h 27520"/>
              <a:gd name="connsiteX16" fmla="*/ 8232 w 43488"/>
              <a:gd name="connsiteY16" fmla="*/ 25935 h 27520"/>
              <a:gd name="connsiteX17" fmla="*/ 5731 w 43488"/>
              <a:gd name="connsiteY17" fmla="*/ 26087 h 27520"/>
              <a:gd name="connsiteX18" fmla="*/ 2149 w 43488"/>
              <a:gd name="connsiteY18" fmla="*/ 25410 h 27520"/>
              <a:gd name="connsiteX19" fmla="*/ 31 w 43488"/>
              <a:gd name="connsiteY19" fmla="*/ 19563 h 27520"/>
              <a:gd name="connsiteX20" fmla="*/ 3899 w 43488"/>
              <a:gd name="connsiteY20" fmla="*/ 14366 h 27520"/>
              <a:gd name="connsiteX21" fmla="*/ 3936 w 43488"/>
              <a:gd name="connsiteY21" fmla="*/ 14229 h 27520"/>
              <a:gd name="connsiteX0" fmla="*/ 4729 w 43488"/>
              <a:gd name="connsiteY0" fmla="*/ 26036 h 27520"/>
              <a:gd name="connsiteX1" fmla="*/ 2196 w 43488"/>
              <a:gd name="connsiteY1" fmla="*/ 25239 h 27520"/>
              <a:gd name="connsiteX2" fmla="*/ 8160 w 43488"/>
              <a:gd name="connsiteY2" fmla="*/ 26172 h 27520"/>
              <a:gd name="connsiteX3" fmla="*/ 6653 w 43488"/>
              <a:gd name="connsiteY3" fmla="*/ 26229 h 27520"/>
              <a:gd name="connsiteX4" fmla="*/ 10234 w 43488"/>
              <a:gd name="connsiteY4" fmla="*/ 26961 h 27520"/>
              <a:gd name="connsiteX5" fmla="*/ 10962 w 43488"/>
              <a:gd name="connsiteY5" fmla="*/ 26517 h 27520"/>
              <a:gd name="connsiteX6" fmla="*/ 29860 w 43488"/>
              <a:gd name="connsiteY6" fmla="*/ 26510 h 27520"/>
              <a:gd name="connsiteX7" fmla="*/ 27898 w 43488"/>
              <a:gd name="connsiteY7" fmla="*/ 26961 h 27520"/>
              <a:gd name="connsiteX8" fmla="*/ 34165 w 43488"/>
              <a:gd name="connsiteY8" fmla="*/ 22813 h 27520"/>
              <a:gd name="connsiteX9" fmla="*/ 38512 w 43488"/>
              <a:gd name="connsiteY9" fmla="*/ 26709 h 27520"/>
              <a:gd name="connsiteX10" fmla="*/ 41834 w 43488"/>
              <a:gd name="connsiteY10" fmla="*/ 15213 h 27520"/>
              <a:gd name="connsiteX11" fmla="*/ 40386 w 43488"/>
              <a:gd name="connsiteY11" fmla="*/ 17889 h 27520"/>
              <a:gd name="connsiteX12" fmla="*/ 38360 w 43488"/>
              <a:gd name="connsiteY12" fmla="*/ 5285 h 27520"/>
              <a:gd name="connsiteX13" fmla="*/ 38436 w 43488"/>
              <a:gd name="connsiteY13" fmla="*/ 6549 h 27520"/>
              <a:gd name="connsiteX14" fmla="*/ 29114 w 43488"/>
              <a:gd name="connsiteY14" fmla="*/ 3811 h 27520"/>
              <a:gd name="connsiteX15" fmla="*/ 29856 w 43488"/>
              <a:gd name="connsiteY15" fmla="*/ 2199 h 27520"/>
              <a:gd name="connsiteX16" fmla="*/ 22177 w 43488"/>
              <a:gd name="connsiteY16" fmla="*/ 4579 h 27520"/>
              <a:gd name="connsiteX17" fmla="*/ 22536 w 43488"/>
              <a:gd name="connsiteY17" fmla="*/ 3189 h 27520"/>
              <a:gd name="connsiteX18" fmla="*/ 14036 w 43488"/>
              <a:gd name="connsiteY18" fmla="*/ 5051 h 27520"/>
              <a:gd name="connsiteX19" fmla="*/ 15336 w 43488"/>
              <a:gd name="connsiteY19" fmla="*/ 6399 h 27520"/>
              <a:gd name="connsiteX20" fmla="*/ 4163 w 43488"/>
              <a:gd name="connsiteY20" fmla="*/ 15648 h 27520"/>
              <a:gd name="connsiteX21" fmla="*/ 3936 w 43488"/>
              <a:gd name="connsiteY21" fmla="*/ 14229 h 27520"/>
              <a:gd name="connsiteX0" fmla="*/ 3936 w 43488"/>
              <a:gd name="connsiteY0" fmla="*/ 14229 h 27557"/>
              <a:gd name="connsiteX1" fmla="*/ 5659 w 43488"/>
              <a:gd name="connsiteY1" fmla="*/ 6766 h 27557"/>
              <a:gd name="connsiteX2" fmla="*/ 14041 w 43488"/>
              <a:gd name="connsiteY2" fmla="*/ 5061 h 27557"/>
              <a:gd name="connsiteX3" fmla="*/ 22492 w 43488"/>
              <a:gd name="connsiteY3" fmla="*/ 3291 h 27557"/>
              <a:gd name="connsiteX4" fmla="*/ 25785 w 43488"/>
              <a:gd name="connsiteY4" fmla="*/ 59 h 27557"/>
              <a:gd name="connsiteX5" fmla="*/ 29869 w 43488"/>
              <a:gd name="connsiteY5" fmla="*/ 2340 h 27557"/>
              <a:gd name="connsiteX6" fmla="*/ 35499 w 43488"/>
              <a:gd name="connsiteY6" fmla="*/ 549 h 27557"/>
              <a:gd name="connsiteX7" fmla="*/ 38354 w 43488"/>
              <a:gd name="connsiteY7" fmla="*/ 5435 h 27557"/>
              <a:gd name="connsiteX8" fmla="*/ 42018 w 43488"/>
              <a:gd name="connsiteY8" fmla="*/ 10177 h 27557"/>
              <a:gd name="connsiteX9" fmla="*/ 41854 w 43488"/>
              <a:gd name="connsiteY9" fmla="*/ 15319 h 27557"/>
              <a:gd name="connsiteX10" fmla="*/ 43052 w 43488"/>
              <a:gd name="connsiteY10" fmla="*/ 23181 h 27557"/>
              <a:gd name="connsiteX11" fmla="*/ 35646 w 43488"/>
              <a:gd name="connsiteY11" fmla="*/ 25365 h 27557"/>
              <a:gd name="connsiteX12" fmla="*/ 34035 w 43488"/>
              <a:gd name="connsiteY12" fmla="*/ 26402 h 27557"/>
              <a:gd name="connsiteX13" fmla="*/ 26099 w 43488"/>
              <a:gd name="connsiteY13" fmla="*/ 26792 h 27557"/>
              <a:gd name="connsiteX14" fmla="*/ 23404 w 43488"/>
              <a:gd name="connsiteY14" fmla="*/ 26927 h 27557"/>
              <a:gd name="connsiteX15" fmla="*/ 15021 w 43488"/>
              <a:gd name="connsiteY15" fmla="*/ 26327 h 27557"/>
              <a:gd name="connsiteX16" fmla="*/ 8232 w 43488"/>
              <a:gd name="connsiteY16" fmla="*/ 25935 h 27557"/>
              <a:gd name="connsiteX17" fmla="*/ 5731 w 43488"/>
              <a:gd name="connsiteY17" fmla="*/ 26087 h 27557"/>
              <a:gd name="connsiteX18" fmla="*/ 2149 w 43488"/>
              <a:gd name="connsiteY18" fmla="*/ 25410 h 27557"/>
              <a:gd name="connsiteX19" fmla="*/ 31 w 43488"/>
              <a:gd name="connsiteY19" fmla="*/ 19563 h 27557"/>
              <a:gd name="connsiteX20" fmla="*/ 3899 w 43488"/>
              <a:gd name="connsiteY20" fmla="*/ 14366 h 27557"/>
              <a:gd name="connsiteX21" fmla="*/ 3936 w 43488"/>
              <a:gd name="connsiteY21" fmla="*/ 14229 h 27557"/>
              <a:gd name="connsiteX0" fmla="*/ 4729 w 43488"/>
              <a:gd name="connsiteY0" fmla="*/ 26036 h 27557"/>
              <a:gd name="connsiteX1" fmla="*/ 2196 w 43488"/>
              <a:gd name="connsiteY1" fmla="*/ 25239 h 27557"/>
              <a:gd name="connsiteX2" fmla="*/ 8160 w 43488"/>
              <a:gd name="connsiteY2" fmla="*/ 26172 h 27557"/>
              <a:gd name="connsiteX3" fmla="*/ 6653 w 43488"/>
              <a:gd name="connsiteY3" fmla="*/ 26229 h 27557"/>
              <a:gd name="connsiteX4" fmla="*/ 10234 w 43488"/>
              <a:gd name="connsiteY4" fmla="*/ 26961 h 27557"/>
              <a:gd name="connsiteX5" fmla="*/ 10962 w 43488"/>
              <a:gd name="connsiteY5" fmla="*/ 26517 h 27557"/>
              <a:gd name="connsiteX6" fmla="*/ 29860 w 43488"/>
              <a:gd name="connsiteY6" fmla="*/ 26510 h 27557"/>
              <a:gd name="connsiteX7" fmla="*/ 27898 w 43488"/>
              <a:gd name="connsiteY7" fmla="*/ 26961 h 27557"/>
              <a:gd name="connsiteX8" fmla="*/ 34165 w 43488"/>
              <a:gd name="connsiteY8" fmla="*/ 22813 h 27557"/>
              <a:gd name="connsiteX9" fmla="*/ 38512 w 43488"/>
              <a:gd name="connsiteY9" fmla="*/ 26709 h 27557"/>
              <a:gd name="connsiteX10" fmla="*/ 41834 w 43488"/>
              <a:gd name="connsiteY10" fmla="*/ 15213 h 27557"/>
              <a:gd name="connsiteX11" fmla="*/ 40386 w 43488"/>
              <a:gd name="connsiteY11" fmla="*/ 17889 h 27557"/>
              <a:gd name="connsiteX12" fmla="*/ 38360 w 43488"/>
              <a:gd name="connsiteY12" fmla="*/ 5285 h 27557"/>
              <a:gd name="connsiteX13" fmla="*/ 38436 w 43488"/>
              <a:gd name="connsiteY13" fmla="*/ 6549 h 27557"/>
              <a:gd name="connsiteX14" fmla="*/ 29114 w 43488"/>
              <a:gd name="connsiteY14" fmla="*/ 3811 h 27557"/>
              <a:gd name="connsiteX15" fmla="*/ 29856 w 43488"/>
              <a:gd name="connsiteY15" fmla="*/ 2199 h 27557"/>
              <a:gd name="connsiteX16" fmla="*/ 22177 w 43488"/>
              <a:gd name="connsiteY16" fmla="*/ 4579 h 27557"/>
              <a:gd name="connsiteX17" fmla="*/ 22536 w 43488"/>
              <a:gd name="connsiteY17" fmla="*/ 3189 h 27557"/>
              <a:gd name="connsiteX18" fmla="*/ 14036 w 43488"/>
              <a:gd name="connsiteY18" fmla="*/ 5051 h 27557"/>
              <a:gd name="connsiteX19" fmla="*/ 15336 w 43488"/>
              <a:gd name="connsiteY19" fmla="*/ 6399 h 27557"/>
              <a:gd name="connsiteX20" fmla="*/ 4163 w 43488"/>
              <a:gd name="connsiteY20" fmla="*/ 15648 h 27557"/>
              <a:gd name="connsiteX21" fmla="*/ 3936 w 43488"/>
              <a:gd name="connsiteY21" fmla="*/ 14229 h 27557"/>
              <a:gd name="connsiteX0" fmla="*/ 3936 w 43488"/>
              <a:gd name="connsiteY0" fmla="*/ 14229 h 27557"/>
              <a:gd name="connsiteX1" fmla="*/ 5659 w 43488"/>
              <a:gd name="connsiteY1" fmla="*/ 6766 h 27557"/>
              <a:gd name="connsiteX2" fmla="*/ 14041 w 43488"/>
              <a:gd name="connsiteY2" fmla="*/ 5061 h 27557"/>
              <a:gd name="connsiteX3" fmla="*/ 22492 w 43488"/>
              <a:gd name="connsiteY3" fmla="*/ 3291 h 27557"/>
              <a:gd name="connsiteX4" fmla="*/ 25785 w 43488"/>
              <a:gd name="connsiteY4" fmla="*/ 59 h 27557"/>
              <a:gd name="connsiteX5" fmla="*/ 29869 w 43488"/>
              <a:gd name="connsiteY5" fmla="*/ 2340 h 27557"/>
              <a:gd name="connsiteX6" fmla="*/ 35499 w 43488"/>
              <a:gd name="connsiteY6" fmla="*/ 549 h 27557"/>
              <a:gd name="connsiteX7" fmla="*/ 38354 w 43488"/>
              <a:gd name="connsiteY7" fmla="*/ 5435 h 27557"/>
              <a:gd name="connsiteX8" fmla="*/ 42018 w 43488"/>
              <a:gd name="connsiteY8" fmla="*/ 10177 h 27557"/>
              <a:gd name="connsiteX9" fmla="*/ 41854 w 43488"/>
              <a:gd name="connsiteY9" fmla="*/ 15319 h 27557"/>
              <a:gd name="connsiteX10" fmla="*/ 43052 w 43488"/>
              <a:gd name="connsiteY10" fmla="*/ 23181 h 27557"/>
              <a:gd name="connsiteX11" fmla="*/ 35646 w 43488"/>
              <a:gd name="connsiteY11" fmla="*/ 25365 h 27557"/>
              <a:gd name="connsiteX12" fmla="*/ 34035 w 43488"/>
              <a:gd name="connsiteY12" fmla="*/ 26402 h 27557"/>
              <a:gd name="connsiteX13" fmla="*/ 26099 w 43488"/>
              <a:gd name="connsiteY13" fmla="*/ 26792 h 27557"/>
              <a:gd name="connsiteX14" fmla="*/ 23404 w 43488"/>
              <a:gd name="connsiteY14" fmla="*/ 26927 h 27557"/>
              <a:gd name="connsiteX15" fmla="*/ 15021 w 43488"/>
              <a:gd name="connsiteY15" fmla="*/ 26327 h 27557"/>
              <a:gd name="connsiteX16" fmla="*/ 8232 w 43488"/>
              <a:gd name="connsiteY16" fmla="*/ 25935 h 27557"/>
              <a:gd name="connsiteX17" fmla="*/ 5731 w 43488"/>
              <a:gd name="connsiteY17" fmla="*/ 26087 h 27557"/>
              <a:gd name="connsiteX18" fmla="*/ 2149 w 43488"/>
              <a:gd name="connsiteY18" fmla="*/ 25410 h 27557"/>
              <a:gd name="connsiteX19" fmla="*/ 31 w 43488"/>
              <a:gd name="connsiteY19" fmla="*/ 19563 h 27557"/>
              <a:gd name="connsiteX20" fmla="*/ 3899 w 43488"/>
              <a:gd name="connsiteY20" fmla="*/ 14366 h 27557"/>
              <a:gd name="connsiteX21" fmla="*/ 3936 w 43488"/>
              <a:gd name="connsiteY21" fmla="*/ 14229 h 27557"/>
              <a:gd name="connsiteX0" fmla="*/ 4729 w 43488"/>
              <a:gd name="connsiteY0" fmla="*/ 26036 h 27557"/>
              <a:gd name="connsiteX1" fmla="*/ 2196 w 43488"/>
              <a:gd name="connsiteY1" fmla="*/ 25239 h 27557"/>
              <a:gd name="connsiteX2" fmla="*/ 8160 w 43488"/>
              <a:gd name="connsiteY2" fmla="*/ 26172 h 27557"/>
              <a:gd name="connsiteX3" fmla="*/ 6653 w 43488"/>
              <a:gd name="connsiteY3" fmla="*/ 26229 h 27557"/>
              <a:gd name="connsiteX4" fmla="*/ 10234 w 43488"/>
              <a:gd name="connsiteY4" fmla="*/ 26961 h 27557"/>
              <a:gd name="connsiteX5" fmla="*/ 10962 w 43488"/>
              <a:gd name="connsiteY5" fmla="*/ 26517 h 27557"/>
              <a:gd name="connsiteX6" fmla="*/ 29860 w 43488"/>
              <a:gd name="connsiteY6" fmla="*/ 26510 h 27557"/>
              <a:gd name="connsiteX7" fmla="*/ 27898 w 43488"/>
              <a:gd name="connsiteY7" fmla="*/ 26961 h 27557"/>
              <a:gd name="connsiteX8" fmla="*/ 33966 w 43488"/>
              <a:gd name="connsiteY8" fmla="*/ 25567 h 27557"/>
              <a:gd name="connsiteX9" fmla="*/ 38512 w 43488"/>
              <a:gd name="connsiteY9" fmla="*/ 26709 h 27557"/>
              <a:gd name="connsiteX10" fmla="*/ 41834 w 43488"/>
              <a:gd name="connsiteY10" fmla="*/ 15213 h 27557"/>
              <a:gd name="connsiteX11" fmla="*/ 40386 w 43488"/>
              <a:gd name="connsiteY11" fmla="*/ 17889 h 27557"/>
              <a:gd name="connsiteX12" fmla="*/ 38360 w 43488"/>
              <a:gd name="connsiteY12" fmla="*/ 5285 h 27557"/>
              <a:gd name="connsiteX13" fmla="*/ 38436 w 43488"/>
              <a:gd name="connsiteY13" fmla="*/ 6549 h 27557"/>
              <a:gd name="connsiteX14" fmla="*/ 29114 w 43488"/>
              <a:gd name="connsiteY14" fmla="*/ 3811 h 27557"/>
              <a:gd name="connsiteX15" fmla="*/ 29856 w 43488"/>
              <a:gd name="connsiteY15" fmla="*/ 2199 h 27557"/>
              <a:gd name="connsiteX16" fmla="*/ 22177 w 43488"/>
              <a:gd name="connsiteY16" fmla="*/ 4579 h 27557"/>
              <a:gd name="connsiteX17" fmla="*/ 22536 w 43488"/>
              <a:gd name="connsiteY17" fmla="*/ 3189 h 27557"/>
              <a:gd name="connsiteX18" fmla="*/ 14036 w 43488"/>
              <a:gd name="connsiteY18" fmla="*/ 5051 h 27557"/>
              <a:gd name="connsiteX19" fmla="*/ 15336 w 43488"/>
              <a:gd name="connsiteY19" fmla="*/ 6399 h 27557"/>
              <a:gd name="connsiteX20" fmla="*/ 4163 w 43488"/>
              <a:gd name="connsiteY20" fmla="*/ 15648 h 27557"/>
              <a:gd name="connsiteX21" fmla="*/ 3936 w 43488"/>
              <a:gd name="connsiteY21" fmla="*/ 14229 h 2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88" h="27557">
                <a:moveTo>
                  <a:pt x="3936" y="14229"/>
                </a:moveTo>
                <a:cubicBezTo>
                  <a:pt x="3665" y="11516"/>
                  <a:pt x="4297" y="8780"/>
                  <a:pt x="5659" y="6766"/>
                </a:cubicBezTo>
                <a:cubicBezTo>
                  <a:pt x="7811" y="3585"/>
                  <a:pt x="11300" y="2876"/>
                  <a:pt x="14041" y="5061"/>
                </a:cubicBezTo>
                <a:cubicBezTo>
                  <a:pt x="15714" y="768"/>
                  <a:pt x="19950" y="-119"/>
                  <a:pt x="22492" y="3291"/>
                </a:cubicBezTo>
                <a:cubicBezTo>
                  <a:pt x="23133" y="1542"/>
                  <a:pt x="24364" y="333"/>
                  <a:pt x="25785" y="59"/>
                </a:cubicBezTo>
                <a:cubicBezTo>
                  <a:pt x="27349" y="-243"/>
                  <a:pt x="28911" y="629"/>
                  <a:pt x="29869" y="2340"/>
                </a:cubicBezTo>
                <a:cubicBezTo>
                  <a:pt x="31251" y="126"/>
                  <a:pt x="33537" y="-601"/>
                  <a:pt x="35499" y="549"/>
                </a:cubicBezTo>
                <a:cubicBezTo>
                  <a:pt x="36994" y="1425"/>
                  <a:pt x="38066" y="3259"/>
                  <a:pt x="38354" y="5435"/>
                </a:cubicBezTo>
                <a:cubicBezTo>
                  <a:pt x="40082" y="6077"/>
                  <a:pt x="41458" y="7857"/>
                  <a:pt x="42018" y="10177"/>
                </a:cubicBezTo>
                <a:cubicBezTo>
                  <a:pt x="42425" y="11861"/>
                  <a:pt x="42367" y="13690"/>
                  <a:pt x="41854" y="15319"/>
                </a:cubicBezTo>
                <a:cubicBezTo>
                  <a:pt x="43115" y="17553"/>
                  <a:pt x="44087" y="21507"/>
                  <a:pt x="43052" y="23181"/>
                </a:cubicBezTo>
                <a:cubicBezTo>
                  <a:pt x="42017" y="24855"/>
                  <a:pt x="38370" y="24835"/>
                  <a:pt x="35646" y="25365"/>
                </a:cubicBezTo>
                <a:cubicBezTo>
                  <a:pt x="35633" y="27632"/>
                  <a:pt x="35626" y="26164"/>
                  <a:pt x="34035" y="26402"/>
                </a:cubicBezTo>
                <a:cubicBezTo>
                  <a:pt x="32444" y="26640"/>
                  <a:pt x="28248" y="28616"/>
                  <a:pt x="26099" y="26792"/>
                </a:cubicBezTo>
                <a:cubicBezTo>
                  <a:pt x="25005" y="28305"/>
                  <a:pt x="25250" y="27005"/>
                  <a:pt x="23404" y="26927"/>
                </a:cubicBezTo>
                <a:cubicBezTo>
                  <a:pt x="21558" y="26849"/>
                  <a:pt x="18286" y="26618"/>
                  <a:pt x="15021" y="26327"/>
                </a:cubicBezTo>
                <a:cubicBezTo>
                  <a:pt x="12609" y="27265"/>
                  <a:pt x="10284" y="26040"/>
                  <a:pt x="8232" y="25935"/>
                </a:cubicBezTo>
                <a:cubicBezTo>
                  <a:pt x="6118" y="26272"/>
                  <a:pt x="6745" y="26174"/>
                  <a:pt x="5731" y="26087"/>
                </a:cubicBezTo>
                <a:cubicBezTo>
                  <a:pt x="4717" y="26000"/>
                  <a:pt x="1096" y="26936"/>
                  <a:pt x="2149" y="25410"/>
                </a:cubicBezTo>
                <a:cubicBezTo>
                  <a:pt x="655" y="24213"/>
                  <a:pt x="-177" y="21916"/>
                  <a:pt x="31" y="19563"/>
                </a:cubicBezTo>
                <a:cubicBezTo>
                  <a:pt x="275" y="16808"/>
                  <a:pt x="1881" y="14650"/>
                  <a:pt x="3899" y="14366"/>
                </a:cubicBezTo>
                <a:cubicBezTo>
                  <a:pt x="3911" y="14320"/>
                  <a:pt x="3924" y="14275"/>
                  <a:pt x="3936" y="14229"/>
                </a:cubicBezTo>
                <a:close/>
              </a:path>
              <a:path w="43488" h="27557" fill="none" extrusionOk="0">
                <a:moveTo>
                  <a:pt x="4729" y="26036"/>
                </a:moveTo>
                <a:cubicBezTo>
                  <a:pt x="3845" y="26130"/>
                  <a:pt x="2961" y="25852"/>
                  <a:pt x="2196" y="25239"/>
                </a:cubicBezTo>
                <a:moveTo>
                  <a:pt x="8160" y="26172"/>
                </a:moveTo>
                <a:cubicBezTo>
                  <a:pt x="7805" y="26365"/>
                  <a:pt x="7033" y="26169"/>
                  <a:pt x="6653" y="26229"/>
                </a:cubicBezTo>
                <a:moveTo>
                  <a:pt x="10234" y="26961"/>
                </a:moveTo>
                <a:cubicBezTo>
                  <a:pt x="9967" y="26415"/>
                  <a:pt x="11139" y="27128"/>
                  <a:pt x="10962" y="26517"/>
                </a:cubicBezTo>
                <a:moveTo>
                  <a:pt x="29860" y="26510"/>
                </a:moveTo>
                <a:cubicBezTo>
                  <a:pt x="29821" y="27157"/>
                  <a:pt x="28036" y="26339"/>
                  <a:pt x="27898" y="26961"/>
                </a:cubicBezTo>
                <a:moveTo>
                  <a:pt x="33966" y="25567"/>
                </a:moveTo>
                <a:cubicBezTo>
                  <a:pt x="35970" y="26895"/>
                  <a:pt x="38530" y="23677"/>
                  <a:pt x="38512" y="26709"/>
                </a:cubicBezTo>
                <a:moveTo>
                  <a:pt x="41834" y="15213"/>
                </a:moveTo>
                <a:cubicBezTo>
                  <a:pt x="41509" y="16245"/>
                  <a:pt x="41014" y="17161"/>
                  <a:pt x="40386" y="17889"/>
                </a:cubicBezTo>
                <a:moveTo>
                  <a:pt x="38360" y="5285"/>
                </a:moveTo>
                <a:cubicBezTo>
                  <a:pt x="38415" y="5702"/>
                  <a:pt x="38441" y="6125"/>
                  <a:pt x="38436" y="6549"/>
                </a:cubicBezTo>
                <a:moveTo>
                  <a:pt x="29114" y="3811"/>
                </a:moveTo>
                <a:cubicBezTo>
                  <a:pt x="29303" y="3228"/>
                  <a:pt x="29552" y="2685"/>
                  <a:pt x="29856" y="2199"/>
                </a:cubicBezTo>
                <a:moveTo>
                  <a:pt x="22177" y="4579"/>
                </a:moveTo>
                <a:cubicBezTo>
                  <a:pt x="22254" y="4097"/>
                  <a:pt x="22375" y="3630"/>
                  <a:pt x="22536" y="3189"/>
                </a:cubicBezTo>
                <a:moveTo>
                  <a:pt x="14036" y="5051"/>
                </a:moveTo>
                <a:cubicBezTo>
                  <a:pt x="14508" y="5427"/>
                  <a:pt x="14944" y="5880"/>
                  <a:pt x="15336" y="6399"/>
                </a:cubicBezTo>
                <a:moveTo>
                  <a:pt x="4163" y="15648"/>
                </a:moveTo>
                <a:cubicBezTo>
                  <a:pt x="4060" y="15184"/>
                  <a:pt x="3984" y="14710"/>
                  <a:pt x="3936" y="14229"/>
                </a:cubicBez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 name="Title 1"/>
          <p:cNvSpPr>
            <a:spLocks noGrp="1"/>
          </p:cNvSpPr>
          <p:nvPr>
            <p:ph type="title"/>
          </p:nvPr>
        </p:nvSpPr>
        <p:spPr/>
        <p:txBody>
          <a:bodyPr/>
          <a:lstStyle/>
          <a:p>
            <a:r>
              <a:rPr lang="en-IN" sz="2400" dirty="0" smtClean="0"/>
              <a:t>Essential Business functions service for ERP and S4/HANA</a:t>
            </a:r>
            <a:endParaRPr lang="en-IN" sz="2400" dirty="0"/>
          </a:p>
        </p:txBody>
      </p:sp>
      <p:sp>
        <p:nvSpPr>
          <p:cNvPr id="5" name="Rounded Rectangle 4"/>
          <p:cNvSpPr/>
          <p:nvPr/>
        </p:nvSpPr>
        <p:spPr>
          <a:xfrm>
            <a:off x="4343400" y="2438400"/>
            <a:ext cx="2133600" cy="609600"/>
          </a:xfrm>
          <a:prstGeom prst="roundRect">
            <a:avLst/>
          </a:prstGeom>
          <a:solidFill>
            <a:schemeClr val="accent5">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Policy Service</a:t>
            </a:r>
          </a:p>
          <a:p>
            <a:pPr algn="ctr"/>
            <a:endParaRPr lang="en-IN" sz="1400" dirty="0" smtClean="0">
              <a:solidFill>
                <a:schemeClr val="tx2">
                  <a:lumMod val="50000"/>
                </a:schemeClr>
              </a:solidFill>
            </a:endParaRPr>
          </a:p>
        </p:txBody>
      </p:sp>
      <p:sp>
        <p:nvSpPr>
          <p:cNvPr id="6" name="Rectangle 5"/>
          <p:cNvSpPr/>
          <p:nvPr/>
        </p:nvSpPr>
        <p:spPr>
          <a:xfrm>
            <a:off x="4591410" y="2898648"/>
            <a:ext cx="1638060" cy="29870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tx2">
                    <a:lumMod val="50000"/>
                  </a:schemeClr>
                </a:solidFill>
              </a:rPr>
              <a:t>SAP Cloud Platform IoT</a:t>
            </a:r>
          </a:p>
        </p:txBody>
      </p:sp>
      <p:sp>
        <p:nvSpPr>
          <p:cNvPr id="7" name="Rectangle 6"/>
          <p:cNvSpPr/>
          <p:nvPr/>
        </p:nvSpPr>
        <p:spPr>
          <a:xfrm>
            <a:off x="6820140" y="2362200"/>
            <a:ext cx="952260" cy="304800"/>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bg1"/>
                </a:solidFill>
              </a:rPr>
              <a:t>S/4 HANA</a:t>
            </a:r>
          </a:p>
        </p:txBody>
      </p:sp>
      <p:sp>
        <p:nvSpPr>
          <p:cNvPr id="8" name="Rectangle 7"/>
          <p:cNvSpPr/>
          <p:nvPr/>
        </p:nvSpPr>
        <p:spPr>
          <a:xfrm>
            <a:off x="6820140" y="2667000"/>
            <a:ext cx="952260" cy="231648"/>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tx2">
                    <a:lumMod val="50000"/>
                  </a:schemeClr>
                </a:solidFill>
              </a:rPr>
              <a:t>EBF Service</a:t>
            </a:r>
          </a:p>
        </p:txBody>
      </p:sp>
      <p:sp>
        <p:nvSpPr>
          <p:cNvPr id="9" name="Rectangle 8"/>
          <p:cNvSpPr/>
          <p:nvPr/>
        </p:nvSpPr>
        <p:spPr>
          <a:xfrm>
            <a:off x="8506005" y="2362200"/>
            <a:ext cx="952260" cy="304800"/>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bg1"/>
                </a:solidFill>
              </a:rPr>
              <a:t>ERP</a:t>
            </a:r>
          </a:p>
        </p:txBody>
      </p:sp>
      <p:sp>
        <p:nvSpPr>
          <p:cNvPr id="10" name="Rectangle 9"/>
          <p:cNvSpPr/>
          <p:nvPr/>
        </p:nvSpPr>
        <p:spPr>
          <a:xfrm>
            <a:off x="8506005" y="2667000"/>
            <a:ext cx="952260" cy="304800"/>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tx2">
                    <a:lumMod val="50000"/>
                  </a:schemeClr>
                </a:solidFill>
              </a:rPr>
              <a:t>EBF Service</a:t>
            </a:r>
          </a:p>
        </p:txBody>
      </p:sp>
      <p:sp>
        <p:nvSpPr>
          <p:cNvPr id="11" name="Rectangle 10"/>
          <p:cNvSpPr/>
          <p:nvPr/>
        </p:nvSpPr>
        <p:spPr>
          <a:xfrm>
            <a:off x="7722669" y="3258312"/>
            <a:ext cx="952260" cy="304800"/>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bg1"/>
                </a:solidFill>
              </a:rPr>
              <a:t>S/4 HANA</a:t>
            </a:r>
          </a:p>
        </p:txBody>
      </p:sp>
      <p:sp>
        <p:nvSpPr>
          <p:cNvPr id="12" name="Rectangle 11"/>
          <p:cNvSpPr/>
          <p:nvPr/>
        </p:nvSpPr>
        <p:spPr>
          <a:xfrm>
            <a:off x="7722669" y="3563112"/>
            <a:ext cx="952260" cy="231648"/>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tx2">
                    <a:lumMod val="50000"/>
                  </a:schemeClr>
                </a:solidFill>
              </a:rPr>
              <a:t>EBF Service</a:t>
            </a:r>
          </a:p>
        </p:txBody>
      </p:sp>
      <p:sp>
        <p:nvSpPr>
          <p:cNvPr id="13" name="TextBox 12"/>
          <p:cNvSpPr txBox="1"/>
          <p:nvPr/>
        </p:nvSpPr>
        <p:spPr>
          <a:xfrm>
            <a:off x="4591410" y="2150548"/>
            <a:ext cx="1638060" cy="276999"/>
          </a:xfrm>
          <a:prstGeom prst="rect">
            <a:avLst/>
          </a:prstGeom>
          <a:noFill/>
        </p:spPr>
        <p:txBody>
          <a:bodyPr wrap="square" rtlCol="0">
            <a:spAutoFit/>
          </a:bodyPr>
          <a:lstStyle/>
          <a:p>
            <a:r>
              <a:rPr lang="en-IN" sz="1200" dirty="0" smtClean="0">
                <a:solidFill>
                  <a:schemeClr val="tx2">
                    <a:lumMod val="50000"/>
                  </a:schemeClr>
                </a:solidFill>
              </a:rPr>
              <a:t>SAP Cloud Platform</a:t>
            </a:r>
          </a:p>
        </p:txBody>
      </p:sp>
      <p:sp>
        <p:nvSpPr>
          <p:cNvPr id="14" name="Rectangle 13"/>
          <p:cNvSpPr/>
          <p:nvPr/>
        </p:nvSpPr>
        <p:spPr>
          <a:xfrm>
            <a:off x="3962400" y="3962400"/>
            <a:ext cx="4712529" cy="1645932"/>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5" name="Rectangle 14"/>
          <p:cNvSpPr/>
          <p:nvPr/>
        </p:nvSpPr>
        <p:spPr>
          <a:xfrm>
            <a:off x="4177284" y="4258056"/>
            <a:ext cx="609600" cy="3048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6" name="Rectangle 15"/>
          <p:cNvSpPr/>
          <p:nvPr/>
        </p:nvSpPr>
        <p:spPr>
          <a:xfrm>
            <a:off x="4253484" y="4120896"/>
            <a:ext cx="76200" cy="50292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7" name="Rectangle 16"/>
          <p:cNvSpPr/>
          <p:nvPr/>
        </p:nvSpPr>
        <p:spPr>
          <a:xfrm>
            <a:off x="4634484" y="4120896"/>
            <a:ext cx="76200" cy="50292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8" name="Rectangle 17"/>
          <p:cNvSpPr/>
          <p:nvPr/>
        </p:nvSpPr>
        <p:spPr>
          <a:xfrm>
            <a:off x="4191000" y="5123688"/>
            <a:ext cx="609600" cy="3048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9" name="Rectangle 18"/>
          <p:cNvSpPr/>
          <p:nvPr/>
        </p:nvSpPr>
        <p:spPr>
          <a:xfrm>
            <a:off x="4267200" y="4986528"/>
            <a:ext cx="76200" cy="50292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0" name="Rectangle 19"/>
          <p:cNvSpPr/>
          <p:nvPr/>
        </p:nvSpPr>
        <p:spPr>
          <a:xfrm>
            <a:off x="4648200" y="4986528"/>
            <a:ext cx="76200" cy="50292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1" name="Rectangle 20"/>
          <p:cNvSpPr/>
          <p:nvPr/>
        </p:nvSpPr>
        <p:spPr>
          <a:xfrm>
            <a:off x="7299960" y="4221480"/>
            <a:ext cx="609600" cy="3048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2" name="Rectangle 21"/>
          <p:cNvSpPr/>
          <p:nvPr/>
        </p:nvSpPr>
        <p:spPr>
          <a:xfrm>
            <a:off x="7376160" y="4084320"/>
            <a:ext cx="76200" cy="50292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3" name="Rectangle 22"/>
          <p:cNvSpPr/>
          <p:nvPr/>
        </p:nvSpPr>
        <p:spPr>
          <a:xfrm>
            <a:off x="7757160" y="4084320"/>
            <a:ext cx="76200" cy="50292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4" name="Rectangle 23"/>
          <p:cNvSpPr/>
          <p:nvPr/>
        </p:nvSpPr>
        <p:spPr>
          <a:xfrm>
            <a:off x="7757160" y="4910328"/>
            <a:ext cx="609600" cy="3048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5" name="Rectangle 24"/>
          <p:cNvSpPr/>
          <p:nvPr/>
        </p:nvSpPr>
        <p:spPr>
          <a:xfrm>
            <a:off x="7833360" y="4773168"/>
            <a:ext cx="76200" cy="50292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6" name="Rectangle 25"/>
          <p:cNvSpPr/>
          <p:nvPr/>
        </p:nvSpPr>
        <p:spPr>
          <a:xfrm>
            <a:off x="8214360" y="4773168"/>
            <a:ext cx="76200" cy="50292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9" name="Round Same Side Corner Rectangle 28"/>
          <p:cNvSpPr/>
          <p:nvPr/>
        </p:nvSpPr>
        <p:spPr>
          <a:xfrm>
            <a:off x="6229470" y="3657600"/>
            <a:ext cx="841890" cy="929640"/>
          </a:xfrm>
          <a:prstGeom prst="round2Same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smtClean="0">
                <a:solidFill>
                  <a:schemeClr val="tx2">
                    <a:lumMod val="50000"/>
                  </a:schemeClr>
                </a:solidFill>
              </a:rPr>
              <a:t>Essential</a:t>
            </a:r>
          </a:p>
          <a:p>
            <a:pPr algn="ctr"/>
            <a:r>
              <a:rPr lang="en-IN" sz="900" dirty="0" smtClean="0">
                <a:solidFill>
                  <a:schemeClr val="tx2">
                    <a:lumMod val="50000"/>
                  </a:schemeClr>
                </a:solidFill>
              </a:rPr>
              <a:t>Business</a:t>
            </a:r>
          </a:p>
          <a:p>
            <a:pPr algn="ctr"/>
            <a:r>
              <a:rPr lang="en-IN" sz="900" dirty="0" smtClean="0">
                <a:solidFill>
                  <a:schemeClr val="tx2">
                    <a:lumMod val="50000"/>
                  </a:schemeClr>
                </a:solidFill>
              </a:rPr>
              <a:t>Functional</a:t>
            </a:r>
          </a:p>
          <a:p>
            <a:pPr algn="ctr"/>
            <a:r>
              <a:rPr lang="en-IN" sz="900" dirty="0" smtClean="0">
                <a:solidFill>
                  <a:schemeClr val="tx2">
                    <a:lumMod val="50000"/>
                  </a:schemeClr>
                </a:solidFill>
              </a:rPr>
              <a:t>Service</a:t>
            </a:r>
          </a:p>
          <a:p>
            <a:pPr algn="ctr"/>
            <a:endParaRPr lang="en-IN" sz="900" dirty="0" smtClean="0">
              <a:solidFill>
                <a:schemeClr val="tx2">
                  <a:lumMod val="50000"/>
                </a:schemeClr>
              </a:solidFill>
            </a:endParaRPr>
          </a:p>
        </p:txBody>
      </p:sp>
      <p:sp>
        <p:nvSpPr>
          <p:cNvPr id="33" name="Can 32"/>
          <p:cNvSpPr/>
          <p:nvPr/>
        </p:nvSpPr>
        <p:spPr>
          <a:xfrm>
            <a:off x="6305670" y="4367230"/>
            <a:ext cx="304800" cy="141316"/>
          </a:xfrm>
          <a:prstGeom prst="can">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4" name="Can 33"/>
          <p:cNvSpPr/>
          <p:nvPr/>
        </p:nvSpPr>
        <p:spPr>
          <a:xfrm>
            <a:off x="6305670" y="4470938"/>
            <a:ext cx="304800" cy="83574"/>
          </a:xfrm>
          <a:prstGeom prst="can">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5" name="Can 34"/>
          <p:cNvSpPr/>
          <p:nvPr/>
        </p:nvSpPr>
        <p:spPr>
          <a:xfrm>
            <a:off x="6305670" y="4581698"/>
            <a:ext cx="304800" cy="76200"/>
          </a:xfrm>
          <a:prstGeom prst="can">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cxnSp>
        <p:nvCxnSpPr>
          <p:cNvPr id="39" name="Straight Connector 38"/>
          <p:cNvCxnSpPr/>
          <p:nvPr/>
        </p:nvCxnSpPr>
        <p:spPr>
          <a:xfrm flipV="1">
            <a:off x="7071360" y="4114800"/>
            <a:ext cx="2072640" cy="762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9144000" y="2998470"/>
            <a:ext cx="0" cy="111633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endCxn id="12" idx="2"/>
          </p:cNvCxnSpPr>
          <p:nvPr/>
        </p:nvCxnSpPr>
        <p:spPr>
          <a:xfrm flipV="1">
            <a:off x="8198799" y="3794760"/>
            <a:ext cx="0" cy="32004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071360" y="3794760"/>
            <a:ext cx="304800" cy="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7374636" y="2898648"/>
            <a:ext cx="0" cy="896112"/>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2" name="Right Brace 51"/>
          <p:cNvSpPr/>
          <p:nvPr/>
        </p:nvSpPr>
        <p:spPr>
          <a:xfrm>
            <a:off x="8743628" y="3867156"/>
            <a:ext cx="390465" cy="1836420"/>
          </a:xfrm>
          <a:prstGeom prst="rightBrace">
            <a:avLst/>
          </a:prstGeom>
          <a:ln w="38100">
            <a:solidFill>
              <a:schemeClr val="accent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53" name="TextBox 52"/>
          <p:cNvSpPr txBox="1"/>
          <p:nvPr/>
        </p:nvSpPr>
        <p:spPr>
          <a:xfrm>
            <a:off x="9168223" y="4608653"/>
            <a:ext cx="850071" cy="307777"/>
          </a:xfrm>
          <a:prstGeom prst="rect">
            <a:avLst/>
          </a:prstGeom>
          <a:noFill/>
        </p:spPr>
        <p:txBody>
          <a:bodyPr wrap="square" rtlCol="0">
            <a:spAutoFit/>
          </a:bodyPr>
          <a:lstStyle/>
          <a:p>
            <a:r>
              <a:rPr lang="en-IN" sz="1400" dirty="0" smtClean="0">
                <a:solidFill>
                  <a:schemeClr val="tx2">
                    <a:lumMod val="50000"/>
                  </a:schemeClr>
                </a:solidFill>
              </a:rPr>
              <a:t>EDGE</a:t>
            </a:r>
          </a:p>
        </p:txBody>
      </p:sp>
      <p:cxnSp>
        <p:nvCxnSpPr>
          <p:cNvPr id="55" name="Straight Connector 54"/>
          <p:cNvCxnSpPr/>
          <p:nvPr/>
        </p:nvCxnSpPr>
        <p:spPr>
          <a:xfrm>
            <a:off x="5791200" y="3258312"/>
            <a:ext cx="0" cy="2609088"/>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276970" y="4623816"/>
            <a:ext cx="1638060" cy="29870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tx2">
                    <a:lumMod val="50000"/>
                  </a:schemeClr>
                </a:solidFill>
              </a:rPr>
              <a:t>IoT Edge Gateway</a:t>
            </a:r>
          </a:p>
        </p:txBody>
      </p:sp>
      <p:sp>
        <p:nvSpPr>
          <p:cNvPr id="28" name="Rectangle 27"/>
          <p:cNvSpPr/>
          <p:nvPr/>
        </p:nvSpPr>
        <p:spPr>
          <a:xfrm>
            <a:off x="5276970" y="4922520"/>
            <a:ext cx="1638060" cy="298704"/>
          </a:xfrm>
          <a:prstGeom prst="rect">
            <a:avLst/>
          </a:prstGeom>
          <a:solidFill>
            <a:schemeClr val="tx2">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bg1"/>
                </a:solidFill>
              </a:rPr>
              <a:t>IoT Gateway Hardware</a:t>
            </a:r>
          </a:p>
        </p:txBody>
      </p:sp>
      <p:sp>
        <p:nvSpPr>
          <p:cNvPr id="58" name="Rectangle 57"/>
          <p:cNvSpPr/>
          <p:nvPr/>
        </p:nvSpPr>
        <p:spPr>
          <a:xfrm>
            <a:off x="146144" y="1795552"/>
            <a:ext cx="3194785" cy="4154984"/>
          </a:xfrm>
          <a:prstGeom prst="rect">
            <a:avLst/>
          </a:prstGeom>
        </p:spPr>
        <p:txBody>
          <a:bodyPr wrap="square">
            <a:spAutoFit/>
          </a:bodyPr>
          <a:lstStyle/>
          <a:p>
            <a:r>
              <a:rPr lang="en-IN" sz="1600" b="1" dirty="0">
                <a:solidFill>
                  <a:srgbClr val="000000"/>
                </a:solidFill>
                <a:latin typeface="Arial" panose="020B0604020202020204" pitchFamily="34" charset="0"/>
              </a:rPr>
              <a:t>Essential Business </a:t>
            </a:r>
            <a:r>
              <a:rPr lang="en-IN" sz="1600" b="1" dirty="0" smtClean="0">
                <a:solidFill>
                  <a:srgbClr val="000000"/>
                </a:solidFill>
                <a:latin typeface="Arial" panose="020B0604020202020204" pitchFamily="34" charset="0"/>
              </a:rPr>
              <a:t>Functions Service </a:t>
            </a:r>
            <a:r>
              <a:rPr lang="en-IN" sz="1600" dirty="0">
                <a:solidFill>
                  <a:srgbClr val="000000"/>
                </a:solidFill>
                <a:latin typeface="Arial" panose="020B0604020202020204" pitchFamily="34" charset="0"/>
              </a:rPr>
              <a:t>provides </a:t>
            </a:r>
            <a:r>
              <a:rPr lang="en-IN" sz="1600" dirty="0" smtClean="0">
                <a:solidFill>
                  <a:srgbClr val="000000"/>
                </a:solidFill>
                <a:latin typeface="Arial" panose="020B0604020202020204" pitchFamily="34" charset="0"/>
              </a:rPr>
              <a:t>business context (data </a:t>
            </a:r>
            <a:r>
              <a:rPr lang="en-IN" sz="1600" dirty="0">
                <a:solidFill>
                  <a:srgbClr val="000000"/>
                </a:solidFill>
                <a:latin typeface="Arial" panose="020B0604020202020204" pitchFamily="34" charset="0"/>
              </a:rPr>
              <a:t>and transactions) from </a:t>
            </a:r>
            <a:r>
              <a:rPr lang="en-IN" sz="1600" dirty="0" smtClean="0">
                <a:solidFill>
                  <a:srgbClr val="000000"/>
                </a:solidFill>
                <a:latin typeface="Arial" panose="020B0604020202020204" pitchFamily="34" charset="0"/>
              </a:rPr>
              <a:t>ERP systems </a:t>
            </a:r>
            <a:r>
              <a:rPr lang="en-IN" sz="1600" dirty="0">
                <a:solidFill>
                  <a:srgbClr val="000000"/>
                </a:solidFill>
                <a:latin typeface="Arial" panose="020B0604020202020204" pitchFamily="34" charset="0"/>
              </a:rPr>
              <a:t>and S/4HANA at </a:t>
            </a:r>
            <a:r>
              <a:rPr lang="en-IN" sz="1600" dirty="0" smtClean="0">
                <a:solidFill>
                  <a:srgbClr val="000000"/>
                </a:solidFill>
                <a:latin typeface="Arial" panose="020B0604020202020204" pitchFamily="34" charset="0"/>
              </a:rPr>
              <a:t>the edge</a:t>
            </a:r>
          </a:p>
          <a:p>
            <a:pPr marL="285750" indent="-285750">
              <a:buFont typeface="Wingdings" panose="05000000000000000000" pitchFamily="2" charset="2"/>
              <a:buChar char="Ø"/>
            </a:pPr>
            <a:endParaRPr lang="en-IN" sz="1600" dirty="0">
              <a:solidFill>
                <a:srgbClr val="000000"/>
              </a:solidFill>
              <a:latin typeface="Arial" panose="020B0604020202020204" pitchFamily="34" charset="0"/>
            </a:endParaRPr>
          </a:p>
          <a:p>
            <a:pPr marL="285750" indent="-285750">
              <a:buFont typeface="Wingdings" panose="05000000000000000000" pitchFamily="2" charset="2"/>
              <a:buChar char="Ø"/>
            </a:pPr>
            <a:r>
              <a:rPr lang="en-IN" sz="1400" dirty="0" smtClean="0">
                <a:solidFill>
                  <a:srgbClr val="000000"/>
                </a:solidFill>
                <a:latin typeface="Arial" panose="020B0604020202020204" pitchFamily="34" charset="0"/>
              </a:rPr>
              <a:t>Edge </a:t>
            </a:r>
            <a:r>
              <a:rPr lang="en-IN" sz="1400" dirty="0">
                <a:solidFill>
                  <a:srgbClr val="000000"/>
                </a:solidFill>
                <a:latin typeface="Arial" panose="020B0604020202020204" pitchFamily="34" charset="0"/>
              </a:rPr>
              <a:t>Services can be extended to </a:t>
            </a:r>
            <a:r>
              <a:rPr lang="en-IN" sz="1400" dirty="0" smtClean="0">
                <a:solidFill>
                  <a:srgbClr val="000000"/>
                </a:solidFill>
                <a:latin typeface="Arial" panose="020B0604020202020204" pitchFamily="34" charset="0"/>
              </a:rPr>
              <a:t>work with </a:t>
            </a:r>
            <a:r>
              <a:rPr lang="en-IN" sz="1400" dirty="0">
                <a:solidFill>
                  <a:srgbClr val="000000"/>
                </a:solidFill>
                <a:latin typeface="Arial" panose="020B0604020202020204" pitchFamily="34" charset="0"/>
              </a:rPr>
              <a:t>SAP ERP and </a:t>
            </a:r>
            <a:r>
              <a:rPr lang="en-IN" sz="1400" dirty="0" smtClean="0">
                <a:solidFill>
                  <a:srgbClr val="000000"/>
                </a:solidFill>
                <a:latin typeface="Arial" panose="020B0604020202020204" pitchFamily="34" charset="0"/>
              </a:rPr>
              <a:t>S4/HANA</a:t>
            </a:r>
          </a:p>
          <a:p>
            <a:pPr marL="285750" indent="-285750">
              <a:buFont typeface="Wingdings" panose="05000000000000000000" pitchFamily="2" charset="2"/>
              <a:buChar char="Ø"/>
            </a:pPr>
            <a:endParaRPr lang="en-IN" sz="1400" dirty="0" smtClean="0">
              <a:solidFill>
                <a:srgbClr val="000000"/>
              </a:solidFill>
              <a:latin typeface="Arial" panose="020B0604020202020204" pitchFamily="34" charset="0"/>
            </a:endParaRPr>
          </a:p>
          <a:p>
            <a:pPr marL="285750" indent="-285750">
              <a:buFont typeface="Wingdings" panose="05000000000000000000" pitchFamily="2" charset="2"/>
              <a:buChar char="Ø"/>
            </a:pPr>
            <a:r>
              <a:rPr lang="en-IN" sz="1400" dirty="0" smtClean="0">
                <a:solidFill>
                  <a:srgbClr val="000000"/>
                </a:solidFill>
                <a:latin typeface="Arial" panose="020B0604020202020204" pitchFamily="34" charset="0"/>
              </a:rPr>
              <a:t>Extends </a:t>
            </a:r>
            <a:r>
              <a:rPr lang="en-IN" sz="1400" dirty="0">
                <a:solidFill>
                  <a:srgbClr val="000000"/>
                </a:solidFill>
                <a:latin typeface="Arial" panose="020B0604020202020204" pitchFamily="34" charset="0"/>
              </a:rPr>
              <a:t>SAP Plant Maintenance (PM</a:t>
            </a:r>
            <a:r>
              <a:rPr lang="en-IN" sz="1400" dirty="0" smtClean="0">
                <a:solidFill>
                  <a:srgbClr val="000000"/>
                </a:solidFill>
                <a:latin typeface="Arial" panose="020B0604020202020204" pitchFamily="34" charset="0"/>
              </a:rPr>
              <a:t>), Materials </a:t>
            </a:r>
            <a:r>
              <a:rPr lang="en-IN" sz="1400" dirty="0">
                <a:solidFill>
                  <a:srgbClr val="000000"/>
                </a:solidFill>
                <a:latin typeface="Arial" panose="020B0604020202020204" pitchFamily="34" charset="0"/>
              </a:rPr>
              <a:t>Management (MM</a:t>
            </a:r>
            <a:r>
              <a:rPr lang="en-IN" sz="1400" dirty="0" smtClean="0">
                <a:solidFill>
                  <a:srgbClr val="000000"/>
                </a:solidFill>
                <a:latin typeface="Arial" panose="020B0604020202020204" pitchFamily="34" charset="0"/>
              </a:rPr>
              <a:t>), Inventory Management </a:t>
            </a:r>
            <a:r>
              <a:rPr lang="en-IN" sz="1400" dirty="0">
                <a:solidFill>
                  <a:srgbClr val="000000"/>
                </a:solidFill>
                <a:latin typeface="Arial" panose="020B0604020202020204" pitchFamily="34" charset="0"/>
              </a:rPr>
              <a:t>(IM) functionality to </a:t>
            </a:r>
            <a:r>
              <a:rPr lang="en-IN" sz="1400" dirty="0" smtClean="0">
                <a:solidFill>
                  <a:srgbClr val="000000"/>
                </a:solidFill>
                <a:latin typeface="Arial" panose="020B0604020202020204" pitchFamily="34" charset="0"/>
              </a:rPr>
              <a:t>the edge</a:t>
            </a:r>
          </a:p>
          <a:p>
            <a:pPr marL="285750" indent="-285750">
              <a:buFont typeface="Wingdings" panose="05000000000000000000" pitchFamily="2" charset="2"/>
              <a:buChar char="Ø"/>
            </a:pPr>
            <a:endParaRPr lang="en-IN" sz="1400" dirty="0">
              <a:solidFill>
                <a:srgbClr val="000000"/>
              </a:solidFill>
              <a:latin typeface="Arial" panose="020B0604020202020204" pitchFamily="34" charset="0"/>
            </a:endParaRPr>
          </a:p>
          <a:p>
            <a:pPr marL="285750" indent="-285750">
              <a:buFont typeface="Wingdings" panose="05000000000000000000" pitchFamily="2" charset="2"/>
              <a:buChar char="Ø"/>
            </a:pPr>
            <a:r>
              <a:rPr lang="en-IN" sz="1400" dirty="0" smtClean="0">
                <a:solidFill>
                  <a:srgbClr val="000000"/>
                </a:solidFill>
                <a:latin typeface="Arial" panose="020B0604020202020204" pitchFamily="34" charset="0"/>
              </a:rPr>
              <a:t>Deep </a:t>
            </a:r>
            <a:r>
              <a:rPr lang="en-IN" sz="1400" dirty="0">
                <a:solidFill>
                  <a:srgbClr val="000000"/>
                </a:solidFill>
                <a:latin typeface="Arial" panose="020B0604020202020204" pitchFamily="34" charset="0"/>
              </a:rPr>
              <a:t>offline functionality is available </a:t>
            </a:r>
            <a:r>
              <a:rPr lang="en-IN" sz="1400" dirty="0" smtClean="0">
                <a:solidFill>
                  <a:srgbClr val="000000"/>
                </a:solidFill>
                <a:latin typeface="Arial" panose="020B0604020202020204" pitchFamily="34" charset="0"/>
              </a:rPr>
              <a:t>for SAP </a:t>
            </a:r>
            <a:r>
              <a:rPr lang="en-IN" sz="1400" dirty="0">
                <a:solidFill>
                  <a:srgbClr val="000000"/>
                </a:solidFill>
                <a:latin typeface="Arial" panose="020B0604020202020204" pitchFamily="34" charset="0"/>
              </a:rPr>
              <a:t>Plant Maintenance </a:t>
            </a:r>
            <a:r>
              <a:rPr lang="en-IN" sz="1400" dirty="0" smtClean="0">
                <a:solidFill>
                  <a:srgbClr val="000000"/>
                </a:solidFill>
                <a:latin typeface="Arial" panose="020B0604020202020204" pitchFamily="34" charset="0"/>
              </a:rPr>
              <a:t>and Materials Management</a:t>
            </a:r>
            <a:endParaRPr lang="en-IN" sz="1400" dirty="0"/>
          </a:p>
        </p:txBody>
      </p:sp>
      <p:cxnSp>
        <p:nvCxnSpPr>
          <p:cNvPr id="60" name="Straight Connector 59"/>
          <p:cNvCxnSpPr/>
          <p:nvPr/>
        </p:nvCxnSpPr>
        <p:spPr>
          <a:xfrm>
            <a:off x="3581400" y="1295400"/>
            <a:ext cx="0" cy="4991438"/>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7520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56"/>
          <p:cNvPicPr>
            <a:picLocks noChangeAspect="1"/>
          </p:cNvPicPr>
          <p:nvPr/>
        </p:nvPicPr>
        <p:blipFill>
          <a:blip r:embed="rId2"/>
          <a:stretch>
            <a:fillRect/>
          </a:stretch>
        </p:blipFill>
        <p:spPr>
          <a:xfrm>
            <a:off x="4889634" y="5835071"/>
            <a:ext cx="2190870" cy="451767"/>
          </a:xfrm>
          <a:prstGeom prst="rect">
            <a:avLst/>
          </a:prstGeom>
        </p:spPr>
      </p:pic>
      <p:sp>
        <p:nvSpPr>
          <p:cNvPr id="4" name="Cloud 3"/>
          <p:cNvSpPr/>
          <p:nvPr/>
        </p:nvSpPr>
        <p:spPr>
          <a:xfrm>
            <a:off x="3810000" y="1752600"/>
            <a:ext cx="4572000" cy="1676400"/>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5856 w 43256"/>
              <a:gd name="connsiteY3" fmla="*/ 3513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8232 w 43256"/>
              <a:gd name="connsiteY16" fmla="*/ 25935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8232 w 43256"/>
              <a:gd name="connsiteY16" fmla="*/ 25935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6514 w 43256"/>
              <a:gd name="connsiteY4" fmla="*/ 38949 h 43219"/>
              <a:gd name="connsiteX5" fmla="*/ 15846 w 43256"/>
              <a:gd name="connsiteY5" fmla="*/ 37209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8232 w 43256"/>
              <a:gd name="connsiteY16" fmla="*/ 25935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6514 w 43256"/>
              <a:gd name="connsiteY4" fmla="*/ 38949 h 43219"/>
              <a:gd name="connsiteX5" fmla="*/ 10962 w 43256"/>
              <a:gd name="connsiteY5" fmla="*/ 26517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8232 w 43256"/>
              <a:gd name="connsiteY16" fmla="*/ 25935 h 43219"/>
              <a:gd name="connsiteX17" fmla="*/ 5731 w 43256"/>
              <a:gd name="connsiteY17" fmla="*/ 26087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8160 w 43256"/>
              <a:gd name="connsiteY2" fmla="*/ 26172 h 43219"/>
              <a:gd name="connsiteX3" fmla="*/ 6653 w 43256"/>
              <a:gd name="connsiteY3" fmla="*/ 26229 h 43219"/>
              <a:gd name="connsiteX4" fmla="*/ 10234 w 43256"/>
              <a:gd name="connsiteY4" fmla="*/ 26961 h 43219"/>
              <a:gd name="connsiteX5" fmla="*/ 10962 w 43256"/>
              <a:gd name="connsiteY5" fmla="*/ 26517 h 43219"/>
              <a:gd name="connsiteX6" fmla="*/ 28863 w 43256"/>
              <a:gd name="connsiteY6" fmla="*/ 34610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438"/>
              <a:gd name="connsiteX1" fmla="*/ 5659 w 43256"/>
              <a:gd name="connsiteY1" fmla="*/ 6766 h 43438"/>
              <a:gd name="connsiteX2" fmla="*/ 14041 w 43256"/>
              <a:gd name="connsiteY2" fmla="*/ 5061 h 43438"/>
              <a:gd name="connsiteX3" fmla="*/ 22492 w 43256"/>
              <a:gd name="connsiteY3" fmla="*/ 3291 h 43438"/>
              <a:gd name="connsiteX4" fmla="*/ 25785 w 43256"/>
              <a:gd name="connsiteY4" fmla="*/ 59 h 43438"/>
              <a:gd name="connsiteX5" fmla="*/ 29869 w 43256"/>
              <a:gd name="connsiteY5" fmla="*/ 2340 h 43438"/>
              <a:gd name="connsiteX6" fmla="*/ 35499 w 43256"/>
              <a:gd name="connsiteY6" fmla="*/ 549 h 43438"/>
              <a:gd name="connsiteX7" fmla="*/ 38354 w 43256"/>
              <a:gd name="connsiteY7" fmla="*/ 5435 h 43438"/>
              <a:gd name="connsiteX8" fmla="*/ 42018 w 43256"/>
              <a:gd name="connsiteY8" fmla="*/ 10177 h 43438"/>
              <a:gd name="connsiteX9" fmla="*/ 41854 w 43256"/>
              <a:gd name="connsiteY9" fmla="*/ 15319 h 43438"/>
              <a:gd name="connsiteX10" fmla="*/ 43052 w 43256"/>
              <a:gd name="connsiteY10" fmla="*/ 23181 h 43438"/>
              <a:gd name="connsiteX11" fmla="*/ 37440 w 43256"/>
              <a:gd name="connsiteY11" fmla="*/ 30063 h 43438"/>
              <a:gd name="connsiteX12" fmla="*/ 35431 w 43256"/>
              <a:gd name="connsiteY12" fmla="*/ 35960 h 43438"/>
              <a:gd name="connsiteX13" fmla="*/ 28591 w 43256"/>
              <a:gd name="connsiteY13" fmla="*/ 36674 h 43438"/>
              <a:gd name="connsiteX14" fmla="*/ 23703 w 43256"/>
              <a:gd name="connsiteY14" fmla="*/ 42965 h 43438"/>
              <a:gd name="connsiteX15" fmla="*/ 14921 w 43256"/>
              <a:gd name="connsiteY15" fmla="*/ 24221 h 43438"/>
              <a:gd name="connsiteX16" fmla="*/ 8232 w 43256"/>
              <a:gd name="connsiteY16" fmla="*/ 25935 h 43438"/>
              <a:gd name="connsiteX17" fmla="*/ 5731 w 43256"/>
              <a:gd name="connsiteY17" fmla="*/ 26087 h 43438"/>
              <a:gd name="connsiteX18" fmla="*/ 2149 w 43256"/>
              <a:gd name="connsiteY18" fmla="*/ 25410 h 43438"/>
              <a:gd name="connsiteX19" fmla="*/ 31 w 43256"/>
              <a:gd name="connsiteY19" fmla="*/ 19563 h 43438"/>
              <a:gd name="connsiteX20" fmla="*/ 3899 w 43256"/>
              <a:gd name="connsiteY20" fmla="*/ 14366 h 43438"/>
              <a:gd name="connsiteX21" fmla="*/ 3936 w 43256"/>
              <a:gd name="connsiteY21" fmla="*/ 14229 h 43438"/>
              <a:gd name="connsiteX0" fmla="*/ 4729 w 43256"/>
              <a:gd name="connsiteY0" fmla="*/ 26036 h 43438"/>
              <a:gd name="connsiteX1" fmla="*/ 2196 w 43256"/>
              <a:gd name="connsiteY1" fmla="*/ 25239 h 43438"/>
              <a:gd name="connsiteX2" fmla="*/ 8160 w 43256"/>
              <a:gd name="connsiteY2" fmla="*/ 26172 h 43438"/>
              <a:gd name="connsiteX3" fmla="*/ 6653 w 43256"/>
              <a:gd name="connsiteY3" fmla="*/ 26229 h 43438"/>
              <a:gd name="connsiteX4" fmla="*/ 10234 w 43256"/>
              <a:gd name="connsiteY4" fmla="*/ 26961 h 43438"/>
              <a:gd name="connsiteX5" fmla="*/ 10962 w 43256"/>
              <a:gd name="connsiteY5" fmla="*/ 26517 h 43438"/>
              <a:gd name="connsiteX6" fmla="*/ 28863 w 43256"/>
              <a:gd name="connsiteY6" fmla="*/ 34610 h 43438"/>
              <a:gd name="connsiteX7" fmla="*/ 28596 w 43256"/>
              <a:gd name="connsiteY7" fmla="*/ 36519 h 43438"/>
              <a:gd name="connsiteX8" fmla="*/ 34165 w 43256"/>
              <a:gd name="connsiteY8" fmla="*/ 22813 h 43438"/>
              <a:gd name="connsiteX9" fmla="*/ 37416 w 43256"/>
              <a:gd name="connsiteY9" fmla="*/ 29949 h 43438"/>
              <a:gd name="connsiteX10" fmla="*/ 41834 w 43256"/>
              <a:gd name="connsiteY10" fmla="*/ 15213 h 43438"/>
              <a:gd name="connsiteX11" fmla="*/ 40386 w 43256"/>
              <a:gd name="connsiteY11" fmla="*/ 17889 h 43438"/>
              <a:gd name="connsiteX12" fmla="*/ 38360 w 43256"/>
              <a:gd name="connsiteY12" fmla="*/ 5285 h 43438"/>
              <a:gd name="connsiteX13" fmla="*/ 38436 w 43256"/>
              <a:gd name="connsiteY13" fmla="*/ 6549 h 43438"/>
              <a:gd name="connsiteX14" fmla="*/ 29114 w 43256"/>
              <a:gd name="connsiteY14" fmla="*/ 3811 h 43438"/>
              <a:gd name="connsiteX15" fmla="*/ 29856 w 43256"/>
              <a:gd name="connsiteY15" fmla="*/ 2199 h 43438"/>
              <a:gd name="connsiteX16" fmla="*/ 22177 w 43256"/>
              <a:gd name="connsiteY16" fmla="*/ 4579 h 43438"/>
              <a:gd name="connsiteX17" fmla="*/ 22536 w 43256"/>
              <a:gd name="connsiteY17" fmla="*/ 3189 h 43438"/>
              <a:gd name="connsiteX18" fmla="*/ 14036 w 43256"/>
              <a:gd name="connsiteY18" fmla="*/ 5051 h 43438"/>
              <a:gd name="connsiteX19" fmla="*/ 15336 w 43256"/>
              <a:gd name="connsiteY19" fmla="*/ 6399 h 43438"/>
              <a:gd name="connsiteX20" fmla="*/ 4163 w 43256"/>
              <a:gd name="connsiteY20" fmla="*/ 15648 h 43438"/>
              <a:gd name="connsiteX21" fmla="*/ 3936 w 43256"/>
              <a:gd name="connsiteY21" fmla="*/ 14229 h 43438"/>
              <a:gd name="connsiteX0" fmla="*/ 3936 w 43256"/>
              <a:gd name="connsiteY0" fmla="*/ 14229 h 43384"/>
              <a:gd name="connsiteX1" fmla="*/ 5659 w 43256"/>
              <a:gd name="connsiteY1" fmla="*/ 6766 h 43384"/>
              <a:gd name="connsiteX2" fmla="*/ 14041 w 43256"/>
              <a:gd name="connsiteY2" fmla="*/ 5061 h 43384"/>
              <a:gd name="connsiteX3" fmla="*/ 22492 w 43256"/>
              <a:gd name="connsiteY3" fmla="*/ 3291 h 43384"/>
              <a:gd name="connsiteX4" fmla="*/ 25785 w 43256"/>
              <a:gd name="connsiteY4" fmla="*/ 59 h 43384"/>
              <a:gd name="connsiteX5" fmla="*/ 29869 w 43256"/>
              <a:gd name="connsiteY5" fmla="*/ 2340 h 43384"/>
              <a:gd name="connsiteX6" fmla="*/ 35499 w 43256"/>
              <a:gd name="connsiteY6" fmla="*/ 549 h 43384"/>
              <a:gd name="connsiteX7" fmla="*/ 38354 w 43256"/>
              <a:gd name="connsiteY7" fmla="*/ 5435 h 43384"/>
              <a:gd name="connsiteX8" fmla="*/ 42018 w 43256"/>
              <a:gd name="connsiteY8" fmla="*/ 10177 h 43384"/>
              <a:gd name="connsiteX9" fmla="*/ 41854 w 43256"/>
              <a:gd name="connsiteY9" fmla="*/ 15319 h 43384"/>
              <a:gd name="connsiteX10" fmla="*/ 43052 w 43256"/>
              <a:gd name="connsiteY10" fmla="*/ 23181 h 43384"/>
              <a:gd name="connsiteX11" fmla="*/ 37440 w 43256"/>
              <a:gd name="connsiteY11" fmla="*/ 30063 h 43384"/>
              <a:gd name="connsiteX12" fmla="*/ 35431 w 43256"/>
              <a:gd name="connsiteY12" fmla="*/ 35960 h 43384"/>
              <a:gd name="connsiteX13" fmla="*/ 28591 w 43256"/>
              <a:gd name="connsiteY13" fmla="*/ 36674 h 43384"/>
              <a:gd name="connsiteX14" fmla="*/ 23703 w 43256"/>
              <a:gd name="connsiteY14" fmla="*/ 42965 h 43384"/>
              <a:gd name="connsiteX15" fmla="*/ 15021 w 43256"/>
              <a:gd name="connsiteY15" fmla="*/ 25193 h 43384"/>
              <a:gd name="connsiteX16" fmla="*/ 8232 w 43256"/>
              <a:gd name="connsiteY16" fmla="*/ 25935 h 43384"/>
              <a:gd name="connsiteX17" fmla="*/ 5731 w 43256"/>
              <a:gd name="connsiteY17" fmla="*/ 26087 h 43384"/>
              <a:gd name="connsiteX18" fmla="*/ 2149 w 43256"/>
              <a:gd name="connsiteY18" fmla="*/ 25410 h 43384"/>
              <a:gd name="connsiteX19" fmla="*/ 31 w 43256"/>
              <a:gd name="connsiteY19" fmla="*/ 19563 h 43384"/>
              <a:gd name="connsiteX20" fmla="*/ 3899 w 43256"/>
              <a:gd name="connsiteY20" fmla="*/ 14366 h 43384"/>
              <a:gd name="connsiteX21" fmla="*/ 3936 w 43256"/>
              <a:gd name="connsiteY21" fmla="*/ 14229 h 43384"/>
              <a:gd name="connsiteX0" fmla="*/ 4729 w 43256"/>
              <a:gd name="connsiteY0" fmla="*/ 26036 h 43384"/>
              <a:gd name="connsiteX1" fmla="*/ 2196 w 43256"/>
              <a:gd name="connsiteY1" fmla="*/ 25239 h 43384"/>
              <a:gd name="connsiteX2" fmla="*/ 8160 w 43256"/>
              <a:gd name="connsiteY2" fmla="*/ 26172 h 43384"/>
              <a:gd name="connsiteX3" fmla="*/ 6653 w 43256"/>
              <a:gd name="connsiteY3" fmla="*/ 26229 h 43384"/>
              <a:gd name="connsiteX4" fmla="*/ 10234 w 43256"/>
              <a:gd name="connsiteY4" fmla="*/ 26961 h 43384"/>
              <a:gd name="connsiteX5" fmla="*/ 10962 w 43256"/>
              <a:gd name="connsiteY5" fmla="*/ 26517 h 43384"/>
              <a:gd name="connsiteX6" fmla="*/ 28863 w 43256"/>
              <a:gd name="connsiteY6" fmla="*/ 34610 h 43384"/>
              <a:gd name="connsiteX7" fmla="*/ 28596 w 43256"/>
              <a:gd name="connsiteY7" fmla="*/ 36519 h 43384"/>
              <a:gd name="connsiteX8" fmla="*/ 34165 w 43256"/>
              <a:gd name="connsiteY8" fmla="*/ 22813 h 43384"/>
              <a:gd name="connsiteX9" fmla="*/ 37416 w 43256"/>
              <a:gd name="connsiteY9" fmla="*/ 29949 h 43384"/>
              <a:gd name="connsiteX10" fmla="*/ 41834 w 43256"/>
              <a:gd name="connsiteY10" fmla="*/ 15213 h 43384"/>
              <a:gd name="connsiteX11" fmla="*/ 40386 w 43256"/>
              <a:gd name="connsiteY11" fmla="*/ 17889 h 43384"/>
              <a:gd name="connsiteX12" fmla="*/ 38360 w 43256"/>
              <a:gd name="connsiteY12" fmla="*/ 5285 h 43384"/>
              <a:gd name="connsiteX13" fmla="*/ 38436 w 43256"/>
              <a:gd name="connsiteY13" fmla="*/ 6549 h 43384"/>
              <a:gd name="connsiteX14" fmla="*/ 29114 w 43256"/>
              <a:gd name="connsiteY14" fmla="*/ 3811 h 43384"/>
              <a:gd name="connsiteX15" fmla="*/ 29856 w 43256"/>
              <a:gd name="connsiteY15" fmla="*/ 2199 h 43384"/>
              <a:gd name="connsiteX16" fmla="*/ 22177 w 43256"/>
              <a:gd name="connsiteY16" fmla="*/ 4579 h 43384"/>
              <a:gd name="connsiteX17" fmla="*/ 22536 w 43256"/>
              <a:gd name="connsiteY17" fmla="*/ 3189 h 43384"/>
              <a:gd name="connsiteX18" fmla="*/ 14036 w 43256"/>
              <a:gd name="connsiteY18" fmla="*/ 5051 h 43384"/>
              <a:gd name="connsiteX19" fmla="*/ 15336 w 43256"/>
              <a:gd name="connsiteY19" fmla="*/ 6399 h 43384"/>
              <a:gd name="connsiteX20" fmla="*/ 4163 w 43256"/>
              <a:gd name="connsiteY20" fmla="*/ 15648 h 43384"/>
              <a:gd name="connsiteX21" fmla="*/ 3936 w 43256"/>
              <a:gd name="connsiteY21" fmla="*/ 14229 h 43384"/>
              <a:gd name="connsiteX0" fmla="*/ 3936 w 43256"/>
              <a:gd name="connsiteY0" fmla="*/ 14229 h 43384"/>
              <a:gd name="connsiteX1" fmla="*/ 5659 w 43256"/>
              <a:gd name="connsiteY1" fmla="*/ 6766 h 43384"/>
              <a:gd name="connsiteX2" fmla="*/ 14041 w 43256"/>
              <a:gd name="connsiteY2" fmla="*/ 5061 h 43384"/>
              <a:gd name="connsiteX3" fmla="*/ 22492 w 43256"/>
              <a:gd name="connsiteY3" fmla="*/ 3291 h 43384"/>
              <a:gd name="connsiteX4" fmla="*/ 25785 w 43256"/>
              <a:gd name="connsiteY4" fmla="*/ 59 h 43384"/>
              <a:gd name="connsiteX5" fmla="*/ 29869 w 43256"/>
              <a:gd name="connsiteY5" fmla="*/ 2340 h 43384"/>
              <a:gd name="connsiteX6" fmla="*/ 35499 w 43256"/>
              <a:gd name="connsiteY6" fmla="*/ 549 h 43384"/>
              <a:gd name="connsiteX7" fmla="*/ 38354 w 43256"/>
              <a:gd name="connsiteY7" fmla="*/ 5435 h 43384"/>
              <a:gd name="connsiteX8" fmla="*/ 42018 w 43256"/>
              <a:gd name="connsiteY8" fmla="*/ 10177 h 43384"/>
              <a:gd name="connsiteX9" fmla="*/ 41854 w 43256"/>
              <a:gd name="connsiteY9" fmla="*/ 15319 h 43384"/>
              <a:gd name="connsiteX10" fmla="*/ 43052 w 43256"/>
              <a:gd name="connsiteY10" fmla="*/ 23181 h 43384"/>
              <a:gd name="connsiteX11" fmla="*/ 37440 w 43256"/>
              <a:gd name="connsiteY11" fmla="*/ 30063 h 43384"/>
              <a:gd name="connsiteX12" fmla="*/ 35431 w 43256"/>
              <a:gd name="connsiteY12" fmla="*/ 35960 h 43384"/>
              <a:gd name="connsiteX13" fmla="*/ 28591 w 43256"/>
              <a:gd name="connsiteY13" fmla="*/ 36674 h 43384"/>
              <a:gd name="connsiteX14" fmla="*/ 23703 w 43256"/>
              <a:gd name="connsiteY14" fmla="*/ 42965 h 43384"/>
              <a:gd name="connsiteX15" fmla="*/ 15021 w 43256"/>
              <a:gd name="connsiteY15" fmla="*/ 25193 h 43384"/>
              <a:gd name="connsiteX16" fmla="*/ 8232 w 43256"/>
              <a:gd name="connsiteY16" fmla="*/ 25935 h 43384"/>
              <a:gd name="connsiteX17" fmla="*/ 5731 w 43256"/>
              <a:gd name="connsiteY17" fmla="*/ 26087 h 43384"/>
              <a:gd name="connsiteX18" fmla="*/ 2149 w 43256"/>
              <a:gd name="connsiteY18" fmla="*/ 25410 h 43384"/>
              <a:gd name="connsiteX19" fmla="*/ 31 w 43256"/>
              <a:gd name="connsiteY19" fmla="*/ 19563 h 43384"/>
              <a:gd name="connsiteX20" fmla="*/ 3899 w 43256"/>
              <a:gd name="connsiteY20" fmla="*/ 14366 h 43384"/>
              <a:gd name="connsiteX21" fmla="*/ 3936 w 43256"/>
              <a:gd name="connsiteY21" fmla="*/ 14229 h 43384"/>
              <a:gd name="connsiteX0" fmla="*/ 4729 w 43256"/>
              <a:gd name="connsiteY0" fmla="*/ 26036 h 43384"/>
              <a:gd name="connsiteX1" fmla="*/ 2196 w 43256"/>
              <a:gd name="connsiteY1" fmla="*/ 25239 h 43384"/>
              <a:gd name="connsiteX2" fmla="*/ 8160 w 43256"/>
              <a:gd name="connsiteY2" fmla="*/ 26172 h 43384"/>
              <a:gd name="connsiteX3" fmla="*/ 6653 w 43256"/>
              <a:gd name="connsiteY3" fmla="*/ 26229 h 43384"/>
              <a:gd name="connsiteX4" fmla="*/ 10234 w 43256"/>
              <a:gd name="connsiteY4" fmla="*/ 26961 h 43384"/>
              <a:gd name="connsiteX5" fmla="*/ 10962 w 43256"/>
              <a:gd name="connsiteY5" fmla="*/ 26517 h 43384"/>
              <a:gd name="connsiteX6" fmla="*/ 28863 w 43256"/>
              <a:gd name="connsiteY6" fmla="*/ 34610 h 43384"/>
              <a:gd name="connsiteX7" fmla="*/ 28596 w 43256"/>
              <a:gd name="connsiteY7" fmla="*/ 36519 h 43384"/>
              <a:gd name="connsiteX8" fmla="*/ 34165 w 43256"/>
              <a:gd name="connsiteY8" fmla="*/ 22813 h 43384"/>
              <a:gd name="connsiteX9" fmla="*/ 37416 w 43256"/>
              <a:gd name="connsiteY9" fmla="*/ 29949 h 43384"/>
              <a:gd name="connsiteX10" fmla="*/ 41834 w 43256"/>
              <a:gd name="connsiteY10" fmla="*/ 15213 h 43384"/>
              <a:gd name="connsiteX11" fmla="*/ 40386 w 43256"/>
              <a:gd name="connsiteY11" fmla="*/ 17889 h 43384"/>
              <a:gd name="connsiteX12" fmla="*/ 38360 w 43256"/>
              <a:gd name="connsiteY12" fmla="*/ 5285 h 43384"/>
              <a:gd name="connsiteX13" fmla="*/ 38436 w 43256"/>
              <a:gd name="connsiteY13" fmla="*/ 6549 h 43384"/>
              <a:gd name="connsiteX14" fmla="*/ 29114 w 43256"/>
              <a:gd name="connsiteY14" fmla="*/ 3811 h 43384"/>
              <a:gd name="connsiteX15" fmla="*/ 29856 w 43256"/>
              <a:gd name="connsiteY15" fmla="*/ 2199 h 43384"/>
              <a:gd name="connsiteX16" fmla="*/ 22177 w 43256"/>
              <a:gd name="connsiteY16" fmla="*/ 4579 h 43384"/>
              <a:gd name="connsiteX17" fmla="*/ 22536 w 43256"/>
              <a:gd name="connsiteY17" fmla="*/ 3189 h 43384"/>
              <a:gd name="connsiteX18" fmla="*/ 14036 w 43256"/>
              <a:gd name="connsiteY18" fmla="*/ 5051 h 43384"/>
              <a:gd name="connsiteX19" fmla="*/ 15336 w 43256"/>
              <a:gd name="connsiteY19" fmla="*/ 6399 h 43384"/>
              <a:gd name="connsiteX20" fmla="*/ 4163 w 43256"/>
              <a:gd name="connsiteY20" fmla="*/ 15648 h 43384"/>
              <a:gd name="connsiteX21" fmla="*/ 3936 w 43256"/>
              <a:gd name="connsiteY21" fmla="*/ 14229 h 43384"/>
              <a:gd name="connsiteX0" fmla="*/ 3936 w 43256"/>
              <a:gd name="connsiteY0" fmla="*/ 14229 h 43384"/>
              <a:gd name="connsiteX1" fmla="*/ 5659 w 43256"/>
              <a:gd name="connsiteY1" fmla="*/ 6766 h 43384"/>
              <a:gd name="connsiteX2" fmla="*/ 14041 w 43256"/>
              <a:gd name="connsiteY2" fmla="*/ 5061 h 43384"/>
              <a:gd name="connsiteX3" fmla="*/ 22492 w 43256"/>
              <a:gd name="connsiteY3" fmla="*/ 3291 h 43384"/>
              <a:gd name="connsiteX4" fmla="*/ 25785 w 43256"/>
              <a:gd name="connsiteY4" fmla="*/ 59 h 43384"/>
              <a:gd name="connsiteX5" fmla="*/ 29869 w 43256"/>
              <a:gd name="connsiteY5" fmla="*/ 2340 h 43384"/>
              <a:gd name="connsiteX6" fmla="*/ 35499 w 43256"/>
              <a:gd name="connsiteY6" fmla="*/ 549 h 43384"/>
              <a:gd name="connsiteX7" fmla="*/ 38354 w 43256"/>
              <a:gd name="connsiteY7" fmla="*/ 5435 h 43384"/>
              <a:gd name="connsiteX8" fmla="*/ 42018 w 43256"/>
              <a:gd name="connsiteY8" fmla="*/ 10177 h 43384"/>
              <a:gd name="connsiteX9" fmla="*/ 41854 w 43256"/>
              <a:gd name="connsiteY9" fmla="*/ 15319 h 43384"/>
              <a:gd name="connsiteX10" fmla="*/ 43052 w 43256"/>
              <a:gd name="connsiteY10" fmla="*/ 23181 h 43384"/>
              <a:gd name="connsiteX11" fmla="*/ 37440 w 43256"/>
              <a:gd name="connsiteY11" fmla="*/ 30063 h 43384"/>
              <a:gd name="connsiteX12" fmla="*/ 35431 w 43256"/>
              <a:gd name="connsiteY12" fmla="*/ 35960 h 43384"/>
              <a:gd name="connsiteX13" fmla="*/ 28591 w 43256"/>
              <a:gd name="connsiteY13" fmla="*/ 36674 h 43384"/>
              <a:gd name="connsiteX14" fmla="*/ 23703 w 43256"/>
              <a:gd name="connsiteY14" fmla="*/ 42965 h 43384"/>
              <a:gd name="connsiteX15" fmla="*/ 15021 w 43256"/>
              <a:gd name="connsiteY15" fmla="*/ 25193 h 43384"/>
              <a:gd name="connsiteX16" fmla="*/ 8232 w 43256"/>
              <a:gd name="connsiteY16" fmla="*/ 25935 h 43384"/>
              <a:gd name="connsiteX17" fmla="*/ 5731 w 43256"/>
              <a:gd name="connsiteY17" fmla="*/ 26087 h 43384"/>
              <a:gd name="connsiteX18" fmla="*/ 2149 w 43256"/>
              <a:gd name="connsiteY18" fmla="*/ 25410 h 43384"/>
              <a:gd name="connsiteX19" fmla="*/ 31 w 43256"/>
              <a:gd name="connsiteY19" fmla="*/ 19563 h 43384"/>
              <a:gd name="connsiteX20" fmla="*/ 3899 w 43256"/>
              <a:gd name="connsiteY20" fmla="*/ 14366 h 43384"/>
              <a:gd name="connsiteX21" fmla="*/ 3936 w 43256"/>
              <a:gd name="connsiteY21" fmla="*/ 14229 h 43384"/>
              <a:gd name="connsiteX0" fmla="*/ 4729 w 43256"/>
              <a:gd name="connsiteY0" fmla="*/ 26036 h 43384"/>
              <a:gd name="connsiteX1" fmla="*/ 2196 w 43256"/>
              <a:gd name="connsiteY1" fmla="*/ 25239 h 43384"/>
              <a:gd name="connsiteX2" fmla="*/ 8160 w 43256"/>
              <a:gd name="connsiteY2" fmla="*/ 26172 h 43384"/>
              <a:gd name="connsiteX3" fmla="*/ 6653 w 43256"/>
              <a:gd name="connsiteY3" fmla="*/ 26229 h 43384"/>
              <a:gd name="connsiteX4" fmla="*/ 10234 w 43256"/>
              <a:gd name="connsiteY4" fmla="*/ 26961 h 43384"/>
              <a:gd name="connsiteX5" fmla="*/ 10962 w 43256"/>
              <a:gd name="connsiteY5" fmla="*/ 26517 h 43384"/>
              <a:gd name="connsiteX6" fmla="*/ 28863 w 43256"/>
              <a:gd name="connsiteY6" fmla="*/ 34610 h 43384"/>
              <a:gd name="connsiteX7" fmla="*/ 28596 w 43256"/>
              <a:gd name="connsiteY7" fmla="*/ 36519 h 43384"/>
              <a:gd name="connsiteX8" fmla="*/ 34165 w 43256"/>
              <a:gd name="connsiteY8" fmla="*/ 22813 h 43384"/>
              <a:gd name="connsiteX9" fmla="*/ 37416 w 43256"/>
              <a:gd name="connsiteY9" fmla="*/ 29949 h 43384"/>
              <a:gd name="connsiteX10" fmla="*/ 41834 w 43256"/>
              <a:gd name="connsiteY10" fmla="*/ 15213 h 43384"/>
              <a:gd name="connsiteX11" fmla="*/ 40386 w 43256"/>
              <a:gd name="connsiteY11" fmla="*/ 17889 h 43384"/>
              <a:gd name="connsiteX12" fmla="*/ 38360 w 43256"/>
              <a:gd name="connsiteY12" fmla="*/ 5285 h 43384"/>
              <a:gd name="connsiteX13" fmla="*/ 38436 w 43256"/>
              <a:gd name="connsiteY13" fmla="*/ 6549 h 43384"/>
              <a:gd name="connsiteX14" fmla="*/ 29114 w 43256"/>
              <a:gd name="connsiteY14" fmla="*/ 3811 h 43384"/>
              <a:gd name="connsiteX15" fmla="*/ 29856 w 43256"/>
              <a:gd name="connsiteY15" fmla="*/ 2199 h 43384"/>
              <a:gd name="connsiteX16" fmla="*/ 22177 w 43256"/>
              <a:gd name="connsiteY16" fmla="*/ 4579 h 43384"/>
              <a:gd name="connsiteX17" fmla="*/ 22536 w 43256"/>
              <a:gd name="connsiteY17" fmla="*/ 3189 h 43384"/>
              <a:gd name="connsiteX18" fmla="*/ 14036 w 43256"/>
              <a:gd name="connsiteY18" fmla="*/ 5051 h 43384"/>
              <a:gd name="connsiteX19" fmla="*/ 15336 w 43256"/>
              <a:gd name="connsiteY19" fmla="*/ 6399 h 43384"/>
              <a:gd name="connsiteX20" fmla="*/ 4163 w 43256"/>
              <a:gd name="connsiteY20" fmla="*/ 15648 h 43384"/>
              <a:gd name="connsiteX21" fmla="*/ 3936 w 43256"/>
              <a:gd name="connsiteY21" fmla="*/ 14229 h 43384"/>
              <a:gd name="connsiteX0" fmla="*/ 3936 w 43256"/>
              <a:gd name="connsiteY0" fmla="*/ 14229 h 43324"/>
              <a:gd name="connsiteX1" fmla="*/ 5659 w 43256"/>
              <a:gd name="connsiteY1" fmla="*/ 6766 h 43324"/>
              <a:gd name="connsiteX2" fmla="*/ 14041 w 43256"/>
              <a:gd name="connsiteY2" fmla="*/ 5061 h 43324"/>
              <a:gd name="connsiteX3" fmla="*/ 22492 w 43256"/>
              <a:gd name="connsiteY3" fmla="*/ 3291 h 43324"/>
              <a:gd name="connsiteX4" fmla="*/ 25785 w 43256"/>
              <a:gd name="connsiteY4" fmla="*/ 59 h 43324"/>
              <a:gd name="connsiteX5" fmla="*/ 29869 w 43256"/>
              <a:gd name="connsiteY5" fmla="*/ 2340 h 43324"/>
              <a:gd name="connsiteX6" fmla="*/ 35499 w 43256"/>
              <a:gd name="connsiteY6" fmla="*/ 549 h 43324"/>
              <a:gd name="connsiteX7" fmla="*/ 38354 w 43256"/>
              <a:gd name="connsiteY7" fmla="*/ 5435 h 43324"/>
              <a:gd name="connsiteX8" fmla="*/ 42018 w 43256"/>
              <a:gd name="connsiteY8" fmla="*/ 10177 h 43324"/>
              <a:gd name="connsiteX9" fmla="*/ 41854 w 43256"/>
              <a:gd name="connsiteY9" fmla="*/ 15319 h 43324"/>
              <a:gd name="connsiteX10" fmla="*/ 43052 w 43256"/>
              <a:gd name="connsiteY10" fmla="*/ 23181 h 43324"/>
              <a:gd name="connsiteX11" fmla="*/ 37440 w 43256"/>
              <a:gd name="connsiteY11" fmla="*/ 30063 h 43324"/>
              <a:gd name="connsiteX12" fmla="*/ 35431 w 43256"/>
              <a:gd name="connsiteY12" fmla="*/ 35960 h 43324"/>
              <a:gd name="connsiteX13" fmla="*/ 28591 w 43256"/>
              <a:gd name="connsiteY13" fmla="*/ 36674 h 43324"/>
              <a:gd name="connsiteX14" fmla="*/ 23703 w 43256"/>
              <a:gd name="connsiteY14" fmla="*/ 42965 h 43324"/>
              <a:gd name="connsiteX15" fmla="*/ 15021 w 43256"/>
              <a:gd name="connsiteY15" fmla="*/ 26327 h 43324"/>
              <a:gd name="connsiteX16" fmla="*/ 8232 w 43256"/>
              <a:gd name="connsiteY16" fmla="*/ 25935 h 43324"/>
              <a:gd name="connsiteX17" fmla="*/ 5731 w 43256"/>
              <a:gd name="connsiteY17" fmla="*/ 26087 h 43324"/>
              <a:gd name="connsiteX18" fmla="*/ 2149 w 43256"/>
              <a:gd name="connsiteY18" fmla="*/ 25410 h 43324"/>
              <a:gd name="connsiteX19" fmla="*/ 31 w 43256"/>
              <a:gd name="connsiteY19" fmla="*/ 19563 h 43324"/>
              <a:gd name="connsiteX20" fmla="*/ 3899 w 43256"/>
              <a:gd name="connsiteY20" fmla="*/ 14366 h 43324"/>
              <a:gd name="connsiteX21" fmla="*/ 3936 w 43256"/>
              <a:gd name="connsiteY21" fmla="*/ 14229 h 43324"/>
              <a:gd name="connsiteX0" fmla="*/ 4729 w 43256"/>
              <a:gd name="connsiteY0" fmla="*/ 26036 h 43324"/>
              <a:gd name="connsiteX1" fmla="*/ 2196 w 43256"/>
              <a:gd name="connsiteY1" fmla="*/ 25239 h 43324"/>
              <a:gd name="connsiteX2" fmla="*/ 8160 w 43256"/>
              <a:gd name="connsiteY2" fmla="*/ 26172 h 43324"/>
              <a:gd name="connsiteX3" fmla="*/ 6653 w 43256"/>
              <a:gd name="connsiteY3" fmla="*/ 26229 h 43324"/>
              <a:gd name="connsiteX4" fmla="*/ 10234 w 43256"/>
              <a:gd name="connsiteY4" fmla="*/ 26961 h 43324"/>
              <a:gd name="connsiteX5" fmla="*/ 10962 w 43256"/>
              <a:gd name="connsiteY5" fmla="*/ 26517 h 43324"/>
              <a:gd name="connsiteX6" fmla="*/ 28863 w 43256"/>
              <a:gd name="connsiteY6" fmla="*/ 34610 h 43324"/>
              <a:gd name="connsiteX7" fmla="*/ 28596 w 43256"/>
              <a:gd name="connsiteY7" fmla="*/ 36519 h 43324"/>
              <a:gd name="connsiteX8" fmla="*/ 34165 w 43256"/>
              <a:gd name="connsiteY8" fmla="*/ 22813 h 43324"/>
              <a:gd name="connsiteX9" fmla="*/ 37416 w 43256"/>
              <a:gd name="connsiteY9" fmla="*/ 29949 h 43324"/>
              <a:gd name="connsiteX10" fmla="*/ 41834 w 43256"/>
              <a:gd name="connsiteY10" fmla="*/ 15213 h 43324"/>
              <a:gd name="connsiteX11" fmla="*/ 40386 w 43256"/>
              <a:gd name="connsiteY11" fmla="*/ 17889 h 43324"/>
              <a:gd name="connsiteX12" fmla="*/ 38360 w 43256"/>
              <a:gd name="connsiteY12" fmla="*/ 5285 h 43324"/>
              <a:gd name="connsiteX13" fmla="*/ 38436 w 43256"/>
              <a:gd name="connsiteY13" fmla="*/ 6549 h 43324"/>
              <a:gd name="connsiteX14" fmla="*/ 29114 w 43256"/>
              <a:gd name="connsiteY14" fmla="*/ 3811 h 43324"/>
              <a:gd name="connsiteX15" fmla="*/ 29856 w 43256"/>
              <a:gd name="connsiteY15" fmla="*/ 2199 h 43324"/>
              <a:gd name="connsiteX16" fmla="*/ 22177 w 43256"/>
              <a:gd name="connsiteY16" fmla="*/ 4579 h 43324"/>
              <a:gd name="connsiteX17" fmla="*/ 22536 w 43256"/>
              <a:gd name="connsiteY17" fmla="*/ 3189 h 43324"/>
              <a:gd name="connsiteX18" fmla="*/ 14036 w 43256"/>
              <a:gd name="connsiteY18" fmla="*/ 5051 h 43324"/>
              <a:gd name="connsiteX19" fmla="*/ 15336 w 43256"/>
              <a:gd name="connsiteY19" fmla="*/ 6399 h 43324"/>
              <a:gd name="connsiteX20" fmla="*/ 4163 w 43256"/>
              <a:gd name="connsiteY20" fmla="*/ 15648 h 43324"/>
              <a:gd name="connsiteX21" fmla="*/ 3936 w 43256"/>
              <a:gd name="connsiteY21" fmla="*/ 14229 h 43324"/>
              <a:gd name="connsiteX0" fmla="*/ 3936 w 43256"/>
              <a:gd name="connsiteY0" fmla="*/ 14229 h 43324"/>
              <a:gd name="connsiteX1" fmla="*/ 5659 w 43256"/>
              <a:gd name="connsiteY1" fmla="*/ 6766 h 43324"/>
              <a:gd name="connsiteX2" fmla="*/ 14041 w 43256"/>
              <a:gd name="connsiteY2" fmla="*/ 5061 h 43324"/>
              <a:gd name="connsiteX3" fmla="*/ 22492 w 43256"/>
              <a:gd name="connsiteY3" fmla="*/ 3291 h 43324"/>
              <a:gd name="connsiteX4" fmla="*/ 25785 w 43256"/>
              <a:gd name="connsiteY4" fmla="*/ 59 h 43324"/>
              <a:gd name="connsiteX5" fmla="*/ 29869 w 43256"/>
              <a:gd name="connsiteY5" fmla="*/ 2340 h 43324"/>
              <a:gd name="connsiteX6" fmla="*/ 35499 w 43256"/>
              <a:gd name="connsiteY6" fmla="*/ 549 h 43324"/>
              <a:gd name="connsiteX7" fmla="*/ 38354 w 43256"/>
              <a:gd name="connsiteY7" fmla="*/ 5435 h 43324"/>
              <a:gd name="connsiteX8" fmla="*/ 42018 w 43256"/>
              <a:gd name="connsiteY8" fmla="*/ 10177 h 43324"/>
              <a:gd name="connsiteX9" fmla="*/ 41854 w 43256"/>
              <a:gd name="connsiteY9" fmla="*/ 15319 h 43324"/>
              <a:gd name="connsiteX10" fmla="*/ 43052 w 43256"/>
              <a:gd name="connsiteY10" fmla="*/ 23181 h 43324"/>
              <a:gd name="connsiteX11" fmla="*/ 37440 w 43256"/>
              <a:gd name="connsiteY11" fmla="*/ 30063 h 43324"/>
              <a:gd name="connsiteX12" fmla="*/ 35431 w 43256"/>
              <a:gd name="connsiteY12" fmla="*/ 35960 h 43324"/>
              <a:gd name="connsiteX13" fmla="*/ 28591 w 43256"/>
              <a:gd name="connsiteY13" fmla="*/ 36674 h 43324"/>
              <a:gd name="connsiteX14" fmla="*/ 23703 w 43256"/>
              <a:gd name="connsiteY14" fmla="*/ 42965 h 43324"/>
              <a:gd name="connsiteX15" fmla="*/ 15021 w 43256"/>
              <a:gd name="connsiteY15" fmla="*/ 26327 h 43324"/>
              <a:gd name="connsiteX16" fmla="*/ 8232 w 43256"/>
              <a:gd name="connsiteY16" fmla="*/ 25935 h 43324"/>
              <a:gd name="connsiteX17" fmla="*/ 5731 w 43256"/>
              <a:gd name="connsiteY17" fmla="*/ 26087 h 43324"/>
              <a:gd name="connsiteX18" fmla="*/ 2149 w 43256"/>
              <a:gd name="connsiteY18" fmla="*/ 25410 h 43324"/>
              <a:gd name="connsiteX19" fmla="*/ 31 w 43256"/>
              <a:gd name="connsiteY19" fmla="*/ 19563 h 43324"/>
              <a:gd name="connsiteX20" fmla="*/ 3899 w 43256"/>
              <a:gd name="connsiteY20" fmla="*/ 14366 h 43324"/>
              <a:gd name="connsiteX21" fmla="*/ 3936 w 43256"/>
              <a:gd name="connsiteY21" fmla="*/ 14229 h 43324"/>
              <a:gd name="connsiteX0" fmla="*/ 4729 w 43256"/>
              <a:gd name="connsiteY0" fmla="*/ 26036 h 43324"/>
              <a:gd name="connsiteX1" fmla="*/ 2196 w 43256"/>
              <a:gd name="connsiteY1" fmla="*/ 25239 h 43324"/>
              <a:gd name="connsiteX2" fmla="*/ 8160 w 43256"/>
              <a:gd name="connsiteY2" fmla="*/ 26172 h 43324"/>
              <a:gd name="connsiteX3" fmla="*/ 6653 w 43256"/>
              <a:gd name="connsiteY3" fmla="*/ 26229 h 43324"/>
              <a:gd name="connsiteX4" fmla="*/ 10234 w 43256"/>
              <a:gd name="connsiteY4" fmla="*/ 26961 h 43324"/>
              <a:gd name="connsiteX5" fmla="*/ 10962 w 43256"/>
              <a:gd name="connsiteY5" fmla="*/ 26517 h 43324"/>
              <a:gd name="connsiteX6" fmla="*/ 28863 w 43256"/>
              <a:gd name="connsiteY6" fmla="*/ 34610 h 43324"/>
              <a:gd name="connsiteX7" fmla="*/ 28596 w 43256"/>
              <a:gd name="connsiteY7" fmla="*/ 36519 h 43324"/>
              <a:gd name="connsiteX8" fmla="*/ 34165 w 43256"/>
              <a:gd name="connsiteY8" fmla="*/ 22813 h 43324"/>
              <a:gd name="connsiteX9" fmla="*/ 37416 w 43256"/>
              <a:gd name="connsiteY9" fmla="*/ 29949 h 43324"/>
              <a:gd name="connsiteX10" fmla="*/ 41834 w 43256"/>
              <a:gd name="connsiteY10" fmla="*/ 15213 h 43324"/>
              <a:gd name="connsiteX11" fmla="*/ 40386 w 43256"/>
              <a:gd name="connsiteY11" fmla="*/ 17889 h 43324"/>
              <a:gd name="connsiteX12" fmla="*/ 38360 w 43256"/>
              <a:gd name="connsiteY12" fmla="*/ 5285 h 43324"/>
              <a:gd name="connsiteX13" fmla="*/ 38436 w 43256"/>
              <a:gd name="connsiteY13" fmla="*/ 6549 h 43324"/>
              <a:gd name="connsiteX14" fmla="*/ 29114 w 43256"/>
              <a:gd name="connsiteY14" fmla="*/ 3811 h 43324"/>
              <a:gd name="connsiteX15" fmla="*/ 29856 w 43256"/>
              <a:gd name="connsiteY15" fmla="*/ 2199 h 43324"/>
              <a:gd name="connsiteX16" fmla="*/ 22177 w 43256"/>
              <a:gd name="connsiteY16" fmla="*/ 4579 h 43324"/>
              <a:gd name="connsiteX17" fmla="*/ 22536 w 43256"/>
              <a:gd name="connsiteY17" fmla="*/ 3189 h 43324"/>
              <a:gd name="connsiteX18" fmla="*/ 14036 w 43256"/>
              <a:gd name="connsiteY18" fmla="*/ 5051 h 43324"/>
              <a:gd name="connsiteX19" fmla="*/ 15336 w 43256"/>
              <a:gd name="connsiteY19" fmla="*/ 6399 h 43324"/>
              <a:gd name="connsiteX20" fmla="*/ 4163 w 43256"/>
              <a:gd name="connsiteY20" fmla="*/ 15648 h 43324"/>
              <a:gd name="connsiteX21" fmla="*/ 3936 w 43256"/>
              <a:gd name="connsiteY21" fmla="*/ 14229 h 43324"/>
              <a:gd name="connsiteX0" fmla="*/ 3936 w 43256"/>
              <a:gd name="connsiteY0" fmla="*/ 14229 h 43324"/>
              <a:gd name="connsiteX1" fmla="*/ 5659 w 43256"/>
              <a:gd name="connsiteY1" fmla="*/ 6766 h 43324"/>
              <a:gd name="connsiteX2" fmla="*/ 14041 w 43256"/>
              <a:gd name="connsiteY2" fmla="*/ 5061 h 43324"/>
              <a:gd name="connsiteX3" fmla="*/ 22492 w 43256"/>
              <a:gd name="connsiteY3" fmla="*/ 3291 h 43324"/>
              <a:gd name="connsiteX4" fmla="*/ 25785 w 43256"/>
              <a:gd name="connsiteY4" fmla="*/ 59 h 43324"/>
              <a:gd name="connsiteX5" fmla="*/ 29869 w 43256"/>
              <a:gd name="connsiteY5" fmla="*/ 2340 h 43324"/>
              <a:gd name="connsiteX6" fmla="*/ 35499 w 43256"/>
              <a:gd name="connsiteY6" fmla="*/ 549 h 43324"/>
              <a:gd name="connsiteX7" fmla="*/ 38354 w 43256"/>
              <a:gd name="connsiteY7" fmla="*/ 5435 h 43324"/>
              <a:gd name="connsiteX8" fmla="*/ 42018 w 43256"/>
              <a:gd name="connsiteY8" fmla="*/ 10177 h 43324"/>
              <a:gd name="connsiteX9" fmla="*/ 41854 w 43256"/>
              <a:gd name="connsiteY9" fmla="*/ 15319 h 43324"/>
              <a:gd name="connsiteX10" fmla="*/ 43052 w 43256"/>
              <a:gd name="connsiteY10" fmla="*/ 23181 h 43324"/>
              <a:gd name="connsiteX11" fmla="*/ 37440 w 43256"/>
              <a:gd name="connsiteY11" fmla="*/ 30063 h 43324"/>
              <a:gd name="connsiteX12" fmla="*/ 35431 w 43256"/>
              <a:gd name="connsiteY12" fmla="*/ 35960 h 43324"/>
              <a:gd name="connsiteX13" fmla="*/ 28591 w 43256"/>
              <a:gd name="connsiteY13" fmla="*/ 36674 h 43324"/>
              <a:gd name="connsiteX14" fmla="*/ 23703 w 43256"/>
              <a:gd name="connsiteY14" fmla="*/ 42965 h 43324"/>
              <a:gd name="connsiteX15" fmla="*/ 15021 w 43256"/>
              <a:gd name="connsiteY15" fmla="*/ 26327 h 43324"/>
              <a:gd name="connsiteX16" fmla="*/ 8232 w 43256"/>
              <a:gd name="connsiteY16" fmla="*/ 25935 h 43324"/>
              <a:gd name="connsiteX17" fmla="*/ 5731 w 43256"/>
              <a:gd name="connsiteY17" fmla="*/ 26087 h 43324"/>
              <a:gd name="connsiteX18" fmla="*/ 2149 w 43256"/>
              <a:gd name="connsiteY18" fmla="*/ 25410 h 43324"/>
              <a:gd name="connsiteX19" fmla="*/ 31 w 43256"/>
              <a:gd name="connsiteY19" fmla="*/ 19563 h 43324"/>
              <a:gd name="connsiteX20" fmla="*/ 3899 w 43256"/>
              <a:gd name="connsiteY20" fmla="*/ 14366 h 43324"/>
              <a:gd name="connsiteX21" fmla="*/ 3936 w 43256"/>
              <a:gd name="connsiteY21" fmla="*/ 14229 h 43324"/>
              <a:gd name="connsiteX0" fmla="*/ 4729 w 43256"/>
              <a:gd name="connsiteY0" fmla="*/ 26036 h 43324"/>
              <a:gd name="connsiteX1" fmla="*/ 2196 w 43256"/>
              <a:gd name="connsiteY1" fmla="*/ 25239 h 43324"/>
              <a:gd name="connsiteX2" fmla="*/ 8160 w 43256"/>
              <a:gd name="connsiteY2" fmla="*/ 26172 h 43324"/>
              <a:gd name="connsiteX3" fmla="*/ 6653 w 43256"/>
              <a:gd name="connsiteY3" fmla="*/ 26229 h 43324"/>
              <a:gd name="connsiteX4" fmla="*/ 10234 w 43256"/>
              <a:gd name="connsiteY4" fmla="*/ 26961 h 43324"/>
              <a:gd name="connsiteX5" fmla="*/ 10962 w 43256"/>
              <a:gd name="connsiteY5" fmla="*/ 26517 h 43324"/>
              <a:gd name="connsiteX6" fmla="*/ 28863 w 43256"/>
              <a:gd name="connsiteY6" fmla="*/ 34610 h 43324"/>
              <a:gd name="connsiteX7" fmla="*/ 28596 w 43256"/>
              <a:gd name="connsiteY7" fmla="*/ 36519 h 43324"/>
              <a:gd name="connsiteX8" fmla="*/ 34165 w 43256"/>
              <a:gd name="connsiteY8" fmla="*/ 22813 h 43324"/>
              <a:gd name="connsiteX9" fmla="*/ 37416 w 43256"/>
              <a:gd name="connsiteY9" fmla="*/ 29949 h 43324"/>
              <a:gd name="connsiteX10" fmla="*/ 41834 w 43256"/>
              <a:gd name="connsiteY10" fmla="*/ 15213 h 43324"/>
              <a:gd name="connsiteX11" fmla="*/ 40386 w 43256"/>
              <a:gd name="connsiteY11" fmla="*/ 17889 h 43324"/>
              <a:gd name="connsiteX12" fmla="*/ 38360 w 43256"/>
              <a:gd name="connsiteY12" fmla="*/ 5285 h 43324"/>
              <a:gd name="connsiteX13" fmla="*/ 38436 w 43256"/>
              <a:gd name="connsiteY13" fmla="*/ 6549 h 43324"/>
              <a:gd name="connsiteX14" fmla="*/ 29114 w 43256"/>
              <a:gd name="connsiteY14" fmla="*/ 3811 h 43324"/>
              <a:gd name="connsiteX15" fmla="*/ 29856 w 43256"/>
              <a:gd name="connsiteY15" fmla="*/ 2199 h 43324"/>
              <a:gd name="connsiteX16" fmla="*/ 22177 w 43256"/>
              <a:gd name="connsiteY16" fmla="*/ 4579 h 43324"/>
              <a:gd name="connsiteX17" fmla="*/ 22536 w 43256"/>
              <a:gd name="connsiteY17" fmla="*/ 3189 h 43324"/>
              <a:gd name="connsiteX18" fmla="*/ 14036 w 43256"/>
              <a:gd name="connsiteY18" fmla="*/ 5051 h 43324"/>
              <a:gd name="connsiteX19" fmla="*/ 15336 w 43256"/>
              <a:gd name="connsiteY19" fmla="*/ 6399 h 43324"/>
              <a:gd name="connsiteX20" fmla="*/ 4163 w 43256"/>
              <a:gd name="connsiteY20" fmla="*/ 15648 h 43324"/>
              <a:gd name="connsiteX21" fmla="*/ 3936 w 43256"/>
              <a:gd name="connsiteY21" fmla="*/ 14229 h 43324"/>
              <a:gd name="connsiteX0" fmla="*/ 3936 w 43256"/>
              <a:gd name="connsiteY0" fmla="*/ 14229 h 37867"/>
              <a:gd name="connsiteX1" fmla="*/ 5659 w 43256"/>
              <a:gd name="connsiteY1" fmla="*/ 6766 h 37867"/>
              <a:gd name="connsiteX2" fmla="*/ 14041 w 43256"/>
              <a:gd name="connsiteY2" fmla="*/ 5061 h 37867"/>
              <a:gd name="connsiteX3" fmla="*/ 22492 w 43256"/>
              <a:gd name="connsiteY3" fmla="*/ 3291 h 37867"/>
              <a:gd name="connsiteX4" fmla="*/ 25785 w 43256"/>
              <a:gd name="connsiteY4" fmla="*/ 59 h 37867"/>
              <a:gd name="connsiteX5" fmla="*/ 29869 w 43256"/>
              <a:gd name="connsiteY5" fmla="*/ 2340 h 37867"/>
              <a:gd name="connsiteX6" fmla="*/ 35499 w 43256"/>
              <a:gd name="connsiteY6" fmla="*/ 549 h 37867"/>
              <a:gd name="connsiteX7" fmla="*/ 38354 w 43256"/>
              <a:gd name="connsiteY7" fmla="*/ 5435 h 37867"/>
              <a:gd name="connsiteX8" fmla="*/ 42018 w 43256"/>
              <a:gd name="connsiteY8" fmla="*/ 10177 h 37867"/>
              <a:gd name="connsiteX9" fmla="*/ 41854 w 43256"/>
              <a:gd name="connsiteY9" fmla="*/ 15319 h 37867"/>
              <a:gd name="connsiteX10" fmla="*/ 43052 w 43256"/>
              <a:gd name="connsiteY10" fmla="*/ 23181 h 37867"/>
              <a:gd name="connsiteX11" fmla="*/ 37440 w 43256"/>
              <a:gd name="connsiteY11" fmla="*/ 30063 h 37867"/>
              <a:gd name="connsiteX12" fmla="*/ 35431 w 43256"/>
              <a:gd name="connsiteY12" fmla="*/ 35960 h 37867"/>
              <a:gd name="connsiteX13" fmla="*/ 28591 w 43256"/>
              <a:gd name="connsiteY13" fmla="*/ 36674 h 37867"/>
              <a:gd name="connsiteX14" fmla="*/ 23703 w 43256"/>
              <a:gd name="connsiteY14" fmla="*/ 28385 h 37867"/>
              <a:gd name="connsiteX15" fmla="*/ 15021 w 43256"/>
              <a:gd name="connsiteY15" fmla="*/ 26327 h 37867"/>
              <a:gd name="connsiteX16" fmla="*/ 8232 w 43256"/>
              <a:gd name="connsiteY16" fmla="*/ 25935 h 37867"/>
              <a:gd name="connsiteX17" fmla="*/ 5731 w 43256"/>
              <a:gd name="connsiteY17" fmla="*/ 26087 h 37867"/>
              <a:gd name="connsiteX18" fmla="*/ 2149 w 43256"/>
              <a:gd name="connsiteY18" fmla="*/ 25410 h 37867"/>
              <a:gd name="connsiteX19" fmla="*/ 31 w 43256"/>
              <a:gd name="connsiteY19" fmla="*/ 19563 h 37867"/>
              <a:gd name="connsiteX20" fmla="*/ 3899 w 43256"/>
              <a:gd name="connsiteY20" fmla="*/ 14366 h 37867"/>
              <a:gd name="connsiteX21" fmla="*/ 3936 w 43256"/>
              <a:gd name="connsiteY21" fmla="*/ 14229 h 37867"/>
              <a:gd name="connsiteX0" fmla="*/ 4729 w 43256"/>
              <a:gd name="connsiteY0" fmla="*/ 26036 h 37867"/>
              <a:gd name="connsiteX1" fmla="*/ 2196 w 43256"/>
              <a:gd name="connsiteY1" fmla="*/ 25239 h 37867"/>
              <a:gd name="connsiteX2" fmla="*/ 8160 w 43256"/>
              <a:gd name="connsiteY2" fmla="*/ 26172 h 37867"/>
              <a:gd name="connsiteX3" fmla="*/ 6653 w 43256"/>
              <a:gd name="connsiteY3" fmla="*/ 26229 h 37867"/>
              <a:gd name="connsiteX4" fmla="*/ 10234 w 43256"/>
              <a:gd name="connsiteY4" fmla="*/ 26961 h 37867"/>
              <a:gd name="connsiteX5" fmla="*/ 10962 w 43256"/>
              <a:gd name="connsiteY5" fmla="*/ 26517 h 37867"/>
              <a:gd name="connsiteX6" fmla="*/ 28863 w 43256"/>
              <a:gd name="connsiteY6" fmla="*/ 34610 h 37867"/>
              <a:gd name="connsiteX7" fmla="*/ 28596 w 43256"/>
              <a:gd name="connsiteY7" fmla="*/ 36519 h 37867"/>
              <a:gd name="connsiteX8" fmla="*/ 34165 w 43256"/>
              <a:gd name="connsiteY8" fmla="*/ 22813 h 37867"/>
              <a:gd name="connsiteX9" fmla="*/ 37416 w 43256"/>
              <a:gd name="connsiteY9" fmla="*/ 29949 h 37867"/>
              <a:gd name="connsiteX10" fmla="*/ 41834 w 43256"/>
              <a:gd name="connsiteY10" fmla="*/ 15213 h 37867"/>
              <a:gd name="connsiteX11" fmla="*/ 40386 w 43256"/>
              <a:gd name="connsiteY11" fmla="*/ 17889 h 37867"/>
              <a:gd name="connsiteX12" fmla="*/ 38360 w 43256"/>
              <a:gd name="connsiteY12" fmla="*/ 5285 h 37867"/>
              <a:gd name="connsiteX13" fmla="*/ 38436 w 43256"/>
              <a:gd name="connsiteY13" fmla="*/ 6549 h 37867"/>
              <a:gd name="connsiteX14" fmla="*/ 29114 w 43256"/>
              <a:gd name="connsiteY14" fmla="*/ 3811 h 37867"/>
              <a:gd name="connsiteX15" fmla="*/ 29856 w 43256"/>
              <a:gd name="connsiteY15" fmla="*/ 2199 h 37867"/>
              <a:gd name="connsiteX16" fmla="*/ 22177 w 43256"/>
              <a:gd name="connsiteY16" fmla="*/ 4579 h 37867"/>
              <a:gd name="connsiteX17" fmla="*/ 22536 w 43256"/>
              <a:gd name="connsiteY17" fmla="*/ 3189 h 37867"/>
              <a:gd name="connsiteX18" fmla="*/ 14036 w 43256"/>
              <a:gd name="connsiteY18" fmla="*/ 5051 h 37867"/>
              <a:gd name="connsiteX19" fmla="*/ 15336 w 43256"/>
              <a:gd name="connsiteY19" fmla="*/ 6399 h 37867"/>
              <a:gd name="connsiteX20" fmla="*/ 4163 w 43256"/>
              <a:gd name="connsiteY20" fmla="*/ 15648 h 37867"/>
              <a:gd name="connsiteX21" fmla="*/ 3936 w 43256"/>
              <a:gd name="connsiteY21" fmla="*/ 14229 h 37867"/>
              <a:gd name="connsiteX0" fmla="*/ 3936 w 43256"/>
              <a:gd name="connsiteY0" fmla="*/ 14229 h 37867"/>
              <a:gd name="connsiteX1" fmla="*/ 5659 w 43256"/>
              <a:gd name="connsiteY1" fmla="*/ 6766 h 37867"/>
              <a:gd name="connsiteX2" fmla="*/ 14041 w 43256"/>
              <a:gd name="connsiteY2" fmla="*/ 5061 h 37867"/>
              <a:gd name="connsiteX3" fmla="*/ 22492 w 43256"/>
              <a:gd name="connsiteY3" fmla="*/ 3291 h 37867"/>
              <a:gd name="connsiteX4" fmla="*/ 25785 w 43256"/>
              <a:gd name="connsiteY4" fmla="*/ 59 h 37867"/>
              <a:gd name="connsiteX5" fmla="*/ 29869 w 43256"/>
              <a:gd name="connsiteY5" fmla="*/ 2340 h 37867"/>
              <a:gd name="connsiteX6" fmla="*/ 35499 w 43256"/>
              <a:gd name="connsiteY6" fmla="*/ 549 h 37867"/>
              <a:gd name="connsiteX7" fmla="*/ 38354 w 43256"/>
              <a:gd name="connsiteY7" fmla="*/ 5435 h 37867"/>
              <a:gd name="connsiteX8" fmla="*/ 42018 w 43256"/>
              <a:gd name="connsiteY8" fmla="*/ 10177 h 37867"/>
              <a:gd name="connsiteX9" fmla="*/ 41854 w 43256"/>
              <a:gd name="connsiteY9" fmla="*/ 15319 h 37867"/>
              <a:gd name="connsiteX10" fmla="*/ 43052 w 43256"/>
              <a:gd name="connsiteY10" fmla="*/ 23181 h 37867"/>
              <a:gd name="connsiteX11" fmla="*/ 37440 w 43256"/>
              <a:gd name="connsiteY11" fmla="*/ 30063 h 37867"/>
              <a:gd name="connsiteX12" fmla="*/ 35431 w 43256"/>
              <a:gd name="connsiteY12" fmla="*/ 35960 h 37867"/>
              <a:gd name="connsiteX13" fmla="*/ 28591 w 43256"/>
              <a:gd name="connsiteY13" fmla="*/ 36674 h 37867"/>
              <a:gd name="connsiteX14" fmla="*/ 23703 w 43256"/>
              <a:gd name="connsiteY14" fmla="*/ 28385 h 37867"/>
              <a:gd name="connsiteX15" fmla="*/ 15021 w 43256"/>
              <a:gd name="connsiteY15" fmla="*/ 26327 h 37867"/>
              <a:gd name="connsiteX16" fmla="*/ 8232 w 43256"/>
              <a:gd name="connsiteY16" fmla="*/ 25935 h 37867"/>
              <a:gd name="connsiteX17" fmla="*/ 5731 w 43256"/>
              <a:gd name="connsiteY17" fmla="*/ 26087 h 37867"/>
              <a:gd name="connsiteX18" fmla="*/ 2149 w 43256"/>
              <a:gd name="connsiteY18" fmla="*/ 25410 h 37867"/>
              <a:gd name="connsiteX19" fmla="*/ 31 w 43256"/>
              <a:gd name="connsiteY19" fmla="*/ 19563 h 37867"/>
              <a:gd name="connsiteX20" fmla="*/ 3899 w 43256"/>
              <a:gd name="connsiteY20" fmla="*/ 14366 h 37867"/>
              <a:gd name="connsiteX21" fmla="*/ 3936 w 43256"/>
              <a:gd name="connsiteY21" fmla="*/ 14229 h 37867"/>
              <a:gd name="connsiteX0" fmla="*/ 4729 w 43256"/>
              <a:gd name="connsiteY0" fmla="*/ 26036 h 37867"/>
              <a:gd name="connsiteX1" fmla="*/ 2196 w 43256"/>
              <a:gd name="connsiteY1" fmla="*/ 25239 h 37867"/>
              <a:gd name="connsiteX2" fmla="*/ 8160 w 43256"/>
              <a:gd name="connsiteY2" fmla="*/ 26172 h 37867"/>
              <a:gd name="connsiteX3" fmla="*/ 6653 w 43256"/>
              <a:gd name="connsiteY3" fmla="*/ 26229 h 37867"/>
              <a:gd name="connsiteX4" fmla="*/ 10234 w 43256"/>
              <a:gd name="connsiteY4" fmla="*/ 26961 h 37867"/>
              <a:gd name="connsiteX5" fmla="*/ 10962 w 43256"/>
              <a:gd name="connsiteY5" fmla="*/ 26517 h 37867"/>
              <a:gd name="connsiteX6" fmla="*/ 28863 w 43256"/>
              <a:gd name="connsiteY6" fmla="*/ 27320 h 37867"/>
              <a:gd name="connsiteX7" fmla="*/ 28596 w 43256"/>
              <a:gd name="connsiteY7" fmla="*/ 36519 h 37867"/>
              <a:gd name="connsiteX8" fmla="*/ 34165 w 43256"/>
              <a:gd name="connsiteY8" fmla="*/ 22813 h 37867"/>
              <a:gd name="connsiteX9" fmla="*/ 37416 w 43256"/>
              <a:gd name="connsiteY9" fmla="*/ 29949 h 37867"/>
              <a:gd name="connsiteX10" fmla="*/ 41834 w 43256"/>
              <a:gd name="connsiteY10" fmla="*/ 15213 h 37867"/>
              <a:gd name="connsiteX11" fmla="*/ 40386 w 43256"/>
              <a:gd name="connsiteY11" fmla="*/ 17889 h 37867"/>
              <a:gd name="connsiteX12" fmla="*/ 38360 w 43256"/>
              <a:gd name="connsiteY12" fmla="*/ 5285 h 37867"/>
              <a:gd name="connsiteX13" fmla="*/ 38436 w 43256"/>
              <a:gd name="connsiteY13" fmla="*/ 6549 h 37867"/>
              <a:gd name="connsiteX14" fmla="*/ 29114 w 43256"/>
              <a:gd name="connsiteY14" fmla="*/ 3811 h 37867"/>
              <a:gd name="connsiteX15" fmla="*/ 29856 w 43256"/>
              <a:gd name="connsiteY15" fmla="*/ 2199 h 37867"/>
              <a:gd name="connsiteX16" fmla="*/ 22177 w 43256"/>
              <a:gd name="connsiteY16" fmla="*/ 4579 h 37867"/>
              <a:gd name="connsiteX17" fmla="*/ 22536 w 43256"/>
              <a:gd name="connsiteY17" fmla="*/ 3189 h 37867"/>
              <a:gd name="connsiteX18" fmla="*/ 14036 w 43256"/>
              <a:gd name="connsiteY18" fmla="*/ 5051 h 37867"/>
              <a:gd name="connsiteX19" fmla="*/ 15336 w 43256"/>
              <a:gd name="connsiteY19" fmla="*/ 6399 h 37867"/>
              <a:gd name="connsiteX20" fmla="*/ 4163 w 43256"/>
              <a:gd name="connsiteY20" fmla="*/ 15648 h 37867"/>
              <a:gd name="connsiteX21" fmla="*/ 3936 w 43256"/>
              <a:gd name="connsiteY21" fmla="*/ 14229 h 37867"/>
              <a:gd name="connsiteX0" fmla="*/ 3936 w 43256"/>
              <a:gd name="connsiteY0" fmla="*/ 14229 h 37292"/>
              <a:gd name="connsiteX1" fmla="*/ 5659 w 43256"/>
              <a:gd name="connsiteY1" fmla="*/ 6766 h 37292"/>
              <a:gd name="connsiteX2" fmla="*/ 14041 w 43256"/>
              <a:gd name="connsiteY2" fmla="*/ 5061 h 37292"/>
              <a:gd name="connsiteX3" fmla="*/ 22492 w 43256"/>
              <a:gd name="connsiteY3" fmla="*/ 3291 h 37292"/>
              <a:gd name="connsiteX4" fmla="*/ 25785 w 43256"/>
              <a:gd name="connsiteY4" fmla="*/ 59 h 37292"/>
              <a:gd name="connsiteX5" fmla="*/ 29869 w 43256"/>
              <a:gd name="connsiteY5" fmla="*/ 2340 h 37292"/>
              <a:gd name="connsiteX6" fmla="*/ 35499 w 43256"/>
              <a:gd name="connsiteY6" fmla="*/ 549 h 37292"/>
              <a:gd name="connsiteX7" fmla="*/ 38354 w 43256"/>
              <a:gd name="connsiteY7" fmla="*/ 5435 h 37292"/>
              <a:gd name="connsiteX8" fmla="*/ 42018 w 43256"/>
              <a:gd name="connsiteY8" fmla="*/ 10177 h 37292"/>
              <a:gd name="connsiteX9" fmla="*/ 41854 w 43256"/>
              <a:gd name="connsiteY9" fmla="*/ 15319 h 37292"/>
              <a:gd name="connsiteX10" fmla="*/ 43052 w 43256"/>
              <a:gd name="connsiteY10" fmla="*/ 23181 h 37292"/>
              <a:gd name="connsiteX11" fmla="*/ 37440 w 43256"/>
              <a:gd name="connsiteY11" fmla="*/ 30063 h 37292"/>
              <a:gd name="connsiteX12" fmla="*/ 33736 w 43256"/>
              <a:gd name="connsiteY12" fmla="*/ 25430 h 37292"/>
              <a:gd name="connsiteX13" fmla="*/ 28591 w 43256"/>
              <a:gd name="connsiteY13" fmla="*/ 36674 h 37292"/>
              <a:gd name="connsiteX14" fmla="*/ 23703 w 43256"/>
              <a:gd name="connsiteY14" fmla="*/ 28385 h 37292"/>
              <a:gd name="connsiteX15" fmla="*/ 15021 w 43256"/>
              <a:gd name="connsiteY15" fmla="*/ 26327 h 37292"/>
              <a:gd name="connsiteX16" fmla="*/ 8232 w 43256"/>
              <a:gd name="connsiteY16" fmla="*/ 25935 h 37292"/>
              <a:gd name="connsiteX17" fmla="*/ 5731 w 43256"/>
              <a:gd name="connsiteY17" fmla="*/ 26087 h 37292"/>
              <a:gd name="connsiteX18" fmla="*/ 2149 w 43256"/>
              <a:gd name="connsiteY18" fmla="*/ 25410 h 37292"/>
              <a:gd name="connsiteX19" fmla="*/ 31 w 43256"/>
              <a:gd name="connsiteY19" fmla="*/ 19563 h 37292"/>
              <a:gd name="connsiteX20" fmla="*/ 3899 w 43256"/>
              <a:gd name="connsiteY20" fmla="*/ 14366 h 37292"/>
              <a:gd name="connsiteX21" fmla="*/ 3936 w 43256"/>
              <a:gd name="connsiteY21" fmla="*/ 14229 h 37292"/>
              <a:gd name="connsiteX0" fmla="*/ 4729 w 43256"/>
              <a:gd name="connsiteY0" fmla="*/ 26036 h 37292"/>
              <a:gd name="connsiteX1" fmla="*/ 2196 w 43256"/>
              <a:gd name="connsiteY1" fmla="*/ 25239 h 37292"/>
              <a:gd name="connsiteX2" fmla="*/ 8160 w 43256"/>
              <a:gd name="connsiteY2" fmla="*/ 26172 h 37292"/>
              <a:gd name="connsiteX3" fmla="*/ 6653 w 43256"/>
              <a:gd name="connsiteY3" fmla="*/ 26229 h 37292"/>
              <a:gd name="connsiteX4" fmla="*/ 10234 w 43256"/>
              <a:gd name="connsiteY4" fmla="*/ 26961 h 37292"/>
              <a:gd name="connsiteX5" fmla="*/ 10962 w 43256"/>
              <a:gd name="connsiteY5" fmla="*/ 26517 h 37292"/>
              <a:gd name="connsiteX6" fmla="*/ 28863 w 43256"/>
              <a:gd name="connsiteY6" fmla="*/ 27320 h 37292"/>
              <a:gd name="connsiteX7" fmla="*/ 28596 w 43256"/>
              <a:gd name="connsiteY7" fmla="*/ 36519 h 37292"/>
              <a:gd name="connsiteX8" fmla="*/ 34165 w 43256"/>
              <a:gd name="connsiteY8" fmla="*/ 22813 h 37292"/>
              <a:gd name="connsiteX9" fmla="*/ 37416 w 43256"/>
              <a:gd name="connsiteY9" fmla="*/ 29949 h 37292"/>
              <a:gd name="connsiteX10" fmla="*/ 41834 w 43256"/>
              <a:gd name="connsiteY10" fmla="*/ 15213 h 37292"/>
              <a:gd name="connsiteX11" fmla="*/ 40386 w 43256"/>
              <a:gd name="connsiteY11" fmla="*/ 17889 h 37292"/>
              <a:gd name="connsiteX12" fmla="*/ 38360 w 43256"/>
              <a:gd name="connsiteY12" fmla="*/ 5285 h 37292"/>
              <a:gd name="connsiteX13" fmla="*/ 38436 w 43256"/>
              <a:gd name="connsiteY13" fmla="*/ 6549 h 37292"/>
              <a:gd name="connsiteX14" fmla="*/ 29114 w 43256"/>
              <a:gd name="connsiteY14" fmla="*/ 3811 h 37292"/>
              <a:gd name="connsiteX15" fmla="*/ 29856 w 43256"/>
              <a:gd name="connsiteY15" fmla="*/ 2199 h 37292"/>
              <a:gd name="connsiteX16" fmla="*/ 22177 w 43256"/>
              <a:gd name="connsiteY16" fmla="*/ 4579 h 37292"/>
              <a:gd name="connsiteX17" fmla="*/ 22536 w 43256"/>
              <a:gd name="connsiteY17" fmla="*/ 3189 h 37292"/>
              <a:gd name="connsiteX18" fmla="*/ 14036 w 43256"/>
              <a:gd name="connsiteY18" fmla="*/ 5051 h 37292"/>
              <a:gd name="connsiteX19" fmla="*/ 15336 w 43256"/>
              <a:gd name="connsiteY19" fmla="*/ 6399 h 37292"/>
              <a:gd name="connsiteX20" fmla="*/ 4163 w 43256"/>
              <a:gd name="connsiteY20" fmla="*/ 15648 h 37292"/>
              <a:gd name="connsiteX21" fmla="*/ 3936 w 43256"/>
              <a:gd name="connsiteY21" fmla="*/ 14229 h 37292"/>
              <a:gd name="connsiteX0" fmla="*/ 3936 w 43256"/>
              <a:gd name="connsiteY0" fmla="*/ 14229 h 37292"/>
              <a:gd name="connsiteX1" fmla="*/ 5659 w 43256"/>
              <a:gd name="connsiteY1" fmla="*/ 6766 h 37292"/>
              <a:gd name="connsiteX2" fmla="*/ 14041 w 43256"/>
              <a:gd name="connsiteY2" fmla="*/ 5061 h 37292"/>
              <a:gd name="connsiteX3" fmla="*/ 22492 w 43256"/>
              <a:gd name="connsiteY3" fmla="*/ 3291 h 37292"/>
              <a:gd name="connsiteX4" fmla="*/ 25785 w 43256"/>
              <a:gd name="connsiteY4" fmla="*/ 59 h 37292"/>
              <a:gd name="connsiteX5" fmla="*/ 29869 w 43256"/>
              <a:gd name="connsiteY5" fmla="*/ 2340 h 37292"/>
              <a:gd name="connsiteX6" fmla="*/ 35499 w 43256"/>
              <a:gd name="connsiteY6" fmla="*/ 549 h 37292"/>
              <a:gd name="connsiteX7" fmla="*/ 38354 w 43256"/>
              <a:gd name="connsiteY7" fmla="*/ 5435 h 37292"/>
              <a:gd name="connsiteX8" fmla="*/ 42018 w 43256"/>
              <a:gd name="connsiteY8" fmla="*/ 10177 h 37292"/>
              <a:gd name="connsiteX9" fmla="*/ 41854 w 43256"/>
              <a:gd name="connsiteY9" fmla="*/ 15319 h 37292"/>
              <a:gd name="connsiteX10" fmla="*/ 43052 w 43256"/>
              <a:gd name="connsiteY10" fmla="*/ 23181 h 37292"/>
              <a:gd name="connsiteX11" fmla="*/ 37440 w 43256"/>
              <a:gd name="connsiteY11" fmla="*/ 30063 h 37292"/>
              <a:gd name="connsiteX12" fmla="*/ 33736 w 43256"/>
              <a:gd name="connsiteY12" fmla="*/ 25430 h 37292"/>
              <a:gd name="connsiteX13" fmla="*/ 28591 w 43256"/>
              <a:gd name="connsiteY13" fmla="*/ 36674 h 37292"/>
              <a:gd name="connsiteX14" fmla="*/ 23703 w 43256"/>
              <a:gd name="connsiteY14" fmla="*/ 28385 h 37292"/>
              <a:gd name="connsiteX15" fmla="*/ 15021 w 43256"/>
              <a:gd name="connsiteY15" fmla="*/ 26327 h 37292"/>
              <a:gd name="connsiteX16" fmla="*/ 8232 w 43256"/>
              <a:gd name="connsiteY16" fmla="*/ 25935 h 37292"/>
              <a:gd name="connsiteX17" fmla="*/ 5731 w 43256"/>
              <a:gd name="connsiteY17" fmla="*/ 26087 h 37292"/>
              <a:gd name="connsiteX18" fmla="*/ 2149 w 43256"/>
              <a:gd name="connsiteY18" fmla="*/ 25410 h 37292"/>
              <a:gd name="connsiteX19" fmla="*/ 31 w 43256"/>
              <a:gd name="connsiteY19" fmla="*/ 19563 h 37292"/>
              <a:gd name="connsiteX20" fmla="*/ 3899 w 43256"/>
              <a:gd name="connsiteY20" fmla="*/ 14366 h 37292"/>
              <a:gd name="connsiteX21" fmla="*/ 3936 w 43256"/>
              <a:gd name="connsiteY21" fmla="*/ 14229 h 37292"/>
              <a:gd name="connsiteX0" fmla="*/ 4729 w 43256"/>
              <a:gd name="connsiteY0" fmla="*/ 26036 h 37292"/>
              <a:gd name="connsiteX1" fmla="*/ 2196 w 43256"/>
              <a:gd name="connsiteY1" fmla="*/ 25239 h 37292"/>
              <a:gd name="connsiteX2" fmla="*/ 8160 w 43256"/>
              <a:gd name="connsiteY2" fmla="*/ 26172 h 37292"/>
              <a:gd name="connsiteX3" fmla="*/ 6653 w 43256"/>
              <a:gd name="connsiteY3" fmla="*/ 26229 h 37292"/>
              <a:gd name="connsiteX4" fmla="*/ 10234 w 43256"/>
              <a:gd name="connsiteY4" fmla="*/ 26961 h 37292"/>
              <a:gd name="connsiteX5" fmla="*/ 10962 w 43256"/>
              <a:gd name="connsiteY5" fmla="*/ 26517 h 37292"/>
              <a:gd name="connsiteX6" fmla="*/ 28863 w 43256"/>
              <a:gd name="connsiteY6" fmla="*/ 27320 h 37292"/>
              <a:gd name="connsiteX7" fmla="*/ 27998 w 43256"/>
              <a:gd name="connsiteY7" fmla="*/ 27933 h 37292"/>
              <a:gd name="connsiteX8" fmla="*/ 34165 w 43256"/>
              <a:gd name="connsiteY8" fmla="*/ 22813 h 37292"/>
              <a:gd name="connsiteX9" fmla="*/ 37416 w 43256"/>
              <a:gd name="connsiteY9" fmla="*/ 29949 h 37292"/>
              <a:gd name="connsiteX10" fmla="*/ 41834 w 43256"/>
              <a:gd name="connsiteY10" fmla="*/ 15213 h 37292"/>
              <a:gd name="connsiteX11" fmla="*/ 40386 w 43256"/>
              <a:gd name="connsiteY11" fmla="*/ 17889 h 37292"/>
              <a:gd name="connsiteX12" fmla="*/ 38360 w 43256"/>
              <a:gd name="connsiteY12" fmla="*/ 5285 h 37292"/>
              <a:gd name="connsiteX13" fmla="*/ 38436 w 43256"/>
              <a:gd name="connsiteY13" fmla="*/ 6549 h 37292"/>
              <a:gd name="connsiteX14" fmla="*/ 29114 w 43256"/>
              <a:gd name="connsiteY14" fmla="*/ 3811 h 37292"/>
              <a:gd name="connsiteX15" fmla="*/ 29856 w 43256"/>
              <a:gd name="connsiteY15" fmla="*/ 2199 h 37292"/>
              <a:gd name="connsiteX16" fmla="*/ 22177 w 43256"/>
              <a:gd name="connsiteY16" fmla="*/ 4579 h 37292"/>
              <a:gd name="connsiteX17" fmla="*/ 22536 w 43256"/>
              <a:gd name="connsiteY17" fmla="*/ 3189 h 37292"/>
              <a:gd name="connsiteX18" fmla="*/ 14036 w 43256"/>
              <a:gd name="connsiteY18" fmla="*/ 5051 h 37292"/>
              <a:gd name="connsiteX19" fmla="*/ 15336 w 43256"/>
              <a:gd name="connsiteY19" fmla="*/ 6399 h 37292"/>
              <a:gd name="connsiteX20" fmla="*/ 4163 w 43256"/>
              <a:gd name="connsiteY20" fmla="*/ 15648 h 37292"/>
              <a:gd name="connsiteX21" fmla="*/ 3936 w 43256"/>
              <a:gd name="connsiteY21" fmla="*/ 14229 h 37292"/>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703 w 43256"/>
              <a:gd name="connsiteY14" fmla="*/ 28385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998 w 43256"/>
              <a:gd name="connsiteY7" fmla="*/ 27933 h 30549"/>
              <a:gd name="connsiteX8" fmla="*/ 34165 w 43256"/>
              <a:gd name="connsiteY8" fmla="*/ 22813 h 30549"/>
              <a:gd name="connsiteX9" fmla="*/ 37416 w 43256"/>
              <a:gd name="connsiteY9" fmla="*/ 2994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703 w 43256"/>
              <a:gd name="connsiteY14" fmla="*/ 28385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998 w 43256"/>
              <a:gd name="connsiteY7" fmla="*/ 27933 h 30549"/>
              <a:gd name="connsiteX8" fmla="*/ 34165 w 43256"/>
              <a:gd name="connsiteY8" fmla="*/ 22813 h 30549"/>
              <a:gd name="connsiteX9" fmla="*/ 37416 w 43256"/>
              <a:gd name="connsiteY9" fmla="*/ 2994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404 w 43256"/>
              <a:gd name="connsiteY14" fmla="*/ 26927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998 w 43256"/>
              <a:gd name="connsiteY7" fmla="*/ 27933 h 30549"/>
              <a:gd name="connsiteX8" fmla="*/ 34165 w 43256"/>
              <a:gd name="connsiteY8" fmla="*/ 22813 h 30549"/>
              <a:gd name="connsiteX9" fmla="*/ 37416 w 43256"/>
              <a:gd name="connsiteY9" fmla="*/ 2994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404 w 43256"/>
              <a:gd name="connsiteY14" fmla="*/ 26927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898 w 43256"/>
              <a:gd name="connsiteY7" fmla="*/ 26961 h 30549"/>
              <a:gd name="connsiteX8" fmla="*/ 34165 w 43256"/>
              <a:gd name="connsiteY8" fmla="*/ 22813 h 30549"/>
              <a:gd name="connsiteX9" fmla="*/ 37416 w 43256"/>
              <a:gd name="connsiteY9" fmla="*/ 2994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256"/>
              <a:gd name="connsiteY0" fmla="*/ 14229 h 30549"/>
              <a:gd name="connsiteX1" fmla="*/ 5659 w 43256"/>
              <a:gd name="connsiteY1" fmla="*/ 6766 h 30549"/>
              <a:gd name="connsiteX2" fmla="*/ 14041 w 43256"/>
              <a:gd name="connsiteY2" fmla="*/ 5061 h 30549"/>
              <a:gd name="connsiteX3" fmla="*/ 22492 w 43256"/>
              <a:gd name="connsiteY3" fmla="*/ 3291 h 30549"/>
              <a:gd name="connsiteX4" fmla="*/ 25785 w 43256"/>
              <a:gd name="connsiteY4" fmla="*/ 59 h 30549"/>
              <a:gd name="connsiteX5" fmla="*/ 29869 w 43256"/>
              <a:gd name="connsiteY5" fmla="*/ 2340 h 30549"/>
              <a:gd name="connsiteX6" fmla="*/ 35499 w 43256"/>
              <a:gd name="connsiteY6" fmla="*/ 549 h 30549"/>
              <a:gd name="connsiteX7" fmla="*/ 38354 w 43256"/>
              <a:gd name="connsiteY7" fmla="*/ 5435 h 30549"/>
              <a:gd name="connsiteX8" fmla="*/ 42018 w 43256"/>
              <a:gd name="connsiteY8" fmla="*/ 10177 h 30549"/>
              <a:gd name="connsiteX9" fmla="*/ 41854 w 43256"/>
              <a:gd name="connsiteY9" fmla="*/ 15319 h 30549"/>
              <a:gd name="connsiteX10" fmla="*/ 43052 w 43256"/>
              <a:gd name="connsiteY10" fmla="*/ 23181 h 30549"/>
              <a:gd name="connsiteX11" fmla="*/ 37440 w 43256"/>
              <a:gd name="connsiteY11" fmla="*/ 30063 h 30549"/>
              <a:gd name="connsiteX12" fmla="*/ 33736 w 43256"/>
              <a:gd name="connsiteY12" fmla="*/ 25430 h 30549"/>
              <a:gd name="connsiteX13" fmla="*/ 26099 w 43256"/>
              <a:gd name="connsiteY13" fmla="*/ 26792 h 30549"/>
              <a:gd name="connsiteX14" fmla="*/ 23404 w 43256"/>
              <a:gd name="connsiteY14" fmla="*/ 26927 h 30549"/>
              <a:gd name="connsiteX15" fmla="*/ 15021 w 43256"/>
              <a:gd name="connsiteY15" fmla="*/ 26327 h 30549"/>
              <a:gd name="connsiteX16" fmla="*/ 8232 w 43256"/>
              <a:gd name="connsiteY16" fmla="*/ 25935 h 30549"/>
              <a:gd name="connsiteX17" fmla="*/ 5731 w 43256"/>
              <a:gd name="connsiteY17" fmla="*/ 26087 h 30549"/>
              <a:gd name="connsiteX18" fmla="*/ 2149 w 43256"/>
              <a:gd name="connsiteY18" fmla="*/ 25410 h 30549"/>
              <a:gd name="connsiteX19" fmla="*/ 31 w 43256"/>
              <a:gd name="connsiteY19" fmla="*/ 19563 h 30549"/>
              <a:gd name="connsiteX20" fmla="*/ 3899 w 43256"/>
              <a:gd name="connsiteY20" fmla="*/ 14366 h 30549"/>
              <a:gd name="connsiteX21" fmla="*/ 3936 w 43256"/>
              <a:gd name="connsiteY21" fmla="*/ 14229 h 30549"/>
              <a:gd name="connsiteX0" fmla="*/ 4729 w 43256"/>
              <a:gd name="connsiteY0" fmla="*/ 26036 h 30549"/>
              <a:gd name="connsiteX1" fmla="*/ 2196 w 43256"/>
              <a:gd name="connsiteY1" fmla="*/ 25239 h 30549"/>
              <a:gd name="connsiteX2" fmla="*/ 8160 w 43256"/>
              <a:gd name="connsiteY2" fmla="*/ 26172 h 30549"/>
              <a:gd name="connsiteX3" fmla="*/ 6653 w 43256"/>
              <a:gd name="connsiteY3" fmla="*/ 26229 h 30549"/>
              <a:gd name="connsiteX4" fmla="*/ 10234 w 43256"/>
              <a:gd name="connsiteY4" fmla="*/ 26961 h 30549"/>
              <a:gd name="connsiteX5" fmla="*/ 10962 w 43256"/>
              <a:gd name="connsiteY5" fmla="*/ 26517 h 30549"/>
              <a:gd name="connsiteX6" fmla="*/ 28863 w 43256"/>
              <a:gd name="connsiteY6" fmla="*/ 27320 h 30549"/>
              <a:gd name="connsiteX7" fmla="*/ 27898 w 43256"/>
              <a:gd name="connsiteY7" fmla="*/ 26961 h 30549"/>
              <a:gd name="connsiteX8" fmla="*/ 34165 w 43256"/>
              <a:gd name="connsiteY8" fmla="*/ 22813 h 30549"/>
              <a:gd name="connsiteX9" fmla="*/ 38512 w 43256"/>
              <a:gd name="connsiteY9" fmla="*/ 26709 h 30549"/>
              <a:gd name="connsiteX10" fmla="*/ 41834 w 43256"/>
              <a:gd name="connsiteY10" fmla="*/ 15213 h 30549"/>
              <a:gd name="connsiteX11" fmla="*/ 40386 w 43256"/>
              <a:gd name="connsiteY11" fmla="*/ 17889 h 30549"/>
              <a:gd name="connsiteX12" fmla="*/ 38360 w 43256"/>
              <a:gd name="connsiteY12" fmla="*/ 5285 h 30549"/>
              <a:gd name="connsiteX13" fmla="*/ 38436 w 43256"/>
              <a:gd name="connsiteY13" fmla="*/ 6549 h 30549"/>
              <a:gd name="connsiteX14" fmla="*/ 29114 w 43256"/>
              <a:gd name="connsiteY14" fmla="*/ 3811 h 30549"/>
              <a:gd name="connsiteX15" fmla="*/ 29856 w 43256"/>
              <a:gd name="connsiteY15" fmla="*/ 2199 h 30549"/>
              <a:gd name="connsiteX16" fmla="*/ 22177 w 43256"/>
              <a:gd name="connsiteY16" fmla="*/ 4579 h 30549"/>
              <a:gd name="connsiteX17" fmla="*/ 22536 w 43256"/>
              <a:gd name="connsiteY17" fmla="*/ 3189 h 30549"/>
              <a:gd name="connsiteX18" fmla="*/ 14036 w 43256"/>
              <a:gd name="connsiteY18" fmla="*/ 5051 h 30549"/>
              <a:gd name="connsiteX19" fmla="*/ 15336 w 43256"/>
              <a:gd name="connsiteY19" fmla="*/ 6399 h 30549"/>
              <a:gd name="connsiteX20" fmla="*/ 4163 w 43256"/>
              <a:gd name="connsiteY20" fmla="*/ 15648 h 30549"/>
              <a:gd name="connsiteX21" fmla="*/ 3936 w 43256"/>
              <a:gd name="connsiteY21" fmla="*/ 14229 h 30549"/>
              <a:gd name="connsiteX0" fmla="*/ 3936 w 43488"/>
              <a:gd name="connsiteY0" fmla="*/ 14229 h 27520"/>
              <a:gd name="connsiteX1" fmla="*/ 5659 w 43488"/>
              <a:gd name="connsiteY1" fmla="*/ 6766 h 27520"/>
              <a:gd name="connsiteX2" fmla="*/ 14041 w 43488"/>
              <a:gd name="connsiteY2" fmla="*/ 5061 h 27520"/>
              <a:gd name="connsiteX3" fmla="*/ 22492 w 43488"/>
              <a:gd name="connsiteY3" fmla="*/ 3291 h 27520"/>
              <a:gd name="connsiteX4" fmla="*/ 25785 w 43488"/>
              <a:gd name="connsiteY4" fmla="*/ 59 h 27520"/>
              <a:gd name="connsiteX5" fmla="*/ 29869 w 43488"/>
              <a:gd name="connsiteY5" fmla="*/ 2340 h 27520"/>
              <a:gd name="connsiteX6" fmla="*/ 35499 w 43488"/>
              <a:gd name="connsiteY6" fmla="*/ 549 h 27520"/>
              <a:gd name="connsiteX7" fmla="*/ 38354 w 43488"/>
              <a:gd name="connsiteY7" fmla="*/ 5435 h 27520"/>
              <a:gd name="connsiteX8" fmla="*/ 42018 w 43488"/>
              <a:gd name="connsiteY8" fmla="*/ 10177 h 27520"/>
              <a:gd name="connsiteX9" fmla="*/ 41854 w 43488"/>
              <a:gd name="connsiteY9" fmla="*/ 15319 h 27520"/>
              <a:gd name="connsiteX10" fmla="*/ 43052 w 43488"/>
              <a:gd name="connsiteY10" fmla="*/ 23181 h 27520"/>
              <a:gd name="connsiteX11" fmla="*/ 35646 w 43488"/>
              <a:gd name="connsiteY11" fmla="*/ 25365 h 27520"/>
              <a:gd name="connsiteX12" fmla="*/ 33736 w 43488"/>
              <a:gd name="connsiteY12" fmla="*/ 25430 h 27520"/>
              <a:gd name="connsiteX13" fmla="*/ 26099 w 43488"/>
              <a:gd name="connsiteY13" fmla="*/ 26792 h 27520"/>
              <a:gd name="connsiteX14" fmla="*/ 23404 w 43488"/>
              <a:gd name="connsiteY14" fmla="*/ 26927 h 27520"/>
              <a:gd name="connsiteX15" fmla="*/ 15021 w 43488"/>
              <a:gd name="connsiteY15" fmla="*/ 26327 h 27520"/>
              <a:gd name="connsiteX16" fmla="*/ 8232 w 43488"/>
              <a:gd name="connsiteY16" fmla="*/ 25935 h 27520"/>
              <a:gd name="connsiteX17" fmla="*/ 5731 w 43488"/>
              <a:gd name="connsiteY17" fmla="*/ 26087 h 27520"/>
              <a:gd name="connsiteX18" fmla="*/ 2149 w 43488"/>
              <a:gd name="connsiteY18" fmla="*/ 25410 h 27520"/>
              <a:gd name="connsiteX19" fmla="*/ 31 w 43488"/>
              <a:gd name="connsiteY19" fmla="*/ 19563 h 27520"/>
              <a:gd name="connsiteX20" fmla="*/ 3899 w 43488"/>
              <a:gd name="connsiteY20" fmla="*/ 14366 h 27520"/>
              <a:gd name="connsiteX21" fmla="*/ 3936 w 43488"/>
              <a:gd name="connsiteY21" fmla="*/ 14229 h 27520"/>
              <a:gd name="connsiteX0" fmla="*/ 4729 w 43488"/>
              <a:gd name="connsiteY0" fmla="*/ 26036 h 27520"/>
              <a:gd name="connsiteX1" fmla="*/ 2196 w 43488"/>
              <a:gd name="connsiteY1" fmla="*/ 25239 h 27520"/>
              <a:gd name="connsiteX2" fmla="*/ 8160 w 43488"/>
              <a:gd name="connsiteY2" fmla="*/ 26172 h 27520"/>
              <a:gd name="connsiteX3" fmla="*/ 6653 w 43488"/>
              <a:gd name="connsiteY3" fmla="*/ 26229 h 27520"/>
              <a:gd name="connsiteX4" fmla="*/ 10234 w 43488"/>
              <a:gd name="connsiteY4" fmla="*/ 26961 h 27520"/>
              <a:gd name="connsiteX5" fmla="*/ 10962 w 43488"/>
              <a:gd name="connsiteY5" fmla="*/ 26517 h 27520"/>
              <a:gd name="connsiteX6" fmla="*/ 28863 w 43488"/>
              <a:gd name="connsiteY6" fmla="*/ 27320 h 27520"/>
              <a:gd name="connsiteX7" fmla="*/ 27898 w 43488"/>
              <a:gd name="connsiteY7" fmla="*/ 26961 h 27520"/>
              <a:gd name="connsiteX8" fmla="*/ 34165 w 43488"/>
              <a:gd name="connsiteY8" fmla="*/ 22813 h 27520"/>
              <a:gd name="connsiteX9" fmla="*/ 38512 w 43488"/>
              <a:gd name="connsiteY9" fmla="*/ 26709 h 27520"/>
              <a:gd name="connsiteX10" fmla="*/ 41834 w 43488"/>
              <a:gd name="connsiteY10" fmla="*/ 15213 h 27520"/>
              <a:gd name="connsiteX11" fmla="*/ 40386 w 43488"/>
              <a:gd name="connsiteY11" fmla="*/ 17889 h 27520"/>
              <a:gd name="connsiteX12" fmla="*/ 38360 w 43488"/>
              <a:gd name="connsiteY12" fmla="*/ 5285 h 27520"/>
              <a:gd name="connsiteX13" fmla="*/ 38436 w 43488"/>
              <a:gd name="connsiteY13" fmla="*/ 6549 h 27520"/>
              <a:gd name="connsiteX14" fmla="*/ 29114 w 43488"/>
              <a:gd name="connsiteY14" fmla="*/ 3811 h 27520"/>
              <a:gd name="connsiteX15" fmla="*/ 29856 w 43488"/>
              <a:gd name="connsiteY15" fmla="*/ 2199 h 27520"/>
              <a:gd name="connsiteX16" fmla="*/ 22177 w 43488"/>
              <a:gd name="connsiteY16" fmla="*/ 4579 h 27520"/>
              <a:gd name="connsiteX17" fmla="*/ 22536 w 43488"/>
              <a:gd name="connsiteY17" fmla="*/ 3189 h 27520"/>
              <a:gd name="connsiteX18" fmla="*/ 14036 w 43488"/>
              <a:gd name="connsiteY18" fmla="*/ 5051 h 27520"/>
              <a:gd name="connsiteX19" fmla="*/ 15336 w 43488"/>
              <a:gd name="connsiteY19" fmla="*/ 6399 h 27520"/>
              <a:gd name="connsiteX20" fmla="*/ 4163 w 43488"/>
              <a:gd name="connsiteY20" fmla="*/ 15648 h 27520"/>
              <a:gd name="connsiteX21" fmla="*/ 3936 w 43488"/>
              <a:gd name="connsiteY21" fmla="*/ 14229 h 27520"/>
              <a:gd name="connsiteX0" fmla="*/ 3936 w 43488"/>
              <a:gd name="connsiteY0" fmla="*/ 14229 h 27520"/>
              <a:gd name="connsiteX1" fmla="*/ 5659 w 43488"/>
              <a:gd name="connsiteY1" fmla="*/ 6766 h 27520"/>
              <a:gd name="connsiteX2" fmla="*/ 14041 w 43488"/>
              <a:gd name="connsiteY2" fmla="*/ 5061 h 27520"/>
              <a:gd name="connsiteX3" fmla="*/ 22492 w 43488"/>
              <a:gd name="connsiteY3" fmla="*/ 3291 h 27520"/>
              <a:gd name="connsiteX4" fmla="*/ 25785 w 43488"/>
              <a:gd name="connsiteY4" fmla="*/ 59 h 27520"/>
              <a:gd name="connsiteX5" fmla="*/ 29869 w 43488"/>
              <a:gd name="connsiteY5" fmla="*/ 2340 h 27520"/>
              <a:gd name="connsiteX6" fmla="*/ 35499 w 43488"/>
              <a:gd name="connsiteY6" fmla="*/ 549 h 27520"/>
              <a:gd name="connsiteX7" fmla="*/ 38354 w 43488"/>
              <a:gd name="connsiteY7" fmla="*/ 5435 h 27520"/>
              <a:gd name="connsiteX8" fmla="*/ 42018 w 43488"/>
              <a:gd name="connsiteY8" fmla="*/ 10177 h 27520"/>
              <a:gd name="connsiteX9" fmla="*/ 41854 w 43488"/>
              <a:gd name="connsiteY9" fmla="*/ 15319 h 27520"/>
              <a:gd name="connsiteX10" fmla="*/ 43052 w 43488"/>
              <a:gd name="connsiteY10" fmla="*/ 23181 h 27520"/>
              <a:gd name="connsiteX11" fmla="*/ 35646 w 43488"/>
              <a:gd name="connsiteY11" fmla="*/ 25365 h 27520"/>
              <a:gd name="connsiteX12" fmla="*/ 33736 w 43488"/>
              <a:gd name="connsiteY12" fmla="*/ 25430 h 27520"/>
              <a:gd name="connsiteX13" fmla="*/ 26099 w 43488"/>
              <a:gd name="connsiteY13" fmla="*/ 26792 h 27520"/>
              <a:gd name="connsiteX14" fmla="*/ 23404 w 43488"/>
              <a:gd name="connsiteY14" fmla="*/ 26927 h 27520"/>
              <a:gd name="connsiteX15" fmla="*/ 15021 w 43488"/>
              <a:gd name="connsiteY15" fmla="*/ 26327 h 27520"/>
              <a:gd name="connsiteX16" fmla="*/ 8232 w 43488"/>
              <a:gd name="connsiteY16" fmla="*/ 25935 h 27520"/>
              <a:gd name="connsiteX17" fmla="*/ 5731 w 43488"/>
              <a:gd name="connsiteY17" fmla="*/ 26087 h 27520"/>
              <a:gd name="connsiteX18" fmla="*/ 2149 w 43488"/>
              <a:gd name="connsiteY18" fmla="*/ 25410 h 27520"/>
              <a:gd name="connsiteX19" fmla="*/ 31 w 43488"/>
              <a:gd name="connsiteY19" fmla="*/ 19563 h 27520"/>
              <a:gd name="connsiteX20" fmla="*/ 3899 w 43488"/>
              <a:gd name="connsiteY20" fmla="*/ 14366 h 27520"/>
              <a:gd name="connsiteX21" fmla="*/ 3936 w 43488"/>
              <a:gd name="connsiteY21" fmla="*/ 14229 h 27520"/>
              <a:gd name="connsiteX0" fmla="*/ 4729 w 43488"/>
              <a:gd name="connsiteY0" fmla="*/ 26036 h 27520"/>
              <a:gd name="connsiteX1" fmla="*/ 2196 w 43488"/>
              <a:gd name="connsiteY1" fmla="*/ 25239 h 27520"/>
              <a:gd name="connsiteX2" fmla="*/ 8160 w 43488"/>
              <a:gd name="connsiteY2" fmla="*/ 26172 h 27520"/>
              <a:gd name="connsiteX3" fmla="*/ 6653 w 43488"/>
              <a:gd name="connsiteY3" fmla="*/ 26229 h 27520"/>
              <a:gd name="connsiteX4" fmla="*/ 10234 w 43488"/>
              <a:gd name="connsiteY4" fmla="*/ 26961 h 27520"/>
              <a:gd name="connsiteX5" fmla="*/ 10962 w 43488"/>
              <a:gd name="connsiteY5" fmla="*/ 26517 h 27520"/>
              <a:gd name="connsiteX6" fmla="*/ 29860 w 43488"/>
              <a:gd name="connsiteY6" fmla="*/ 26510 h 27520"/>
              <a:gd name="connsiteX7" fmla="*/ 27898 w 43488"/>
              <a:gd name="connsiteY7" fmla="*/ 26961 h 27520"/>
              <a:gd name="connsiteX8" fmla="*/ 34165 w 43488"/>
              <a:gd name="connsiteY8" fmla="*/ 22813 h 27520"/>
              <a:gd name="connsiteX9" fmla="*/ 38512 w 43488"/>
              <a:gd name="connsiteY9" fmla="*/ 26709 h 27520"/>
              <a:gd name="connsiteX10" fmla="*/ 41834 w 43488"/>
              <a:gd name="connsiteY10" fmla="*/ 15213 h 27520"/>
              <a:gd name="connsiteX11" fmla="*/ 40386 w 43488"/>
              <a:gd name="connsiteY11" fmla="*/ 17889 h 27520"/>
              <a:gd name="connsiteX12" fmla="*/ 38360 w 43488"/>
              <a:gd name="connsiteY12" fmla="*/ 5285 h 27520"/>
              <a:gd name="connsiteX13" fmla="*/ 38436 w 43488"/>
              <a:gd name="connsiteY13" fmla="*/ 6549 h 27520"/>
              <a:gd name="connsiteX14" fmla="*/ 29114 w 43488"/>
              <a:gd name="connsiteY14" fmla="*/ 3811 h 27520"/>
              <a:gd name="connsiteX15" fmla="*/ 29856 w 43488"/>
              <a:gd name="connsiteY15" fmla="*/ 2199 h 27520"/>
              <a:gd name="connsiteX16" fmla="*/ 22177 w 43488"/>
              <a:gd name="connsiteY16" fmla="*/ 4579 h 27520"/>
              <a:gd name="connsiteX17" fmla="*/ 22536 w 43488"/>
              <a:gd name="connsiteY17" fmla="*/ 3189 h 27520"/>
              <a:gd name="connsiteX18" fmla="*/ 14036 w 43488"/>
              <a:gd name="connsiteY18" fmla="*/ 5051 h 27520"/>
              <a:gd name="connsiteX19" fmla="*/ 15336 w 43488"/>
              <a:gd name="connsiteY19" fmla="*/ 6399 h 27520"/>
              <a:gd name="connsiteX20" fmla="*/ 4163 w 43488"/>
              <a:gd name="connsiteY20" fmla="*/ 15648 h 27520"/>
              <a:gd name="connsiteX21" fmla="*/ 3936 w 43488"/>
              <a:gd name="connsiteY21" fmla="*/ 14229 h 27520"/>
              <a:gd name="connsiteX0" fmla="*/ 3936 w 43488"/>
              <a:gd name="connsiteY0" fmla="*/ 14229 h 27557"/>
              <a:gd name="connsiteX1" fmla="*/ 5659 w 43488"/>
              <a:gd name="connsiteY1" fmla="*/ 6766 h 27557"/>
              <a:gd name="connsiteX2" fmla="*/ 14041 w 43488"/>
              <a:gd name="connsiteY2" fmla="*/ 5061 h 27557"/>
              <a:gd name="connsiteX3" fmla="*/ 22492 w 43488"/>
              <a:gd name="connsiteY3" fmla="*/ 3291 h 27557"/>
              <a:gd name="connsiteX4" fmla="*/ 25785 w 43488"/>
              <a:gd name="connsiteY4" fmla="*/ 59 h 27557"/>
              <a:gd name="connsiteX5" fmla="*/ 29869 w 43488"/>
              <a:gd name="connsiteY5" fmla="*/ 2340 h 27557"/>
              <a:gd name="connsiteX6" fmla="*/ 35499 w 43488"/>
              <a:gd name="connsiteY6" fmla="*/ 549 h 27557"/>
              <a:gd name="connsiteX7" fmla="*/ 38354 w 43488"/>
              <a:gd name="connsiteY7" fmla="*/ 5435 h 27557"/>
              <a:gd name="connsiteX8" fmla="*/ 42018 w 43488"/>
              <a:gd name="connsiteY8" fmla="*/ 10177 h 27557"/>
              <a:gd name="connsiteX9" fmla="*/ 41854 w 43488"/>
              <a:gd name="connsiteY9" fmla="*/ 15319 h 27557"/>
              <a:gd name="connsiteX10" fmla="*/ 43052 w 43488"/>
              <a:gd name="connsiteY10" fmla="*/ 23181 h 27557"/>
              <a:gd name="connsiteX11" fmla="*/ 35646 w 43488"/>
              <a:gd name="connsiteY11" fmla="*/ 25365 h 27557"/>
              <a:gd name="connsiteX12" fmla="*/ 34035 w 43488"/>
              <a:gd name="connsiteY12" fmla="*/ 26402 h 27557"/>
              <a:gd name="connsiteX13" fmla="*/ 26099 w 43488"/>
              <a:gd name="connsiteY13" fmla="*/ 26792 h 27557"/>
              <a:gd name="connsiteX14" fmla="*/ 23404 w 43488"/>
              <a:gd name="connsiteY14" fmla="*/ 26927 h 27557"/>
              <a:gd name="connsiteX15" fmla="*/ 15021 w 43488"/>
              <a:gd name="connsiteY15" fmla="*/ 26327 h 27557"/>
              <a:gd name="connsiteX16" fmla="*/ 8232 w 43488"/>
              <a:gd name="connsiteY16" fmla="*/ 25935 h 27557"/>
              <a:gd name="connsiteX17" fmla="*/ 5731 w 43488"/>
              <a:gd name="connsiteY17" fmla="*/ 26087 h 27557"/>
              <a:gd name="connsiteX18" fmla="*/ 2149 w 43488"/>
              <a:gd name="connsiteY18" fmla="*/ 25410 h 27557"/>
              <a:gd name="connsiteX19" fmla="*/ 31 w 43488"/>
              <a:gd name="connsiteY19" fmla="*/ 19563 h 27557"/>
              <a:gd name="connsiteX20" fmla="*/ 3899 w 43488"/>
              <a:gd name="connsiteY20" fmla="*/ 14366 h 27557"/>
              <a:gd name="connsiteX21" fmla="*/ 3936 w 43488"/>
              <a:gd name="connsiteY21" fmla="*/ 14229 h 27557"/>
              <a:gd name="connsiteX0" fmla="*/ 4729 w 43488"/>
              <a:gd name="connsiteY0" fmla="*/ 26036 h 27557"/>
              <a:gd name="connsiteX1" fmla="*/ 2196 w 43488"/>
              <a:gd name="connsiteY1" fmla="*/ 25239 h 27557"/>
              <a:gd name="connsiteX2" fmla="*/ 8160 w 43488"/>
              <a:gd name="connsiteY2" fmla="*/ 26172 h 27557"/>
              <a:gd name="connsiteX3" fmla="*/ 6653 w 43488"/>
              <a:gd name="connsiteY3" fmla="*/ 26229 h 27557"/>
              <a:gd name="connsiteX4" fmla="*/ 10234 w 43488"/>
              <a:gd name="connsiteY4" fmla="*/ 26961 h 27557"/>
              <a:gd name="connsiteX5" fmla="*/ 10962 w 43488"/>
              <a:gd name="connsiteY5" fmla="*/ 26517 h 27557"/>
              <a:gd name="connsiteX6" fmla="*/ 29860 w 43488"/>
              <a:gd name="connsiteY6" fmla="*/ 26510 h 27557"/>
              <a:gd name="connsiteX7" fmla="*/ 27898 w 43488"/>
              <a:gd name="connsiteY7" fmla="*/ 26961 h 27557"/>
              <a:gd name="connsiteX8" fmla="*/ 34165 w 43488"/>
              <a:gd name="connsiteY8" fmla="*/ 22813 h 27557"/>
              <a:gd name="connsiteX9" fmla="*/ 38512 w 43488"/>
              <a:gd name="connsiteY9" fmla="*/ 26709 h 27557"/>
              <a:gd name="connsiteX10" fmla="*/ 41834 w 43488"/>
              <a:gd name="connsiteY10" fmla="*/ 15213 h 27557"/>
              <a:gd name="connsiteX11" fmla="*/ 40386 w 43488"/>
              <a:gd name="connsiteY11" fmla="*/ 17889 h 27557"/>
              <a:gd name="connsiteX12" fmla="*/ 38360 w 43488"/>
              <a:gd name="connsiteY12" fmla="*/ 5285 h 27557"/>
              <a:gd name="connsiteX13" fmla="*/ 38436 w 43488"/>
              <a:gd name="connsiteY13" fmla="*/ 6549 h 27557"/>
              <a:gd name="connsiteX14" fmla="*/ 29114 w 43488"/>
              <a:gd name="connsiteY14" fmla="*/ 3811 h 27557"/>
              <a:gd name="connsiteX15" fmla="*/ 29856 w 43488"/>
              <a:gd name="connsiteY15" fmla="*/ 2199 h 27557"/>
              <a:gd name="connsiteX16" fmla="*/ 22177 w 43488"/>
              <a:gd name="connsiteY16" fmla="*/ 4579 h 27557"/>
              <a:gd name="connsiteX17" fmla="*/ 22536 w 43488"/>
              <a:gd name="connsiteY17" fmla="*/ 3189 h 27557"/>
              <a:gd name="connsiteX18" fmla="*/ 14036 w 43488"/>
              <a:gd name="connsiteY18" fmla="*/ 5051 h 27557"/>
              <a:gd name="connsiteX19" fmla="*/ 15336 w 43488"/>
              <a:gd name="connsiteY19" fmla="*/ 6399 h 27557"/>
              <a:gd name="connsiteX20" fmla="*/ 4163 w 43488"/>
              <a:gd name="connsiteY20" fmla="*/ 15648 h 27557"/>
              <a:gd name="connsiteX21" fmla="*/ 3936 w 43488"/>
              <a:gd name="connsiteY21" fmla="*/ 14229 h 27557"/>
              <a:gd name="connsiteX0" fmla="*/ 3936 w 43488"/>
              <a:gd name="connsiteY0" fmla="*/ 14229 h 27557"/>
              <a:gd name="connsiteX1" fmla="*/ 5659 w 43488"/>
              <a:gd name="connsiteY1" fmla="*/ 6766 h 27557"/>
              <a:gd name="connsiteX2" fmla="*/ 14041 w 43488"/>
              <a:gd name="connsiteY2" fmla="*/ 5061 h 27557"/>
              <a:gd name="connsiteX3" fmla="*/ 22492 w 43488"/>
              <a:gd name="connsiteY3" fmla="*/ 3291 h 27557"/>
              <a:gd name="connsiteX4" fmla="*/ 25785 w 43488"/>
              <a:gd name="connsiteY4" fmla="*/ 59 h 27557"/>
              <a:gd name="connsiteX5" fmla="*/ 29869 w 43488"/>
              <a:gd name="connsiteY5" fmla="*/ 2340 h 27557"/>
              <a:gd name="connsiteX6" fmla="*/ 35499 w 43488"/>
              <a:gd name="connsiteY6" fmla="*/ 549 h 27557"/>
              <a:gd name="connsiteX7" fmla="*/ 38354 w 43488"/>
              <a:gd name="connsiteY7" fmla="*/ 5435 h 27557"/>
              <a:gd name="connsiteX8" fmla="*/ 42018 w 43488"/>
              <a:gd name="connsiteY8" fmla="*/ 10177 h 27557"/>
              <a:gd name="connsiteX9" fmla="*/ 41854 w 43488"/>
              <a:gd name="connsiteY9" fmla="*/ 15319 h 27557"/>
              <a:gd name="connsiteX10" fmla="*/ 43052 w 43488"/>
              <a:gd name="connsiteY10" fmla="*/ 23181 h 27557"/>
              <a:gd name="connsiteX11" fmla="*/ 35646 w 43488"/>
              <a:gd name="connsiteY11" fmla="*/ 25365 h 27557"/>
              <a:gd name="connsiteX12" fmla="*/ 34035 w 43488"/>
              <a:gd name="connsiteY12" fmla="*/ 26402 h 27557"/>
              <a:gd name="connsiteX13" fmla="*/ 26099 w 43488"/>
              <a:gd name="connsiteY13" fmla="*/ 26792 h 27557"/>
              <a:gd name="connsiteX14" fmla="*/ 23404 w 43488"/>
              <a:gd name="connsiteY14" fmla="*/ 26927 h 27557"/>
              <a:gd name="connsiteX15" fmla="*/ 15021 w 43488"/>
              <a:gd name="connsiteY15" fmla="*/ 26327 h 27557"/>
              <a:gd name="connsiteX16" fmla="*/ 8232 w 43488"/>
              <a:gd name="connsiteY16" fmla="*/ 25935 h 27557"/>
              <a:gd name="connsiteX17" fmla="*/ 5731 w 43488"/>
              <a:gd name="connsiteY17" fmla="*/ 26087 h 27557"/>
              <a:gd name="connsiteX18" fmla="*/ 2149 w 43488"/>
              <a:gd name="connsiteY18" fmla="*/ 25410 h 27557"/>
              <a:gd name="connsiteX19" fmla="*/ 31 w 43488"/>
              <a:gd name="connsiteY19" fmla="*/ 19563 h 27557"/>
              <a:gd name="connsiteX20" fmla="*/ 3899 w 43488"/>
              <a:gd name="connsiteY20" fmla="*/ 14366 h 27557"/>
              <a:gd name="connsiteX21" fmla="*/ 3936 w 43488"/>
              <a:gd name="connsiteY21" fmla="*/ 14229 h 27557"/>
              <a:gd name="connsiteX0" fmla="*/ 4729 w 43488"/>
              <a:gd name="connsiteY0" fmla="*/ 26036 h 27557"/>
              <a:gd name="connsiteX1" fmla="*/ 2196 w 43488"/>
              <a:gd name="connsiteY1" fmla="*/ 25239 h 27557"/>
              <a:gd name="connsiteX2" fmla="*/ 8160 w 43488"/>
              <a:gd name="connsiteY2" fmla="*/ 26172 h 27557"/>
              <a:gd name="connsiteX3" fmla="*/ 6653 w 43488"/>
              <a:gd name="connsiteY3" fmla="*/ 26229 h 27557"/>
              <a:gd name="connsiteX4" fmla="*/ 10234 w 43488"/>
              <a:gd name="connsiteY4" fmla="*/ 26961 h 27557"/>
              <a:gd name="connsiteX5" fmla="*/ 10962 w 43488"/>
              <a:gd name="connsiteY5" fmla="*/ 26517 h 27557"/>
              <a:gd name="connsiteX6" fmla="*/ 29860 w 43488"/>
              <a:gd name="connsiteY6" fmla="*/ 26510 h 27557"/>
              <a:gd name="connsiteX7" fmla="*/ 27898 w 43488"/>
              <a:gd name="connsiteY7" fmla="*/ 26961 h 27557"/>
              <a:gd name="connsiteX8" fmla="*/ 33966 w 43488"/>
              <a:gd name="connsiteY8" fmla="*/ 25567 h 27557"/>
              <a:gd name="connsiteX9" fmla="*/ 38512 w 43488"/>
              <a:gd name="connsiteY9" fmla="*/ 26709 h 27557"/>
              <a:gd name="connsiteX10" fmla="*/ 41834 w 43488"/>
              <a:gd name="connsiteY10" fmla="*/ 15213 h 27557"/>
              <a:gd name="connsiteX11" fmla="*/ 40386 w 43488"/>
              <a:gd name="connsiteY11" fmla="*/ 17889 h 27557"/>
              <a:gd name="connsiteX12" fmla="*/ 38360 w 43488"/>
              <a:gd name="connsiteY12" fmla="*/ 5285 h 27557"/>
              <a:gd name="connsiteX13" fmla="*/ 38436 w 43488"/>
              <a:gd name="connsiteY13" fmla="*/ 6549 h 27557"/>
              <a:gd name="connsiteX14" fmla="*/ 29114 w 43488"/>
              <a:gd name="connsiteY14" fmla="*/ 3811 h 27557"/>
              <a:gd name="connsiteX15" fmla="*/ 29856 w 43488"/>
              <a:gd name="connsiteY15" fmla="*/ 2199 h 27557"/>
              <a:gd name="connsiteX16" fmla="*/ 22177 w 43488"/>
              <a:gd name="connsiteY16" fmla="*/ 4579 h 27557"/>
              <a:gd name="connsiteX17" fmla="*/ 22536 w 43488"/>
              <a:gd name="connsiteY17" fmla="*/ 3189 h 27557"/>
              <a:gd name="connsiteX18" fmla="*/ 14036 w 43488"/>
              <a:gd name="connsiteY18" fmla="*/ 5051 h 27557"/>
              <a:gd name="connsiteX19" fmla="*/ 15336 w 43488"/>
              <a:gd name="connsiteY19" fmla="*/ 6399 h 27557"/>
              <a:gd name="connsiteX20" fmla="*/ 4163 w 43488"/>
              <a:gd name="connsiteY20" fmla="*/ 15648 h 27557"/>
              <a:gd name="connsiteX21" fmla="*/ 3936 w 43488"/>
              <a:gd name="connsiteY21" fmla="*/ 14229 h 2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88" h="27557">
                <a:moveTo>
                  <a:pt x="3936" y="14229"/>
                </a:moveTo>
                <a:cubicBezTo>
                  <a:pt x="3665" y="11516"/>
                  <a:pt x="4297" y="8780"/>
                  <a:pt x="5659" y="6766"/>
                </a:cubicBezTo>
                <a:cubicBezTo>
                  <a:pt x="7811" y="3585"/>
                  <a:pt x="11300" y="2876"/>
                  <a:pt x="14041" y="5061"/>
                </a:cubicBezTo>
                <a:cubicBezTo>
                  <a:pt x="15714" y="768"/>
                  <a:pt x="19950" y="-119"/>
                  <a:pt x="22492" y="3291"/>
                </a:cubicBezTo>
                <a:cubicBezTo>
                  <a:pt x="23133" y="1542"/>
                  <a:pt x="24364" y="333"/>
                  <a:pt x="25785" y="59"/>
                </a:cubicBezTo>
                <a:cubicBezTo>
                  <a:pt x="27349" y="-243"/>
                  <a:pt x="28911" y="629"/>
                  <a:pt x="29869" y="2340"/>
                </a:cubicBezTo>
                <a:cubicBezTo>
                  <a:pt x="31251" y="126"/>
                  <a:pt x="33537" y="-601"/>
                  <a:pt x="35499" y="549"/>
                </a:cubicBezTo>
                <a:cubicBezTo>
                  <a:pt x="36994" y="1425"/>
                  <a:pt x="38066" y="3259"/>
                  <a:pt x="38354" y="5435"/>
                </a:cubicBezTo>
                <a:cubicBezTo>
                  <a:pt x="40082" y="6077"/>
                  <a:pt x="41458" y="7857"/>
                  <a:pt x="42018" y="10177"/>
                </a:cubicBezTo>
                <a:cubicBezTo>
                  <a:pt x="42425" y="11861"/>
                  <a:pt x="42367" y="13690"/>
                  <a:pt x="41854" y="15319"/>
                </a:cubicBezTo>
                <a:cubicBezTo>
                  <a:pt x="43115" y="17553"/>
                  <a:pt x="44087" y="21507"/>
                  <a:pt x="43052" y="23181"/>
                </a:cubicBezTo>
                <a:cubicBezTo>
                  <a:pt x="42017" y="24855"/>
                  <a:pt x="38370" y="24835"/>
                  <a:pt x="35646" y="25365"/>
                </a:cubicBezTo>
                <a:cubicBezTo>
                  <a:pt x="35633" y="27632"/>
                  <a:pt x="35626" y="26164"/>
                  <a:pt x="34035" y="26402"/>
                </a:cubicBezTo>
                <a:cubicBezTo>
                  <a:pt x="32444" y="26640"/>
                  <a:pt x="28248" y="28616"/>
                  <a:pt x="26099" y="26792"/>
                </a:cubicBezTo>
                <a:cubicBezTo>
                  <a:pt x="25005" y="28305"/>
                  <a:pt x="25250" y="27005"/>
                  <a:pt x="23404" y="26927"/>
                </a:cubicBezTo>
                <a:cubicBezTo>
                  <a:pt x="21558" y="26849"/>
                  <a:pt x="18286" y="26618"/>
                  <a:pt x="15021" y="26327"/>
                </a:cubicBezTo>
                <a:cubicBezTo>
                  <a:pt x="12609" y="27265"/>
                  <a:pt x="10284" y="26040"/>
                  <a:pt x="8232" y="25935"/>
                </a:cubicBezTo>
                <a:cubicBezTo>
                  <a:pt x="6118" y="26272"/>
                  <a:pt x="6745" y="26174"/>
                  <a:pt x="5731" y="26087"/>
                </a:cubicBezTo>
                <a:cubicBezTo>
                  <a:pt x="4717" y="26000"/>
                  <a:pt x="1096" y="26936"/>
                  <a:pt x="2149" y="25410"/>
                </a:cubicBezTo>
                <a:cubicBezTo>
                  <a:pt x="655" y="24213"/>
                  <a:pt x="-177" y="21916"/>
                  <a:pt x="31" y="19563"/>
                </a:cubicBezTo>
                <a:cubicBezTo>
                  <a:pt x="275" y="16808"/>
                  <a:pt x="1881" y="14650"/>
                  <a:pt x="3899" y="14366"/>
                </a:cubicBezTo>
                <a:cubicBezTo>
                  <a:pt x="3911" y="14320"/>
                  <a:pt x="3924" y="14275"/>
                  <a:pt x="3936" y="14229"/>
                </a:cubicBezTo>
                <a:close/>
              </a:path>
              <a:path w="43488" h="27557" fill="none" extrusionOk="0">
                <a:moveTo>
                  <a:pt x="4729" y="26036"/>
                </a:moveTo>
                <a:cubicBezTo>
                  <a:pt x="3845" y="26130"/>
                  <a:pt x="2961" y="25852"/>
                  <a:pt x="2196" y="25239"/>
                </a:cubicBezTo>
                <a:moveTo>
                  <a:pt x="8160" y="26172"/>
                </a:moveTo>
                <a:cubicBezTo>
                  <a:pt x="7805" y="26365"/>
                  <a:pt x="7033" y="26169"/>
                  <a:pt x="6653" y="26229"/>
                </a:cubicBezTo>
                <a:moveTo>
                  <a:pt x="10234" y="26961"/>
                </a:moveTo>
                <a:cubicBezTo>
                  <a:pt x="9967" y="26415"/>
                  <a:pt x="11139" y="27128"/>
                  <a:pt x="10962" y="26517"/>
                </a:cubicBezTo>
                <a:moveTo>
                  <a:pt x="29860" y="26510"/>
                </a:moveTo>
                <a:cubicBezTo>
                  <a:pt x="29821" y="27157"/>
                  <a:pt x="28036" y="26339"/>
                  <a:pt x="27898" y="26961"/>
                </a:cubicBezTo>
                <a:moveTo>
                  <a:pt x="33966" y="25567"/>
                </a:moveTo>
                <a:cubicBezTo>
                  <a:pt x="35970" y="26895"/>
                  <a:pt x="38530" y="23677"/>
                  <a:pt x="38512" y="26709"/>
                </a:cubicBezTo>
                <a:moveTo>
                  <a:pt x="41834" y="15213"/>
                </a:moveTo>
                <a:cubicBezTo>
                  <a:pt x="41509" y="16245"/>
                  <a:pt x="41014" y="17161"/>
                  <a:pt x="40386" y="17889"/>
                </a:cubicBezTo>
                <a:moveTo>
                  <a:pt x="38360" y="5285"/>
                </a:moveTo>
                <a:cubicBezTo>
                  <a:pt x="38415" y="5702"/>
                  <a:pt x="38441" y="6125"/>
                  <a:pt x="38436" y="6549"/>
                </a:cubicBezTo>
                <a:moveTo>
                  <a:pt x="29114" y="3811"/>
                </a:moveTo>
                <a:cubicBezTo>
                  <a:pt x="29303" y="3228"/>
                  <a:pt x="29552" y="2685"/>
                  <a:pt x="29856" y="2199"/>
                </a:cubicBezTo>
                <a:moveTo>
                  <a:pt x="22177" y="4579"/>
                </a:moveTo>
                <a:cubicBezTo>
                  <a:pt x="22254" y="4097"/>
                  <a:pt x="22375" y="3630"/>
                  <a:pt x="22536" y="3189"/>
                </a:cubicBezTo>
                <a:moveTo>
                  <a:pt x="14036" y="5051"/>
                </a:moveTo>
                <a:cubicBezTo>
                  <a:pt x="14508" y="5427"/>
                  <a:pt x="14944" y="5880"/>
                  <a:pt x="15336" y="6399"/>
                </a:cubicBezTo>
                <a:moveTo>
                  <a:pt x="4163" y="15648"/>
                </a:moveTo>
                <a:cubicBezTo>
                  <a:pt x="4060" y="15184"/>
                  <a:pt x="3984" y="14710"/>
                  <a:pt x="3936" y="14229"/>
                </a:cubicBez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 name="Title 1"/>
          <p:cNvSpPr>
            <a:spLocks noGrp="1"/>
          </p:cNvSpPr>
          <p:nvPr>
            <p:ph type="title"/>
          </p:nvPr>
        </p:nvSpPr>
        <p:spPr/>
        <p:txBody>
          <a:bodyPr/>
          <a:lstStyle/>
          <a:p>
            <a:r>
              <a:rPr lang="en-IN" sz="2400" dirty="0" smtClean="0"/>
              <a:t>Essential Business functions service </a:t>
            </a:r>
            <a:r>
              <a:rPr lang="en-IN" sz="2400" dirty="0"/>
              <a:t>for </a:t>
            </a:r>
            <a:r>
              <a:rPr lang="en-IN" sz="2400" dirty="0" smtClean="0"/>
              <a:t>– </a:t>
            </a:r>
            <a:br>
              <a:rPr lang="en-IN" sz="2400" dirty="0" smtClean="0"/>
            </a:br>
            <a:r>
              <a:rPr lang="en-IN" sz="2400" dirty="0" smtClean="0"/>
              <a:t>SAP </a:t>
            </a:r>
            <a:r>
              <a:rPr lang="en-IN" sz="2400" dirty="0"/>
              <a:t>Asset Intelligence Network (AIN)</a:t>
            </a:r>
          </a:p>
        </p:txBody>
      </p:sp>
      <p:sp>
        <p:nvSpPr>
          <p:cNvPr id="5" name="Rounded Rectangle 4"/>
          <p:cNvSpPr/>
          <p:nvPr/>
        </p:nvSpPr>
        <p:spPr>
          <a:xfrm>
            <a:off x="4343400" y="2438400"/>
            <a:ext cx="2133600" cy="609600"/>
          </a:xfrm>
          <a:prstGeom prst="roundRect">
            <a:avLst/>
          </a:prstGeom>
          <a:solidFill>
            <a:schemeClr val="accent5">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smtClean="0">
                <a:solidFill>
                  <a:schemeClr val="tx2">
                    <a:lumMod val="50000"/>
                  </a:schemeClr>
                </a:solidFill>
              </a:rPr>
              <a:t>Policy Service</a:t>
            </a:r>
          </a:p>
          <a:p>
            <a:pPr algn="ctr"/>
            <a:endParaRPr lang="en-IN" sz="1400" dirty="0" smtClean="0">
              <a:solidFill>
                <a:schemeClr val="tx2">
                  <a:lumMod val="50000"/>
                </a:schemeClr>
              </a:solidFill>
            </a:endParaRPr>
          </a:p>
        </p:txBody>
      </p:sp>
      <p:sp>
        <p:nvSpPr>
          <p:cNvPr id="6" name="Rectangle 5"/>
          <p:cNvSpPr/>
          <p:nvPr/>
        </p:nvSpPr>
        <p:spPr>
          <a:xfrm>
            <a:off x="4591410" y="2898648"/>
            <a:ext cx="1638060" cy="29870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tx2">
                    <a:lumMod val="50000"/>
                  </a:schemeClr>
                </a:solidFill>
              </a:rPr>
              <a:t>SAP Cloud Platform IoT</a:t>
            </a:r>
          </a:p>
        </p:txBody>
      </p:sp>
      <p:sp>
        <p:nvSpPr>
          <p:cNvPr id="7" name="Rectangle 6"/>
          <p:cNvSpPr/>
          <p:nvPr/>
        </p:nvSpPr>
        <p:spPr>
          <a:xfrm>
            <a:off x="6820140" y="2362200"/>
            <a:ext cx="952260" cy="304800"/>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bg1"/>
                </a:solidFill>
              </a:rPr>
              <a:t>AIN</a:t>
            </a:r>
          </a:p>
        </p:txBody>
      </p:sp>
      <p:sp>
        <p:nvSpPr>
          <p:cNvPr id="8" name="Rectangle 7"/>
          <p:cNvSpPr/>
          <p:nvPr/>
        </p:nvSpPr>
        <p:spPr>
          <a:xfrm>
            <a:off x="6820140" y="2667000"/>
            <a:ext cx="952260" cy="231648"/>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tx2">
                    <a:lumMod val="50000"/>
                  </a:schemeClr>
                </a:solidFill>
              </a:rPr>
              <a:t>EBF Service</a:t>
            </a:r>
          </a:p>
        </p:txBody>
      </p:sp>
      <p:sp>
        <p:nvSpPr>
          <p:cNvPr id="13" name="TextBox 12"/>
          <p:cNvSpPr txBox="1"/>
          <p:nvPr/>
        </p:nvSpPr>
        <p:spPr>
          <a:xfrm>
            <a:off x="4591410" y="2150548"/>
            <a:ext cx="1638060" cy="276999"/>
          </a:xfrm>
          <a:prstGeom prst="rect">
            <a:avLst/>
          </a:prstGeom>
          <a:noFill/>
        </p:spPr>
        <p:txBody>
          <a:bodyPr wrap="square" rtlCol="0">
            <a:spAutoFit/>
          </a:bodyPr>
          <a:lstStyle/>
          <a:p>
            <a:r>
              <a:rPr lang="en-IN" sz="1200" dirty="0" smtClean="0">
                <a:solidFill>
                  <a:schemeClr val="tx2">
                    <a:lumMod val="50000"/>
                  </a:schemeClr>
                </a:solidFill>
              </a:rPr>
              <a:t>SAP Cloud Platform</a:t>
            </a:r>
          </a:p>
        </p:txBody>
      </p:sp>
      <p:sp>
        <p:nvSpPr>
          <p:cNvPr id="14" name="Rectangle 13"/>
          <p:cNvSpPr/>
          <p:nvPr/>
        </p:nvSpPr>
        <p:spPr>
          <a:xfrm>
            <a:off x="3962400" y="3962400"/>
            <a:ext cx="4712529" cy="1645932"/>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5" name="Rectangle 14"/>
          <p:cNvSpPr/>
          <p:nvPr/>
        </p:nvSpPr>
        <p:spPr>
          <a:xfrm>
            <a:off x="4177284" y="4258056"/>
            <a:ext cx="609600" cy="3048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6" name="Rectangle 15"/>
          <p:cNvSpPr/>
          <p:nvPr/>
        </p:nvSpPr>
        <p:spPr>
          <a:xfrm>
            <a:off x="4253484" y="4120896"/>
            <a:ext cx="76200" cy="50292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7" name="Rectangle 16"/>
          <p:cNvSpPr/>
          <p:nvPr/>
        </p:nvSpPr>
        <p:spPr>
          <a:xfrm>
            <a:off x="4634484" y="4120896"/>
            <a:ext cx="76200" cy="50292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8" name="Rectangle 17"/>
          <p:cNvSpPr/>
          <p:nvPr/>
        </p:nvSpPr>
        <p:spPr>
          <a:xfrm>
            <a:off x="4191000" y="5123688"/>
            <a:ext cx="609600" cy="3048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19" name="Rectangle 18"/>
          <p:cNvSpPr/>
          <p:nvPr/>
        </p:nvSpPr>
        <p:spPr>
          <a:xfrm>
            <a:off x="4267200" y="4986528"/>
            <a:ext cx="76200" cy="50292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0" name="Rectangle 19"/>
          <p:cNvSpPr/>
          <p:nvPr/>
        </p:nvSpPr>
        <p:spPr>
          <a:xfrm>
            <a:off x="4648200" y="4986528"/>
            <a:ext cx="76200" cy="50292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1" name="Rectangle 20"/>
          <p:cNvSpPr/>
          <p:nvPr/>
        </p:nvSpPr>
        <p:spPr>
          <a:xfrm>
            <a:off x="7299960" y="4221480"/>
            <a:ext cx="609600" cy="3048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2" name="Rectangle 21"/>
          <p:cNvSpPr/>
          <p:nvPr/>
        </p:nvSpPr>
        <p:spPr>
          <a:xfrm>
            <a:off x="7376160" y="4084320"/>
            <a:ext cx="76200" cy="50292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3" name="Rectangle 22"/>
          <p:cNvSpPr/>
          <p:nvPr/>
        </p:nvSpPr>
        <p:spPr>
          <a:xfrm>
            <a:off x="7757160" y="4084320"/>
            <a:ext cx="76200" cy="50292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4" name="Rectangle 23"/>
          <p:cNvSpPr/>
          <p:nvPr/>
        </p:nvSpPr>
        <p:spPr>
          <a:xfrm>
            <a:off x="7757160" y="4910328"/>
            <a:ext cx="609600" cy="3048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5" name="Rectangle 24"/>
          <p:cNvSpPr/>
          <p:nvPr/>
        </p:nvSpPr>
        <p:spPr>
          <a:xfrm>
            <a:off x="7833360" y="4773168"/>
            <a:ext cx="76200" cy="50292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6" name="Rectangle 25"/>
          <p:cNvSpPr/>
          <p:nvPr/>
        </p:nvSpPr>
        <p:spPr>
          <a:xfrm>
            <a:off x="8214360" y="4773168"/>
            <a:ext cx="76200" cy="50292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29" name="Round Same Side Corner Rectangle 28"/>
          <p:cNvSpPr/>
          <p:nvPr/>
        </p:nvSpPr>
        <p:spPr>
          <a:xfrm>
            <a:off x="6229470" y="3657600"/>
            <a:ext cx="841890" cy="929640"/>
          </a:xfrm>
          <a:prstGeom prst="round2Same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smtClean="0">
                <a:solidFill>
                  <a:schemeClr val="tx2">
                    <a:lumMod val="50000"/>
                  </a:schemeClr>
                </a:solidFill>
              </a:rPr>
              <a:t>Essential</a:t>
            </a:r>
          </a:p>
          <a:p>
            <a:pPr algn="ctr"/>
            <a:r>
              <a:rPr lang="en-IN" sz="900" dirty="0" smtClean="0">
                <a:solidFill>
                  <a:schemeClr val="tx2">
                    <a:lumMod val="50000"/>
                  </a:schemeClr>
                </a:solidFill>
              </a:rPr>
              <a:t>Business</a:t>
            </a:r>
          </a:p>
          <a:p>
            <a:pPr algn="ctr"/>
            <a:r>
              <a:rPr lang="en-IN" sz="900" dirty="0" smtClean="0">
                <a:solidFill>
                  <a:schemeClr val="tx2">
                    <a:lumMod val="50000"/>
                  </a:schemeClr>
                </a:solidFill>
              </a:rPr>
              <a:t>Functional</a:t>
            </a:r>
          </a:p>
          <a:p>
            <a:pPr algn="ctr"/>
            <a:r>
              <a:rPr lang="en-IN" sz="900" dirty="0" smtClean="0">
                <a:solidFill>
                  <a:schemeClr val="tx2">
                    <a:lumMod val="50000"/>
                  </a:schemeClr>
                </a:solidFill>
              </a:rPr>
              <a:t>Service</a:t>
            </a:r>
          </a:p>
          <a:p>
            <a:pPr algn="ctr"/>
            <a:endParaRPr lang="en-IN" sz="900" dirty="0" smtClean="0">
              <a:solidFill>
                <a:schemeClr val="tx2">
                  <a:lumMod val="50000"/>
                </a:schemeClr>
              </a:solidFill>
            </a:endParaRPr>
          </a:p>
        </p:txBody>
      </p:sp>
      <p:sp>
        <p:nvSpPr>
          <p:cNvPr id="33" name="Can 32"/>
          <p:cNvSpPr/>
          <p:nvPr/>
        </p:nvSpPr>
        <p:spPr>
          <a:xfrm>
            <a:off x="6305670" y="4367230"/>
            <a:ext cx="304800" cy="141316"/>
          </a:xfrm>
          <a:prstGeom prst="can">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4" name="Can 33"/>
          <p:cNvSpPr/>
          <p:nvPr/>
        </p:nvSpPr>
        <p:spPr>
          <a:xfrm>
            <a:off x="6305670" y="4470938"/>
            <a:ext cx="304800" cy="83574"/>
          </a:xfrm>
          <a:prstGeom prst="can">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35" name="Can 34"/>
          <p:cNvSpPr/>
          <p:nvPr/>
        </p:nvSpPr>
        <p:spPr>
          <a:xfrm>
            <a:off x="6305670" y="4581698"/>
            <a:ext cx="304800" cy="76200"/>
          </a:xfrm>
          <a:prstGeom prst="can">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cxnSp>
        <p:nvCxnSpPr>
          <p:cNvPr id="48" name="Straight Connector 47"/>
          <p:cNvCxnSpPr/>
          <p:nvPr/>
        </p:nvCxnSpPr>
        <p:spPr>
          <a:xfrm>
            <a:off x="7071360" y="3794760"/>
            <a:ext cx="304800" cy="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7374636" y="2898648"/>
            <a:ext cx="0" cy="896112"/>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2" name="Right Brace 51"/>
          <p:cNvSpPr/>
          <p:nvPr/>
        </p:nvSpPr>
        <p:spPr>
          <a:xfrm>
            <a:off x="8743628" y="3867156"/>
            <a:ext cx="390465" cy="1836420"/>
          </a:xfrm>
          <a:prstGeom prst="rightBrace">
            <a:avLst/>
          </a:prstGeom>
          <a:ln w="38100">
            <a:solidFill>
              <a:schemeClr val="accent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53" name="TextBox 52"/>
          <p:cNvSpPr txBox="1"/>
          <p:nvPr/>
        </p:nvSpPr>
        <p:spPr>
          <a:xfrm>
            <a:off x="9168223" y="4608653"/>
            <a:ext cx="850071" cy="307777"/>
          </a:xfrm>
          <a:prstGeom prst="rect">
            <a:avLst/>
          </a:prstGeom>
          <a:noFill/>
        </p:spPr>
        <p:txBody>
          <a:bodyPr wrap="square" rtlCol="0">
            <a:spAutoFit/>
          </a:bodyPr>
          <a:lstStyle/>
          <a:p>
            <a:r>
              <a:rPr lang="en-IN" sz="1400" dirty="0" smtClean="0">
                <a:solidFill>
                  <a:schemeClr val="tx2">
                    <a:lumMod val="50000"/>
                  </a:schemeClr>
                </a:solidFill>
              </a:rPr>
              <a:t>EDGE</a:t>
            </a:r>
          </a:p>
        </p:txBody>
      </p:sp>
      <p:cxnSp>
        <p:nvCxnSpPr>
          <p:cNvPr id="55" name="Straight Connector 54"/>
          <p:cNvCxnSpPr/>
          <p:nvPr/>
        </p:nvCxnSpPr>
        <p:spPr>
          <a:xfrm>
            <a:off x="5791200" y="3258312"/>
            <a:ext cx="0" cy="2609088"/>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276970" y="4623816"/>
            <a:ext cx="1638060" cy="29870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tx2">
                    <a:lumMod val="50000"/>
                  </a:schemeClr>
                </a:solidFill>
              </a:rPr>
              <a:t>IoT Edge Gateway</a:t>
            </a:r>
          </a:p>
        </p:txBody>
      </p:sp>
      <p:sp>
        <p:nvSpPr>
          <p:cNvPr id="28" name="Rectangle 27"/>
          <p:cNvSpPr/>
          <p:nvPr/>
        </p:nvSpPr>
        <p:spPr>
          <a:xfrm>
            <a:off x="5276970" y="4922520"/>
            <a:ext cx="1638060" cy="298704"/>
          </a:xfrm>
          <a:prstGeom prst="rect">
            <a:avLst/>
          </a:prstGeom>
          <a:solidFill>
            <a:schemeClr val="tx2">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smtClean="0">
                <a:solidFill>
                  <a:schemeClr val="bg1"/>
                </a:solidFill>
              </a:rPr>
              <a:t>IoT Gateway Hardware</a:t>
            </a:r>
          </a:p>
        </p:txBody>
      </p:sp>
      <p:sp>
        <p:nvSpPr>
          <p:cNvPr id="58" name="Rectangle 57"/>
          <p:cNvSpPr/>
          <p:nvPr/>
        </p:nvSpPr>
        <p:spPr>
          <a:xfrm>
            <a:off x="146144" y="1795552"/>
            <a:ext cx="3194785" cy="2400657"/>
          </a:xfrm>
          <a:prstGeom prst="rect">
            <a:avLst/>
          </a:prstGeom>
        </p:spPr>
        <p:txBody>
          <a:bodyPr wrap="square">
            <a:spAutoFit/>
          </a:bodyPr>
          <a:lstStyle/>
          <a:p>
            <a:r>
              <a:rPr lang="en-IN" sz="1600" b="1" dirty="0">
                <a:solidFill>
                  <a:srgbClr val="000000"/>
                </a:solidFill>
                <a:latin typeface="Arial" panose="020B0604020202020204" pitchFamily="34" charset="0"/>
              </a:rPr>
              <a:t>Essential Business </a:t>
            </a:r>
            <a:r>
              <a:rPr lang="en-IN" sz="1600" b="1" dirty="0" smtClean="0">
                <a:solidFill>
                  <a:srgbClr val="000000"/>
                </a:solidFill>
                <a:latin typeface="Arial" panose="020B0604020202020204" pitchFamily="34" charset="0"/>
              </a:rPr>
              <a:t>Functions Service </a:t>
            </a:r>
            <a:r>
              <a:rPr lang="en-IN" sz="1600" dirty="0">
                <a:solidFill>
                  <a:srgbClr val="000000"/>
                </a:solidFill>
                <a:latin typeface="Arial" panose="020B0604020202020204" pitchFamily="34" charset="0"/>
              </a:rPr>
              <a:t>provides </a:t>
            </a:r>
            <a:r>
              <a:rPr lang="en-IN" sz="1600" dirty="0" smtClean="0">
                <a:solidFill>
                  <a:srgbClr val="000000"/>
                </a:solidFill>
                <a:latin typeface="Arial" panose="020B0604020202020204" pitchFamily="34" charset="0"/>
              </a:rPr>
              <a:t>business context (data </a:t>
            </a:r>
            <a:r>
              <a:rPr lang="en-IN" sz="1600" dirty="0">
                <a:solidFill>
                  <a:srgbClr val="000000"/>
                </a:solidFill>
                <a:latin typeface="Arial" panose="020B0604020202020204" pitchFamily="34" charset="0"/>
              </a:rPr>
              <a:t>and </a:t>
            </a:r>
            <a:r>
              <a:rPr lang="en-IN" sz="1600" dirty="0" smtClean="0">
                <a:solidFill>
                  <a:srgbClr val="000000"/>
                </a:solidFill>
                <a:latin typeface="Arial" panose="020B0604020202020204" pitchFamily="34" charset="0"/>
              </a:rPr>
              <a:t>transactions) at the edge</a:t>
            </a:r>
          </a:p>
          <a:p>
            <a:pPr marL="285750" indent="-285750">
              <a:buFont typeface="Wingdings" panose="05000000000000000000" pitchFamily="2" charset="2"/>
              <a:buChar char="Ø"/>
            </a:pPr>
            <a:endParaRPr lang="en-IN" sz="1600" dirty="0">
              <a:solidFill>
                <a:srgbClr val="000000"/>
              </a:solidFill>
              <a:latin typeface="Arial" panose="020B0604020202020204" pitchFamily="34" charset="0"/>
            </a:endParaRPr>
          </a:p>
          <a:p>
            <a:pPr marL="285750" indent="-285750">
              <a:buFont typeface="Wingdings" panose="05000000000000000000" pitchFamily="2" charset="2"/>
              <a:buChar char="Ø"/>
            </a:pPr>
            <a:r>
              <a:rPr lang="en-IN" sz="1400" dirty="0">
                <a:solidFill>
                  <a:srgbClr val="000000"/>
                </a:solidFill>
                <a:latin typeface="Arial" panose="020B0604020202020204" pitchFamily="34" charset="0"/>
              </a:rPr>
              <a:t>AIN unstructured data such as </a:t>
            </a:r>
            <a:r>
              <a:rPr lang="en-IN" sz="1400" dirty="0" smtClean="0">
                <a:solidFill>
                  <a:srgbClr val="000000"/>
                </a:solidFill>
                <a:latin typeface="Arial" panose="020B0604020202020204" pitchFamily="34" charset="0"/>
              </a:rPr>
              <a:t>manuals</a:t>
            </a:r>
          </a:p>
          <a:p>
            <a:pPr marL="285750" indent="-285750">
              <a:buFont typeface="Wingdings" panose="05000000000000000000" pitchFamily="2" charset="2"/>
              <a:buChar char="Ø"/>
            </a:pPr>
            <a:endParaRPr lang="en-IN" sz="1400" dirty="0" smtClean="0">
              <a:solidFill>
                <a:srgbClr val="000000"/>
              </a:solidFill>
              <a:latin typeface="Arial" panose="020B0604020202020204" pitchFamily="34" charset="0"/>
            </a:endParaRPr>
          </a:p>
          <a:p>
            <a:pPr marL="285750" indent="-285750">
              <a:buFont typeface="Wingdings" panose="05000000000000000000" pitchFamily="2" charset="2"/>
              <a:buChar char="Ø"/>
            </a:pPr>
            <a:r>
              <a:rPr lang="en-IN" sz="1400" dirty="0">
                <a:solidFill>
                  <a:srgbClr val="000000"/>
                </a:solidFill>
                <a:latin typeface="Arial" panose="020B0604020202020204" pitchFamily="34" charset="0"/>
              </a:rPr>
              <a:t>AIN structured data such as </a:t>
            </a:r>
            <a:r>
              <a:rPr lang="en-IN" sz="1400" dirty="0" smtClean="0">
                <a:solidFill>
                  <a:srgbClr val="000000"/>
                </a:solidFill>
                <a:latin typeface="Arial" panose="020B0604020202020204" pitchFamily="34" charset="0"/>
              </a:rPr>
              <a:t>threshold</a:t>
            </a:r>
            <a:endParaRPr lang="en-IN" sz="1400" dirty="0">
              <a:solidFill>
                <a:srgbClr val="000000"/>
              </a:solidFill>
              <a:latin typeface="Arial" panose="020B0604020202020204" pitchFamily="34" charset="0"/>
            </a:endParaRPr>
          </a:p>
        </p:txBody>
      </p:sp>
      <p:cxnSp>
        <p:nvCxnSpPr>
          <p:cNvPr id="60" name="Straight Connector 59"/>
          <p:cNvCxnSpPr/>
          <p:nvPr/>
        </p:nvCxnSpPr>
        <p:spPr>
          <a:xfrm>
            <a:off x="3581400" y="1295400"/>
            <a:ext cx="0" cy="4991438"/>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560922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09600" y="1219200"/>
            <a:ext cx="9601200" cy="369332"/>
          </a:xfrm>
          <a:prstGeom prst="rect">
            <a:avLst/>
          </a:prstGeom>
        </p:spPr>
        <p:txBody>
          <a:bodyPr wrap="square">
            <a:spAutoFit/>
          </a:bodyPr>
          <a:lstStyle/>
          <a:p>
            <a:r>
              <a:rPr lang="en-IN" sz="1800" dirty="0">
                <a:solidFill>
                  <a:schemeClr val="accent1"/>
                </a:solidFill>
              </a:rPr>
              <a:t>provides a wizard-based approach for accelerated enterprise IoT application development</a:t>
            </a:r>
          </a:p>
        </p:txBody>
      </p:sp>
      <p:sp>
        <p:nvSpPr>
          <p:cNvPr id="2" name="Title 1"/>
          <p:cNvSpPr>
            <a:spLocks noGrp="1"/>
          </p:cNvSpPr>
          <p:nvPr>
            <p:ph type="title"/>
          </p:nvPr>
        </p:nvSpPr>
        <p:spPr/>
        <p:txBody>
          <a:bodyPr/>
          <a:lstStyle/>
          <a:p>
            <a:r>
              <a:rPr lang="en-IN" sz="2400" dirty="0" smtClean="0"/>
              <a:t>SAP IoT Application Enablement</a:t>
            </a:r>
            <a:endParaRPr lang="en-IN" sz="2400" dirty="0"/>
          </a:p>
        </p:txBody>
      </p:sp>
      <p:sp>
        <p:nvSpPr>
          <p:cNvPr id="5" name="Rectangle 4"/>
          <p:cNvSpPr/>
          <p:nvPr/>
        </p:nvSpPr>
        <p:spPr>
          <a:xfrm>
            <a:off x="228600" y="1905000"/>
            <a:ext cx="6324600" cy="3108543"/>
          </a:xfrm>
          <a:prstGeom prst="rect">
            <a:avLst/>
          </a:prstGeom>
        </p:spPr>
        <p:txBody>
          <a:bodyPr wrap="square">
            <a:spAutoFit/>
          </a:bodyPr>
          <a:lstStyle/>
          <a:p>
            <a:pPr marL="285750" indent="-285750">
              <a:buFont typeface="Wingdings" panose="05000000000000000000" pitchFamily="2" charset="2"/>
              <a:buChar char="Ø"/>
            </a:pPr>
            <a:r>
              <a:rPr lang="en-IN" sz="1400" dirty="0" smtClean="0"/>
              <a:t>Wizard-based </a:t>
            </a:r>
            <a:r>
              <a:rPr lang="en-IN" sz="1400" dirty="0"/>
              <a:t>approach for creating customized basic IoT </a:t>
            </a:r>
            <a:r>
              <a:rPr lang="en-IN" sz="1400" dirty="0" smtClean="0"/>
              <a:t>applications</a:t>
            </a:r>
          </a:p>
          <a:p>
            <a:pPr marL="285750" indent="-285750">
              <a:buFont typeface="Wingdings" panose="05000000000000000000" pitchFamily="2" charset="2"/>
              <a:buChar char="Ø"/>
            </a:pPr>
            <a:endParaRPr lang="en-IN" sz="1400" dirty="0" smtClean="0"/>
          </a:p>
          <a:p>
            <a:pPr marL="285750" indent="-285750">
              <a:buFont typeface="Wingdings" panose="05000000000000000000" pitchFamily="2" charset="2"/>
              <a:buChar char="Ø"/>
            </a:pPr>
            <a:r>
              <a:rPr lang="en-IN" sz="1400" dirty="0" smtClean="0"/>
              <a:t>Code-free </a:t>
            </a:r>
            <a:r>
              <a:rPr lang="en-IN" sz="1400" dirty="0"/>
              <a:t>app </a:t>
            </a:r>
            <a:r>
              <a:rPr lang="en-IN" sz="1400" dirty="0" smtClean="0"/>
              <a:t>development</a:t>
            </a:r>
          </a:p>
          <a:p>
            <a:pPr marL="285750" indent="-285750">
              <a:buFont typeface="Wingdings" panose="05000000000000000000" pitchFamily="2" charset="2"/>
              <a:buChar char="Ø"/>
            </a:pPr>
            <a:endParaRPr lang="en-IN" sz="1400" dirty="0" smtClean="0"/>
          </a:p>
          <a:p>
            <a:pPr marL="285750" indent="-285750">
              <a:buFont typeface="Wingdings" panose="05000000000000000000" pitchFamily="2" charset="2"/>
              <a:buChar char="Ø"/>
            </a:pPr>
            <a:r>
              <a:rPr lang="en-IN" sz="1400" dirty="0" smtClean="0"/>
              <a:t>Simple </a:t>
            </a:r>
            <a:r>
              <a:rPr lang="en-IN" sz="1400" dirty="0"/>
              <a:t>way to connect to the SAP backend services from IoT Application </a:t>
            </a:r>
            <a:r>
              <a:rPr lang="en-IN" sz="1400" dirty="0" smtClean="0"/>
              <a:t>Enablement</a:t>
            </a:r>
          </a:p>
          <a:p>
            <a:pPr marL="285750" indent="-285750">
              <a:buFont typeface="Wingdings" panose="05000000000000000000" pitchFamily="2" charset="2"/>
              <a:buChar char="Ø"/>
            </a:pPr>
            <a:endParaRPr lang="en-IN" sz="1400" dirty="0" smtClean="0"/>
          </a:p>
          <a:p>
            <a:pPr marL="285750" indent="-285750">
              <a:buFont typeface="Wingdings" panose="05000000000000000000" pitchFamily="2" charset="2"/>
              <a:buChar char="Ø"/>
            </a:pPr>
            <a:r>
              <a:rPr lang="en-IN" sz="1400" dirty="0" smtClean="0"/>
              <a:t>Template </a:t>
            </a:r>
            <a:r>
              <a:rPr lang="en-IN" sz="1400" dirty="0"/>
              <a:t>uses a standard UI control library for IoT including geo maps, thing lists, thing card, event lists, sensor charts and embedded </a:t>
            </a:r>
            <a:r>
              <a:rPr lang="en-IN" sz="1400" dirty="0" smtClean="0"/>
              <a:t>analytics</a:t>
            </a:r>
          </a:p>
          <a:p>
            <a:pPr marL="285750" indent="-285750">
              <a:buFont typeface="Wingdings" panose="05000000000000000000" pitchFamily="2" charset="2"/>
              <a:buChar char="Ø"/>
            </a:pPr>
            <a:endParaRPr lang="en-IN" sz="1400" dirty="0" smtClean="0"/>
          </a:p>
          <a:p>
            <a:pPr marL="285750" indent="-285750">
              <a:buFont typeface="Wingdings" panose="05000000000000000000" pitchFamily="2" charset="2"/>
              <a:buChar char="Ø"/>
            </a:pPr>
            <a:r>
              <a:rPr lang="en-IN" sz="1400" dirty="0" smtClean="0"/>
              <a:t>Live </a:t>
            </a:r>
            <a:r>
              <a:rPr lang="en-IN" sz="1400" dirty="0"/>
              <a:t>connection to data and live </a:t>
            </a:r>
            <a:r>
              <a:rPr lang="en-IN" sz="1400" dirty="0" smtClean="0"/>
              <a:t>preview</a:t>
            </a:r>
          </a:p>
          <a:p>
            <a:pPr marL="285750" indent="-285750">
              <a:buFont typeface="Wingdings" panose="05000000000000000000" pitchFamily="2" charset="2"/>
              <a:buChar char="Ø"/>
            </a:pPr>
            <a:endParaRPr lang="en-IN" sz="1400" dirty="0" smtClean="0"/>
          </a:p>
          <a:p>
            <a:pPr marL="285750" indent="-285750">
              <a:buFont typeface="Wingdings" panose="05000000000000000000" pitchFamily="2" charset="2"/>
              <a:buChar char="Ø"/>
            </a:pPr>
            <a:r>
              <a:rPr lang="en-IN" sz="1400" dirty="0" smtClean="0"/>
              <a:t>Generated </a:t>
            </a:r>
            <a:r>
              <a:rPr lang="en-IN" sz="1400" dirty="0"/>
              <a:t>app can be directly deployed or customized with UI controls in the UI5 development editor</a:t>
            </a:r>
          </a:p>
        </p:txBody>
      </p:sp>
    </p:spTree>
    <p:extLst>
      <p:ext uri="{BB962C8B-B14F-4D97-AF65-F5344CB8AC3E}">
        <p14:creationId xmlns:p14="http://schemas.microsoft.com/office/powerpoint/2010/main" val="4359096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1676400"/>
            <a:ext cx="9086248" cy="3831818"/>
          </a:xfrm>
          <a:prstGeom prst="rect">
            <a:avLst/>
          </a:prstGeom>
          <a:noFill/>
        </p:spPr>
        <p:txBody>
          <a:bodyPr wrap="square" rtlCol="0">
            <a:spAutoFit/>
          </a:bodyPr>
          <a:lstStyle/>
          <a:p>
            <a:pPr marL="285750" indent="-285750" algn="just">
              <a:lnSpc>
                <a:spcPct val="150000"/>
              </a:lnSpc>
              <a:buFont typeface="Arial" panose="020B0604020202020204" pitchFamily="34" charset="0"/>
              <a:buChar char="•"/>
            </a:pPr>
            <a:r>
              <a:rPr lang="en-US" dirty="0"/>
              <a:t>SAP Internet of Things (</a:t>
            </a:r>
            <a:r>
              <a:rPr lang="en-US" dirty="0" err="1"/>
              <a:t>IoT</a:t>
            </a:r>
            <a:r>
              <a:rPr lang="en-US" dirty="0"/>
              <a:t>) Application Enablement represents a network of physical objects known as “things,” which collect and exchange data. Use the services to set up a thing model, companies, and service personnel in a company and their relationships</a:t>
            </a:r>
            <a:r>
              <a:rPr lang="en-US" dirty="0" smtClean="0"/>
              <a:t>.</a:t>
            </a:r>
          </a:p>
          <a:p>
            <a:pPr marL="285750" indent="-285750" algn="just">
              <a:lnSpc>
                <a:spcPct val="150000"/>
              </a:lnSpc>
              <a:buFont typeface="Arial" panose="020B0604020202020204" pitchFamily="34" charset="0"/>
              <a:buChar char="•"/>
            </a:pPr>
            <a:r>
              <a:rPr lang="en-US" dirty="0" smtClean="0"/>
              <a:t> </a:t>
            </a:r>
            <a:r>
              <a:rPr lang="en-US" dirty="0"/>
              <a:t>It also includes a collection of REST-based and OData-based services to efficiently store and retrieve data for things, companies, and service personnel</a:t>
            </a:r>
            <a:r>
              <a:rPr lang="en-US" dirty="0" smtClean="0"/>
              <a:t>.</a:t>
            </a:r>
          </a:p>
          <a:p>
            <a:pPr marL="285750" indent="-285750" algn="just">
              <a:lnSpc>
                <a:spcPct val="150000"/>
              </a:lnSpc>
              <a:buFont typeface="Arial" panose="020B0604020202020204" pitchFamily="34" charset="0"/>
              <a:buChar char="•"/>
            </a:pPr>
            <a:r>
              <a:rPr lang="en-US" dirty="0"/>
              <a:t>The SAP Internet of Things (</a:t>
            </a:r>
            <a:r>
              <a:rPr lang="en-US" dirty="0" err="1"/>
              <a:t>IoT</a:t>
            </a:r>
            <a:r>
              <a:rPr lang="en-US" dirty="0"/>
              <a:t>) Application Enablement solution is a collection of services, apps, and UI templates that help you modeling digital twins of real-world objects that you want to monitor, track, or analyze.</a:t>
            </a:r>
          </a:p>
        </p:txBody>
      </p:sp>
      <p:sp>
        <p:nvSpPr>
          <p:cNvPr id="2" name="Title 1"/>
          <p:cNvSpPr>
            <a:spLocks noGrp="1"/>
          </p:cNvSpPr>
          <p:nvPr>
            <p:ph type="title"/>
          </p:nvPr>
        </p:nvSpPr>
        <p:spPr/>
        <p:txBody>
          <a:bodyPr/>
          <a:lstStyle/>
          <a:p>
            <a:r>
              <a:rPr lang="en-US" sz="2400" dirty="0"/>
              <a:t>SAP </a:t>
            </a:r>
            <a:r>
              <a:rPr lang="en-US" sz="2400" dirty="0" smtClean="0"/>
              <a:t>Leonardo IoT Application Enablement Service</a:t>
            </a:r>
            <a:endParaRPr lang="en-US" sz="2400" dirty="0"/>
          </a:p>
        </p:txBody>
      </p:sp>
    </p:spTree>
    <p:extLst>
      <p:ext uri="{BB962C8B-B14F-4D97-AF65-F5344CB8AC3E}">
        <p14:creationId xmlns:p14="http://schemas.microsoft.com/office/powerpoint/2010/main" val="208310514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39637" y="1452716"/>
            <a:ext cx="9384632" cy="64489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AP Leonardo </a:t>
            </a:r>
            <a:r>
              <a:rPr lang="en-US" dirty="0" err="1" smtClean="0"/>
              <a:t>IoT</a:t>
            </a:r>
            <a:r>
              <a:rPr lang="en-US" dirty="0" smtClean="0"/>
              <a:t> Bridge</a:t>
            </a:r>
            <a:endParaRPr lang="en-US" dirty="0"/>
          </a:p>
        </p:txBody>
      </p:sp>
      <p:sp>
        <p:nvSpPr>
          <p:cNvPr id="2" name="Title 1"/>
          <p:cNvSpPr>
            <a:spLocks noGrp="1"/>
          </p:cNvSpPr>
          <p:nvPr>
            <p:ph type="title"/>
          </p:nvPr>
        </p:nvSpPr>
        <p:spPr/>
        <p:txBody>
          <a:bodyPr/>
          <a:lstStyle/>
          <a:p>
            <a:r>
              <a:rPr lang="en-US" sz="2400" b="1" dirty="0"/>
              <a:t>SAP LEONARDO IOT APPLICATION ENABLEMENT SERVICE</a:t>
            </a:r>
          </a:p>
        </p:txBody>
      </p:sp>
      <p:sp>
        <p:nvSpPr>
          <p:cNvPr id="5" name="Rectangle 4"/>
          <p:cNvSpPr/>
          <p:nvPr/>
        </p:nvSpPr>
        <p:spPr>
          <a:xfrm>
            <a:off x="246840" y="2286000"/>
            <a:ext cx="1439678" cy="64489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nected </a:t>
            </a:r>
          </a:p>
          <a:p>
            <a:pPr algn="ctr"/>
            <a:r>
              <a:rPr lang="en-US" sz="1600" dirty="0" smtClean="0"/>
              <a:t>Products</a:t>
            </a:r>
            <a:endParaRPr lang="en-US" sz="1600" dirty="0"/>
          </a:p>
        </p:txBody>
      </p:sp>
      <p:sp>
        <p:nvSpPr>
          <p:cNvPr id="6" name="Rectangle 5"/>
          <p:cNvSpPr/>
          <p:nvPr/>
        </p:nvSpPr>
        <p:spPr>
          <a:xfrm>
            <a:off x="1792572" y="2285985"/>
            <a:ext cx="1439678" cy="64489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nected </a:t>
            </a:r>
          </a:p>
          <a:p>
            <a:pPr algn="ctr"/>
            <a:r>
              <a:rPr lang="en-US" sz="1600" dirty="0" smtClean="0"/>
              <a:t>Assets</a:t>
            </a:r>
            <a:endParaRPr lang="en-US" sz="1600" dirty="0"/>
          </a:p>
        </p:txBody>
      </p:sp>
      <p:sp>
        <p:nvSpPr>
          <p:cNvPr id="7" name="Rectangle 6"/>
          <p:cNvSpPr/>
          <p:nvPr/>
        </p:nvSpPr>
        <p:spPr>
          <a:xfrm>
            <a:off x="3377731" y="2293903"/>
            <a:ext cx="1439678" cy="64489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nected</a:t>
            </a:r>
          </a:p>
          <a:p>
            <a:pPr algn="ctr"/>
            <a:r>
              <a:rPr lang="en-US" sz="1600" dirty="0" smtClean="0"/>
              <a:t>Fleet</a:t>
            </a:r>
            <a:endParaRPr lang="en-US" sz="1600" dirty="0"/>
          </a:p>
        </p:txBody>
      </p:sp>
      <p:sp>
        <p:nvSpPr>
          <p:cNvPr id="8" name="Rectangle 7"/>
          <p:cNvSpPr/>
          <p:nvPr/>
        </p:nvSpPr>
        <p:spPr>
          <a:xfrm>
            <a:off x="5024249" y="2293903"/>
            <a:ext cx="1439678" cy="64489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nected</a:t>
            </a:r>
          </a:p>
          <a:p>
            <a:pPr algn="ctr"/>
            <a:r>
              <a:rPr lang="en-US" sz="1600" dirty="0" smtClean="0"/>
              <a:t>Infrastructure</a:t>
            </a:r>
            <a:endParaRPr lang="en-US" sz="1600" dirty="0"/>
          </a:p>
        </p:txBody>
      </p:sp>
      <p:sp>
        <p:nvSpPr>
          <p:cNvPr id="9" name="Rectangle 8"/>
          <p:cNvSpPr/>
          <p:nvPr/>
        </p:nvSpPr>
        <p:spPr>
          <a:xfrm>
            <a:off x="6670767" y="2293903"/>
            <a:ext cx="1439678" cy="64489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nected</a:t>
            </a:r>
          </a:p>
          <a:p>
            <a:pPr algn="ctr"/>
            <a:r>
              <a:rPr lang="en-US" sz="1600" dirty="0" smtClean="0"/>
              <a:t>Markets</a:t>
            </a:r>
            <a:endParaRPr lang="en-US" sz="1600" dirty="0"/>
          </a:p>
        </p:txBody>
      </p:sp>
      <p:sp>
        <p:nvSpPr>
          <p:cNvPr id="10" name="Rectangle 9"/>
          <p:cNvSpPr/>
          <p:nvPr/>
        </p:nvSpPr>
        <p:spPr>
          <a:xfrm>
            <a:off x="8257655" y="2285985"/>
            <a:ext cx="1273320" cy="64489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nected People</a:t>
            </a:r>
            <a:endParaRPr lang="en-US" sz="1600" dirty="0"/>
          </a:p>
        </p:txBody>
      </p:sp>
      <p:sp>
        <p:nvSpPr>
          <p:cNvPr id="11" name="Rounded Rectangle 10"/>
          <p:cNvSpPr/>
          <p:nvPr/>
        </p:nvSpPr>
        <p:spPr>
          <a:xfrm>
            <a:off x="231679" y="3123216"/>
            <a:ext cx="1953929" cy="3109274"/>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smtClean="0"/>
              <a:t>SAP Leonardo </a:t>
            </a:r>
            <a:r>
              <a:rPr lang="en-US" sz="1600" dirty="0" err="1" smtClean="0"/>
              <a:t>IoT</a:t>
            </a:r>
            <a:r>
              <a:rPr lang="en-US" sz="1600" dirty="0" smtClean="0"/>
              <a:t> for Edge Computing</a:t>
            </a:r>
            <a:endParaRPr lang="en-US" sz="1600" dirty="0"/>
          </a:p>
          <a:p>
            <a:pPr algn="ctr"/>
            <a:endParaRPr lang="en-US" sz="1600" dirty="0"/>
          </a:p>
          <a:p>
            <a:pPr marL="285750" indent="-285750">
              <a:buFont typeface="Arial" panose="020B0604020202020204" pitchFamily="34" charset="0"/>
              <a:buChar char="•"/>
            </a:pPr>
            <a:r>
              <a:rPr lang="en-US" sz="1200" dirty="0" smtClean="0"/>
              <a:t>Streaming</a:t>
            </a:r>
          </a:p>
          <a:p>
            <a:pPr marL="285750" indent="-285750">
              <a:buFont typeface="Arial" panose="020B0604020202020204" pitchFamily="34" charset="0"/>
              <a:buChar char="•"/>
            </a:pPr>
            <a:r>
              <a:rPr lang="en-US" sz="1200" dirty="0" smtClean="0"/>
              <a:t>Persistence</a:t>
            </a:r>
          </a:p>
          <a:p>
            <a:pPr marL="285750" indent="-285750">
              <a:buFont typeface="Arial" panose="020B0604020202020204" pitchFamily="34" charset="0"/>
              <a:buChar char="•"/>
            </a:pPr>
            <a:r>
              <a:rPr lang="en-US" sz="1200" dirty="0" smtClean="0"/>
              <a:t>Business transactions</a:t>
            </a:r>
          </a:p>
          <a:p>
            <a:pPr marL="285750" indent="-285750">
              <a:buFont typeface="Arial" panose="020B0604020202020204" pitchFamily="34" charset="0"/>
              <a:buChar char="•"/>
            </a:pPr>
            <a:r>
              <a:rPr lang="en-US" sz="1200" dirty="0" smtClean="0"/>
              <a:t>Predictive and machine learning</a:t>
            </a:r>
          </a:p>
          <a:p>
            <a:pPr marL="285750" indent="-285750">
              <a:buFont typeface="Arial" panose="020B0604020202020204" pitchFamily="34" charset="0"/>
              <a:buChar char="•"/>
            </a:pPr>
            <a:r>
              <a:rPr lang="en-US" sz="1200" dirty="0" smtClean="0"/>
              <a:t>Analytics</a:t>
            </a:r>
            <a:endParaRPr lang="en-US" sz="1200" dirty="0"/>
          </a:p>
        </p:txBody>
      </p:sp>
      <p:sp>
        <p:nvSpPr>
          <p:cNvPr id="12" name="Rectangle 11"/>
          <p:cNvSpPr/>
          <p:nvPr/>
        </p:nvSpPr>
        <p:spPr>
          <a:xfrm>
            <a:off x="2377440" y="3159792"/>
            <a:ext cx="7238198" cy="162667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t>SAP Leonardo </a:t>
            </a:r>
            <a:r>
              <a:rPr lang="en-US" dirty="0" err="1" smtClean="0"/>
              <a:t>IoT</a:t>
            </a:r>
            <a:r>
              <a:rPr lang="en-US" dirty="0" smtClean="0"/>
              <a:t> Foundation</a:t>
            </a:r>
            <a:endParaRPr lang="en-US" dirty="0"/>
          </a:p>
        </p:txBody>
      </p:sp>
      <p:sp>
        <p:nvSpPr>
          <p:cNvPr id="13" name="Rounded Rectangle 12"/>
          <p:cNvSpPr/>
          <p:nvPr/>
        </p:nvSpPr>
        <p:spPr>
          <a:xfrm>
            <a:off x="2405322" y="4870514"/>
            <a:ext cx="7218947" cy="1322428"/>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070C0"/>
                </a:solidFill>
              </a:rPr>
              <a:t>SAP CLOUD PLATFORM</a:t>
            </a:r>
            <a:endParaRPr lang="en-US" dirty="0">
              <a:solidFill>
                <a:srgbClr val="0070C0"/>
              </a:solidFill>
            </a:endParaRPr>
          </a:p>
        </p:txBody>
      </p:sp>
      <p:sp>
        <p:nvSpPr>
          <p:cNvPr id="14" name="Rectangle 13"/>
          <p:cNvSpPr/>
          <p:nvPr/>
        </p:nvSpPr>
        <p:spPr>
          <a:xfrm>
            <a:off x="2802317" y="3565797"/>
            <a:ext cx="2590505" cy="108336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700" dirty="0" smtClean="0"/>
              <a:t>Technical Services</a:t>
            </a:r>
          </a:p>
          <a:p>
            <a:pPr marL="285750" indent="-285750">
              <a:buFont typeface="Arial" panose="020B0604020202020204" pitchFamily="34" charset="0"/>
              <a:buChar char="•"/>
            </a:pPr>
            <a:r>
              <a:rPr lang="en-US" sz="1300" dirty="0" smtClean="0"/>
              <a:t>Device Management</a:t>
            </a:r>
          </a:p>
          <a:p>
            <a:pPr marL="285750" indent="-285750">
              <a:buFont typeface="Arial" panose="020B0604020202020204" pitchFamily="34" charset="0"/>
              <a:buChar char="•"/>
            </a:pPr>
            <a:r>
              <a:rPr lang="en-US" sz="1300" dirty="0" smtClean="0"/>
              <a:t>Connectivity</a:t>
            </a:r>
          </a:p>
          <a:p>
            <a:pPr marL="285750" indent="-285750">
              <a:buFont typeface="Arial" panose="020B0604020202020204" pitchFamily="34" charset="0"/>
              <a:buChar char="•"/>
            </a:pPr>
            <a:r>
              <a:rPr lang="en-US" sz="1300" dirty="0" smtClean="0"/>
              <a:t>Messaging</a:t>
            </a:r>
            <a:endParaRPr lang="en-US" sz="1300" dirty="0"/>
          </a:p>
        </p:txBody>
      </p:sp>
      <p:sp>
        <p:nvSpPr>
          <p:cNvPr id="15" name="Rectangle 14"/>
          <p:cNvSpPr/>
          <p:nvPr/>
        </p:nvSpPr>
        <p:spPr>
          <a:xfrm>
            <a:off x="6226912" y="3565797"/>
            <a:ext cx="2667403" cy="108336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700" dirty="0" smtClean="0"/>
              <a:t>Business Services</a:t>
            </a:r>
          </a:p>
          <a:p>
            <a:pPr marL="285750" indent="-285750">
              <a:buFont typeface="Arial" panose="020B0604020202020204" pitchFamily="34" charset="0"/>
              <a:buChar char="•"/>
            </a:pPr>
            <a:r>
              <a:rPr lang="en-US" sz="1300" dirty="0" smtClean="0"/>
              <a:t>Thing Model(digital twin)</a:t>
            </a:r>
          </a:p>
          <a:p>
            <a:pPr marL="285750" indent="-285750">
              <a:buFont typeface="Arial" panose="020B0604020202020204" pitchFamily="34" charset="0"/>
              <a:buChar char="•"/>
            </a:pPr>
            <a:r>
              <a:rPr lang="en-US" sz="1300" dirty="0" smtClean="0"/>
              <a:t>Application development</a:t>
            </a:r>
          </a:p>
          <a:p>
            <a:pPr marL="285750" indent="-285750">
              <a:buFont typeface="Arial" panose="020B0604020202020204" pitchFamily="34" charset="0"/>
              <a:buChar char="•"/>
            </a:pPr>
            <a:r>
              <a:rPr lang="en-US" sz="1300" dirty="0" smtClean="0"/>
              <a:t>Big Data &amp; Analytics</a:t>
            </a:r>
            <a:endParaRPr lang="en-US" sz="1300" dirty="0"/>
          </a:p>
        </p:txBody>
      </p:sp>
      <p:sp>
        <p:nvSpPr>
          <p:cNvPr id="16" name="Rectangle 15"/>
          <p:cNvSpPr/>
          <p:nvPr/>
        </p:nvSpPr>
        <p:spPr>
          <a:xfrm>
            <a:off x="2683565" y="5339920"/>
            <a:ext cx="168965" cy="427383"/>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2970439" y="5180894"/>
            <a:ext cx="168965" cy="586408"/>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3274745" y="5029200"/>
            <a:ext cx="164382" cy="738102"/>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2585406" y="5791200"/>
            <a:ext cx="1107996" cy="369332"/>
          </a:xfrm>
          <a:prstGeom prst="rect">
            <a:avLst/>
          </a:prstGeom>
          <a:noFill/>
        </p:spPr>
        <p:txBody>
          <a:bodyPr wrap="none" rtlCol="0">
            <a:spAutoFit/>
          </a:bodyPr>
          <a:lstStyle/>
          <a:p>
            <a:r>
              <a:rPr lang="en-US" dirty="0" smtClean="0">
                <a:solidFill>
                  <a:schemeClr val="bg1"/>
                </a:solidFill>
              </a:rPr>
              <a:t>Analytics</a:t>
            </a:r>
            <a:endParaRPr lang="en-US" dirty="0">
              <a:solidFill>
                <a:schemeClr val="bg1"/>
              </a:solidFill>
            </a:endParaRPr>
          </a:p>
        </p:txBody>
      </p:sp>
      <p:pic>
        <p:nvPicPr>
          <p:cNvPr id="20" name="Picture 19"/>
          <p:cNvPicPr>
            <a:picLocks noChangeAspect="1"/>
          </p:cNvPicPr>
          <p:nvPr/>
        </p:nvPicPr>
        <p:blipFill>
          <a:blip r:embed="rId2"/>
          <a:stretch>
            <a:fillRect/>
          </a:stretch>
        </p:blipFill>
        <p:spPr>
          <a:xfrm>
            <a:off x="3847868" y="5105400"/>
            <a:ext cx="777950" cy="677569"/>
          </a:xfrm>
          <a:prstGeom prst="rect">
            <a:avLst/>
          </a:prstGeom>
        </p:spPr>
      </p:pic>
      <p:pic>
        <p:nvPicPr>
          <p:cNvPr id="21" name="Picture 20"/>
          <p:cNvPicPr>
            <a:picLocks noChangeAspect="1"/>
          </p:cNvPicPr>
          <p:nvPr/>
        </p:nvPicPr>
        <p:blipFill>
          <a:blip r:embed="rId3"/>
          <a:stretch>
            <a:fillRect/>
          </a:stretch>
        </p:blipFill>
        <p:spPr>
          <a:xfrm>
            <a:off x="7637097" y="5117068"/>
            <a:ext cx="781050" cy="609600"/>
          </a:xfrm>
          <a:prstGeom prst="rect">
            <a:avLst/>
          </a:prstGeom>
        </p:spPr>
      </p:pic>
      <p:pic>
        <p:nvPicPr>
          <p:cNvPr id="22" name="Picture 21"/>
          <p:cNvPicPr>
            <a:picLocks noChangeAspect="1"/>
          </p:cNvPicPr>
          <p:nvPr/>
        </p:nvPicPr>
        <p:blipFill>
          <a:blip r:embed="rId4"/>
          <a:stretch>
            <a:fillRect/>
          </a:stretch>
        </p:blipFill>
        <p:spPr>
          <a:xfrm>
            <a:off x="8568770" y="5170383"/>
            <a:ext cx="904875" cy="581025"/>
          </a:xfrm>
          <a:prstGeom prst="rect">
            <a:avLst/>
          </a:prstGeom>
        </p:spPr>
      </p:pic>
      <p:sp>
        <p:nvSpPr>
          <p:cNvPr id="24" name="TextBox 23"/>
          <p:cNvSpPr txBox="1"/>
          <p:nvPr/>
        </p:nvSpPr>
        <p:spPr>
          <a:xfrm>
            <a:off x="3804673" y="5726668"/>
            <a:ext cx="864339" cy="369332"/>
          </a:xfrm>
          <a:prstGeom prst="rect">
            <a:avLst/>
          </a:prstGeom>
          <a:noFill/>
        </p:spPr>
        <p:txBody>
          <a:bodyPr wrap="none" rtlCol="0">
            <a:spAutoFit/>
          </a:bodyPr>
          <a:lstStyle/>
          <a:p>
            <a:r>
              <a:rPr lang="en-US" dirty="0" smtClean="0">
                <a:solidFill>
                  <a:schemeClr val="bg1"/>
                </a:solidFill>
              </a:rPr>
              <a:t>Mobile</a:t>
            </a:r>
            <a:endParaRPr lang="en-US" dirty="0">
              <a:solidFill>
                <a:schemeClr val="bg1"/>
              </a:solidFill>
            </a:endParaRPr>
          </a:p>
        </p:txBody>
      </p:sp>
      <p:sp>
        <p:nvSpPr>
          <p:cNvPr id="25" name="TextBox 24"/>
          <p:cNvSpPr txBox="1"/>
          <p:nvPr/>
        </p:nvSpPr>
        <p:spPr>
          <a:xfrm>
            <a:off x="7560613" y="5570683"/>
            <a:ext cx="981359" cy="584775"/>
          </a:xfrm>
          <a:prstGeom prst="rect">
            <a:avLst/>
          </a:prstGeom>
          <a:noFill/>
        </p:spPr>
        <p:txBody>
          <a:bodyPr wrap="none" rtlCol="0">
            <a:spAutoFit/>
          </a:bodyPr>
          <a:lstStyle/>
          <a:p>
            <a:r>
              <a:rPr lang="en-US" sz="1600" dirty="0" smtClean="0">
                <a:solidFill>
                  <a:schemeClr val="bg1"/>
                </a:solidFill>
              </a:rPr>
              <a:t>Machine</a:t>
            </a:r>
          </a:p>
          <a:p>
            <a:r>
              <a:rPr lang="en-US" sz="1600" dirty="0" smtClean="0">
                <a:solidFill>
                  <a:schemeClr val="bg1"/>
                </a:solidFill>
              </a:rPr>
              <a:t>Learning</a:t>
            </a:r>
            <a:endParaRPr lang="en-US" sz="1600" dirty="0">
              <a:solidFill>
                <a:schemeClr val="bg1"/>
              </a:solidFill>
            </a:endParaRPr>
          </a:p>
        </p:txBody>
      </p:sp>
      <p:sp>
        <p:nvSpPr>
          <p:cNvPr id="26" name="TextBox 25"/>
          <p:cNvSpPr txBox="1"/>
          <p:nvPr/>
        </p:nvSpPr>
        <p:spPr>
          <a:xfrm>
            <a:off x="8479713" y="5718325"/>
            <a:ext cx="1154483" cy="338554"/>
          </a:xfrm>
          <a:prstGeom prst="rect">
            <a:avLst/>
          </a:prstGeom>
          <a:noFill/>
        </p:spPr>
        <p:txBody>
          <a:bodyPr wrap="none" rtlCol="0">
            <a:spAutoFit/>
          </a:bodyPr>
          <a:lstStyle/>
          <a:p>
            <a:r>
              <a:rPr lang="en-US" sz="1600" dirty="0" smtClean="0">
                <a:solidFill>
                  <a:schemeClr val="bg1"/>
                </a:solidFill>
              </a:rPr>
              <a:t>Integration</a:t>
            </a:r>
          </a:p>
        </p:txBody>
      </p:sp>
    </p:spTree>
    <p:extLst>
      <p:ext uri="{BB962C8B-B14F-4D97-AF65-F5344CB8AC3E}">
        <p14:creationId xmlns:p14="http://schemas.microsoft.com/office/powerpoint/2010/main" val="36790999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228600" y="1778508"/>
            <a:ext cx="2895600" cy="4191000"/>
          </a:xfrm>
          <a:prstGeom prst="rect">
            <a:avLst/>
          </a:prstGeom>
          <a:solidFill>
            <a:srgbClr val="0070C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 name="Title 3"/>
          <p:cNvSpPr>
            <a:spLocks noGrp="1"/>
          </p:cNvSpPr>
          <p:nvPr>
            <p:ph type="title"/>
          </p:nvPr>
        </p:nvSpPr>
        <p:spPr/>
        <p:txBody>
          <a:bodyPr/>
          <a:lstStyle/>
          <a:p>
            <a:r>
              <a:rPr lang="en-US" sz="2400" dirty="0" smtClean="0"/>
              <a:t>Developer Experience</a:t>
            </a:r>
            <a:endParaRPr lang="en-US" sz="2400" dirty="0"/>
          </a:p>
        </p:txBody>
      </p:sp>
      <p:sp>
        <p:nvSpPr>
          <p:cNvPr id="27" name="Rectangle 26"/>
          <p:cNvSpPr/>
          <p:nvPr/>
        </p:nvSpPr>
        <p:spPr>
          <a:xfrm>
            <a:off x="3314700" y="1769816"/>
            <a:ext cx="3619500" cy="4191000"/>
          </a:xfrm>
          <a:prstGeom prst="rect">
            <a:avLst/>
          </a:prstGeom>
          <a:solidFill>
            <a:srgbClr val="0070C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smtClean="0">
                <a:solidFill>
                  <a:schemeClr val="bg1"/>
                </a:solidFill>
              </a:rPr>
              <a:t>Develop</a:t>
            </a:r>
          </a:p>
          <a:p>
            <a:pPr algn="ctr"/>
            <a:r>
              <a:rPr lang="en-US" sz="1400" dirty="0" smtClean="0">
                <a:solidFill>
                  <a:schemeClr val="bg1"/>
                </a:solidFill>
              </a:rPr>
              <a:t>Applications using</a:t>
            </a:r>
          </a:p>
          <a:p>
            <a:pPr algn="ctr"/>
            <a:r>
              <a:rPr lang="en-US" sz="1400" dirty="0" smtClean="0">
                <a:solidFill>
                  <a:schemeClr val="bg1"/>
                </a:solidFill>
              </a:rPr>
              <a:t>SAP Web IDE</a:t>
            </a:r>
          </a:p>
        </p:txBody>
      </p:sp>
      <p:sp>
        <p:nvSpPr>
          <p:cNvPr id="28" name="Rectangle 27"/>
          <p:cNvSpPr/>
          <p:nvPr/>
        </p:nvSpPr>
        <p:spPr>
          <a:xfrm>
            <a:off x="7161276" y="1762196"/>
            <a:ext cx="2514600" cy="4191000"/>
          </a:xfrm>
          <a:prstGeom prst="rect">
            <a:avLst/>
          </a:prstGeom>
          <a:solidFill>
            <a:srgbClr val="0070C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smtClean="0">
                <a:solidFill>
                  <a:schemeClr val="bg1"/>
                </a:solidFill>
              </a:rPr>
              <a:t>Deploy and Run</a:t>
            </a:r>
          </a:p>
          <a:p>
            <a:pPr algn="ctr"/>
            <a:r>
              <a:rPr lang="en-US" sz="1400" dirty="0" smtClean="0">
                <a:solidFill>
                  <a:schemeClr val="bg1"/>
                </a:solidFill>
              </a:rPr>
              <a:t>On </a:t>
            </a:r>
          </a:p>
          <a:p>
            <a:pPr algn="ctr"/>
            <a:r>
              <a:rPr lang="en-US" sz="1400" dirty="0" smtClean="0">
                <a:solidFill>
                  <a:schemeClr val="bg1"/>
                </a:solidFill>
              </a:rPr>
              <a:t>SAP Cloud Platform</a:t>
            </a:r>
          </a:p>
        </p:txBody>
      </p:sp>
      <p:sp>
        <p:nvSpPr>
          <p:cNvPr id="29" name="Rectangle 28"/>
          <p:cNvSpPr/>
          <p:nvPr/>
        </p:nvSpPr>
        <p:spPr>
          <a:xfrm>
            <a:off x="685800" y="2819400"/>
            <a:ext cx="1828800" cy="609600"/>
          </a:xfrm>
          <a:prstGeom prst="rect">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Thing Modeler &amp; Device Mapping</a:t>
            </a:r>
          </a:p>
        </p:txBody>
      </p:sp>
      <p:sp>
        <p:nvSpPr>
          <p:cNvPr id="30" name="Rectangle 29"/>
          <p:cNvSpPr/>
          <p:nvPr/>
        </p:nvSpPr>
        <p:spPr>
          <a:xfrm>
            <a:off x="685800" y="3560516"/>
            <a:ext cx="1828800" cy="609600"/>
          </a:xfrm>
          <a:prstGeom prst="rect">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Tenant Admin</a:t>
            </a:r>
          </a:p>
        </p:txBody>
      </p:sp>
      <p:sp>
        <p:nvSpPr>
          <p:cNvPr id="31" name="Rectangle 30"/>
          <p:cNvSpPr/>
          <p:nvPr/>
        </p:nvSpPr>
        <p:spPr>
          <a:xfrm>
            <a:off x="685800" y="4301633"/>
            <a:ext cx="1828800" cy="609600"/>
          </a:xfrm>
          <a:prstGeom prst="rect">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KPI &amp; Analytics Modeler</a:t>
            </a:r>
          </a:p>
        </p:txBody>
      </p:sp>
      <p:sp>
        <p:nvSpPr>
          <p:cNvPr id="32" name="Rectangle 31"/>
          <p:cNvSpPr/>
          <p:nvPr/>
        </p:nvSpPr>
        <p:spPr>
          <a:xfrm>
            <a:off x="685800" y="5079492"/>
            <a:ext cx="1828800" cy="609600"/>
          </a:xfrm>
          <a:prstGeom prst="rect">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Rules Modeler</a:t>
            </a:r>
          </a:p>
        </p:txBody>
      </p:sp>
      <p:sp>
        <p:nvSpPr>
          <p:cNvPr id="33" name="TextBox 32"/>
          <p:cNvSpPr txBox="1"/>
          <p:nvPr/>
        </p:nvSpPr>
        <p:spPr>
          <a:xfrm>
            <a:off x="1089483" y="1929622"/>
            <a:ext cx="1021433" cy="738664"/>
          </a:xfrm>
          <a:prstGeom prst="rect">
            <a:avLst/>
          </a:prstGeom>
          <a:noFill/>
        </p:spPr>
        <p:txBody>
          <a:bodyPr wrap="none" rtlCol="0">
            <a:spAutoFit/>
          </a:bodyPr>
          <a:lstStyle/>
          <a:p>
            <a:pPr algn="ctr"/>
            <a:r>
              <a:rPr lang="en-US" sz="1400" dirty="0" smtClean="0">
                <a:solidFill>
                  <a:schemeClr val="bg1"/>
                </a:solidFill>
              </a:rPr>
              <a:t>Model</a:t>
            </a:r>
          </a:p>
          <a:p>
            <a:pPr algn="ctr"/>
            <a:r>
              <a:rPr lang="en-US" sz="1400" dirty="0" smtClean="0">
                <a:solidFill>
                  <a:schemeClr val="bg1"/>
                </a:solidFill>
              </a:rPr>
              <a:t>Business</a:t>
            </a:r>
          </a:p>
          <a:p>
            <a:pPr algn="ctr"/>
            <a:r>
              <a:rPr lang="en-US" sz="1400" dirty="0" smtClean="0">
                <a:solidFill>
                  <a:schemeClr val="bg1"/>
                </a:solidFill>
              </a:rPr>
              <a:t>Semantics</a:t>
            </a:r>
          </a:p>
        </p:txBody>
      </p:sp>
      <p:cxnSp>
        <p:nvCxnSpPr>
          <p:cNvPr id="36" name="Straight Connector 35"/>
          <p:cNvCxnSpPr/>
          <p:nvPr/>
        </p:nvCxnSpPr>
        <p:spPr>
          <a:xfrm>
            <a:off x="685800" y="2133600"/>
            <a:ext cx="0" cy="16535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3"/>
          <a:stretch>
            <a:fillRect/>
          </a:stretch>
        </p:blipFill>
        <p:spPr>
          <a:xfrm>
            <a:off x="337008" y="1987677"/>
            <a:ext cx="561975" cy="457200"/>
          </a:xfrm>
          <a:prstGeom prst="rect">
            <a:avLst/>
          </a:prstGeom>
        </p:spPr>
      </p:pic>
      <p:pic>
        <p:nvPicPr>
          <p:cNvPr id="38" name="Picture 37"/>
          <p:cNvPicPr>
            <a:picLocks noChangeAspect="1"/>
          </p:cNvPicPr>
          <p:nvPr/>
        </p:nvPicPr>
        <p:blipFill>
          <a:blip r:embed="rId4"/>
          <a:stretch>
            <a:fillRect/>
          </a:stretch>
        </p:blipFill>
        <p:spPr>
          <a:xfrm>
            <a:off x="6045374" y="1885950"/>
            <a:ext cx="733425" cy="495300"/>
          </a:xfrm>
          <a:prstGeom prst="rect">
            <a:avLst/>
          </a:prstGeom>
        </p:spPr>
      </p:pic>
      <p:pic>
        <p:nvPicPr>
          <p:cNvPr id="39" name="Picture 38"/>
          <p:cNvPicPr>
            <a:picLocks noChangeAspect="1"/>
          </p:cNvPicPr>
          <p:nvPr/>
        </p:nvPicPr>
        <p:blipFill>
          <a:blip r:embed="rId5"/>
          <a:stretch>
            <a:fillRect/>
          </a:stretch>
        </p:blipFill>
        <p:spPr>
          <a:xfrm>
            <a:off x="9182100" y="1799844"/>
            <a:ext cx="466725" cy="504825"/>
          </a:xfrm>
          <a:prstGeom prst="rect">
            <a:avLst/>
          </a:prstGeom>
        </p:spPr>
      </p:pic>
      <p:sp>
        <p:nvSpPr>
          <p:cNvPr id="40" name="Rectangle 39"/>
          <p:cNvSpPr/>
          <p:nvPr/>
        </p:nvSpPr>
        <p:spPr>
          <a:xfrm>
            <a:off x="4267200" y="2819400"/>
            <a:ext cx="1752600" cy="5627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smtClean="0">
                <a:solidFill>
                  <a:schemeClr val="tx2">
                    <a:lumMod val="50000"/>
                  </a:schemeClr>
                </a:solidFill>
              </a:rPr>
              <a:t>IoT</a:t>
            </a:r>
            <a:r>
              <a:rPr lang="en-US" sz="1200" dirty="0" smtClean="0">
                <a:solidFill>
                  <a:schemeClr val="tx2">
                    <a:lumMod val="50000"/>
                  </a:schemeClr>
                </a:solidFill>
              </a:rPr>
              <a:t> Application Templates</a:t>
            </a:r>
          </a:p>
        </p:txBody>
      </p:sp>
      <p:sp>
        <p:nvSpPr>
          <p:cNvPr id="41" name="Rectangle 40"/>
          <p:cNvSpPr/>
          <p:nvPr/>
        </p:nvSpPr>
        <p:spPr>
          <a:xfrm>
            <a:off x="4261342" y="3565469"/>
            <a:ext cx="1752600" cy="584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Storyboard Perspective</a:t>
            </a:r>
          </a:p>
        </p:txBody>
      </p:sp>
      <p:sp>
        <p:nvSpPr>
          <p:cNvPr id="42" name="Rectangle 41"/>
          <p:cNvSpPr/>
          <p:nvPr/>
        </p:nvSpPr>
        <p:spPr>
          <a:xfrm>
            <a:off x="4249102" y="4352422"/>
            <a:ext cx="1752600" cy="52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Development Perspective</a:t>
            </a:r>
          </a:p>
        </p:txBody>
      </p:sp>
      <p:sp>
        <p:nvSpPr>
          <p:cNvPr id="43" name="Rectangle 42"/>
          <p:cNvSpPr/>
          <p:nvPr/>
        </p:nvSpPr>
        <p:spPr>
          <a:xfrm>
            <a:off x="6200870" y="2819400"/>
            <a:ext cx="534162" cy="2053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smtClean="0">
                <a:solidFill>
                  <a:schemeClr val="tx2">
                    <a:lumMod val="50000"/>
                  </a:schemeClr>
                </a:solidFill>
              </a:rPr>
              <a:t>SAP- Web IDE SDK</a:t>
            </a:r>
          </a:p>
        </p:txBody>
      </p:sp>
      <p:sp>
        <p:nvSpPr>
          <p:cNvPr id="44" name="Rectangle 43"/>
          <p:cNvSpPr/>
          <p:nvPr/>
        </p:nvSpPr>
        <p:spPr>
          <a:xfrm>
            <a:off x="3473196" y="2819399"/>
            <a:ext cx="534162" cy="20534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5" name="Rectangle 44"/>
          <p:cNvSpPr/>
          <p:nvPr/>
        </p:nvSpPr>
        <p:spPr>
          <a:xfrm>
            <a:off x="3473196" y="5091136"/>
            <a:ext cx="3261836" cy="651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Business Logic </a:t>
            </a:r>
            <a:r>
              <a:rPr lang="en-US" sz="1200" dirty="0" err="1" smtClean="0">
                <a:solidFill>
                  <a:schemeClr val="tx2">
                    <a:lumMod val="50000"/>
                  </a:schemeClr>
                </a:solidFill>
              </a:rPr>
              <a:t>Develoment</a:t>
            </a:r>
            <a:r>
              <a:rPr lang="en-US" sz="1200" dirty="0" smtClean="0">
                <a:solidFill>
                  <a:schemeClr val="tx2">
                    <a:lumMod val="50000"/>
                  </a:schemeClr>
                </a:solidFill>
              </a:rPr>
              <a:t> (Java &amp; Node.js)</a:t>
            </a:r>
          </a:p>
        </p:txBody>
      </p:sp>
      <p:sp>
        <p:nvSpPr>
          <p:cNvPr id="46" name="TextBox 45"/>
          <p:cNvSpPr txBox="1"/>
          <p:nvPr/>
        </p:nvSpPr>
        <p:spPr>
          <a:xfrm rot="16200000">
            <a:off x="2941643" y="3763958"/>
            <a:ext cx="1587294" cy="307777"/>
          </a:xfrm>
          <a:prstGeom prst="rect">
            <a:avLst/>
          </a:prstGeom>
          <a:noFill/>
        </p:spPr>
        <p:txBody>
          <a:bodyPr wrap="none" rtlCol="0">
            <a:spAutoFit/>
          </a:bodyPr>
          <a:lstStyle/>
          <a:p>
            <a:r>
              <a:rPr lang="en-US" sz="1400" dirty="0" smtClean="0">
                <a:solidFill>
                  <a:schemeClr val="tx2">
                    <a:lumMod val="50000"/>
                  </a:schemeClr>
                </a:solidFill>
              </a:rPr>
              <a:t>UI Control Library</a:t>
            </a:r>
          </a:p>
        </p:txBody>
      </p:sp>
      <p:sp>
        <p:nvSpPr>
          <p:cNvPr id="47" name="Rectangle 46"/>
          <p:cNvSpPr/>
          <p:nvPr/>
        </p:nvSpPr>
        <p:spPr>
          <a:xfrm>
            <a:off x="7620000" y="2819399"/>
            <a:ext cx="1562100" cy="5627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Deploy Multi-target</a:t>
            </a:r>
          </a:p>
          <a:p>
            <a:pPr algn="ctr"/>
            <a:r>
              <a:rPr lang="en-US" sz="1200" dirty="0" smtClean="0">
                <a:solidFill>
                  <a:schemeClr val="tx2">
                    <a:lumMod val="50000"/>
                  </a:schemeClr>
                </a:solidFill>
              </a:rPr>
              <a:t>Applications</a:t>
            </a:r>
          </a:p>
        </p:txBody>
      </p:sp>
      <p:sp>
        <p:nvSpPr>
          <p:cNvPr id="48" name="Rectangle 47"/>
          <p:cNvSpPr/>
          <p:nvPr/>
        </p:nvSpPr>
        <p:spPr>
          <a:xfrm>
            <a:off x="7616571" y="3529638"/>
            <a:ext cx="1562100" cy="5627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Cloud Cockpit</a:t>
            </a:r>
          </a:p>
        </p:txBody>
      </p:sp>
      <p:sp>
        <p:nvSpPr>
          <p:cNvPr id="49" name="Rectangle 48"/>
          <p:cNvSpPr/>
          <p:nvPr/>
        </p:nvSpPr>
        <p:spPr>
          <a:xfrm>
            <a:off x="7616571" y="4291102"/>
            <a:ext cx="1562100" cy="5627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Portal Services</a:t>
            </a:r>
          </a:p>
        </p:txBody>
      </p:sp>
      <p:sp>
        <p:nvSpPr>
          <p:cNvPr id="50" name="Rectangle 49"/>
          <p:cNvSpPr/>
          <p:nvPr/>
        </p:nvSpPr>
        <p:spPr>
          <a:xfrm>
            <a:off x="7616571" y="5079492"/>
            <a:ext cx="1562100" cy="5627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Analytics Runtime Services</a:t>
            </a:r>
          </a:p>
        </p:txBody>
      </p:sp>
    </p:spTree>
    <p:extLst>
      <p:ext uri="{BB962C8B-B14F-4D97-AF65-F5344CB8AC3E}">
        <p14:creationId xmlns:p14="http://schemas.microsoft.com/office/powerpoint/2010/main" val="34698061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09600" y="1752600"/>
            <a:ext cx="7086600" cy="338554"/>
          </a:xfrm>
          <a:prstGeom prst="rect">
            <a:avLst/>
          </a:prstGeom>
          <a:noFill/>
        </p:spPr>
        <p:txBody>
          <a:bodyPr wrap="square" rtlCol="0">
            <a:spAutoFit/>
          </a:bodyPr>
          <a:lstStyle/>
          <a:p>
            <a:r>
              <a:rPr lang="en-US" sz="1600" dirty="0" smtClean="0">
                <a:solidFill>
                  <a:schemeClr val="tx2">
                    <a:lumMod val="50000"/>
                  </a:schemeClr>
                </a:solidFill>
              </a:rPr>
              <a:t>Application enablement offers three major Services: </a:t>
            </a:r>
          </a:p>
        </p:txBody>
      </p:sp>
      <p:sp>
        <p:nvSpPr>
          <p:cNvPr id="4" name="Title 3"/>
          <p:cNvSpPr>
            <a:spLocks noGrp="1"/>
          </p:cNvSpPr>
          <p:nvPr>
            <p:ph type="title"/>
          </p:nvPr>
        </p:nvSpPr>
        <p:spPr/>
        <p:txBody>
          <a:bodyPr/>
          <a:lstStyle/>
          <a:p>
            <a:r>
              <a:rPr lang="en-US" sz="2400" dirty="0" smtClean="0"/>
              <a:t>Application Enablement Services:</a:t>
            </a:r>
            <a:endParaRPr lang="en-US" sz="2400" dirty="0"/>
          </a:p>
        </p:txBody>
      </p:sp>
      <p:cxnSp>
        <p:nvCxnSpPr>
          <p:cNvPr id="5" name="Straight Connector 4"/>
          <p:cNvCxnSpPr/>
          <p:nvPr/>
        </p:nvCxnSpPr>
        <p:spPr>
          <a:xfrm>
            <a:off x="947738" y="2514600"/>
            <a:ext cx="7162800" cy="0"/>
          </a:xfrm>
          <a:prstGeom prst="line">
            <a:avLst/>
          </a:prstGeom>
          <a:ln w="50800">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947738" y="2514600"/>
            <a:ext cx="0" cy="1371600"/>
          </a:xfrm>
          <a:prstGeom prst="line">
            <a:avLst/>
          </a:prstGeom>
          <a:ln w="44450">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300538" y="2514600"/>
            <a:ext cx="0" cy="2209800"/>
          </a:xfrm>
          <a:prstGeom prst="line">
            <a:avLst/>
          </a:prstGeom>
          <a:ln w="44450">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8089202" y="2514600"/>
            <a:ext cx="21336" cy="1600200"/>
          </a:xfrm>
          <a:prstGeom prst="line">
            <a:avLst/>
          </a:prstGeom>
          <a:ln w="44450">
            <a:solidFill>
              <a:srgbClr val="0070C0"/>
            </a:solidFill>
            <a:prstDash val="solid"/>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152400" y="3886200"/>
            <a:ext cx="1590675" cy="1600200"/>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API</a:t>
            </a:r>
          </a:p>
        </p:txBody>
      </p:sp>
      <p:sp>
        <p:nvSpPr>
          <p:cNvPr id="51" name="Oval 50"/>
          <p:cNvSpPr/>
          <p:nvPr/>
        </p:nvSpPr>
        <p:spPr>
          <a:xfrm>
            <a:off x="3467100" y="4724400"/>
            <a:ext cx="1666875" cy="1524000"/>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UI</a:t>
            </a:r>
          </a:p>
          <a:p>
            <a:pPr algn="ctr"/>
            <a:r>
              <a:rPr lang="en-US" sz="1400" dirty="0" smtClean="0">
                <a:solidFill>
                  <a:schemeClr val="tx2">
                    <a:lumMod val="50000"/>
                  </a:schemeClr>
                </a:solidFill>
              </a:rPr>
              <a:t>Applications</a:t>
            </a:r>
          </a:p>
        </p:txBody>
      </p:sp>
      <p:sp>
        <p:nvSpPr>
          <p:cNvPr id="52" name="Oval 51"/>
          <p:cNvSpPr/>
          <p:nvPr/>
        </p:nvSpPr>
        <p:spPr>
          <a:xfrm>
            <a:off x="7232714" y="4114800"/>
            <a:ext cx="1828440" cy="144780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solidFill>
                  <a:schemeClr val="tx2">
                    <a:lumMod val="50000"/>
                  </a:schemeClr>
                </a:solidFill>
              </a:rPr>
              <a:t>IoT</a:t>
            </a:r>
            <a:r>
              <a:rPr lang="en-US" sz="1400" dirty="0" smtClean="0">
                <a:solidFill>
                  <a:schemeClr val="tx2">
                    <a:lumMod val="50000"/>
                  </a:schemeClr>
                </a:solidFill>
              </a:rPr>
              <a:t> App for SAP WEB IDE</a:t>
            </a:r>
          </a:p>
        </p:txBody>
      </p:sp>
      <p:sp>
        <p:nvSpPr>
          <p:cNvPr id="12" name="Cloud Callout 11"/>
          <p:cNvSpPr/>
          <p:nvPr/>
        </p:nvSpPr>
        <p:spPr>
          <a:xfrm>
            <a:off x="1252538" y="2667000"/>
            <a:ext cx="2752345" cy="1752600"/>
          </a:xfrm>
          <a:prstGeom prst="cloudCallout">
            <a:avLst>
              <a:gd name="adj1" fmla="val -47918"/>
              <a:gd name="adj2" fmla="val 67071"/>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To Setup, configure, populate, maintain and store </a:t>
            </a:r>
            <a:r>
              <a:rPr lang="en-US" sz="1200" dirty="0" err="1" smtClean="0">
                <a:solidFill>
                  <a:schemeClr val="tx2">
                    <a:lumMod val="50000"/>
                  </a:schemeClr>
                </a:solidFill>
              </a:rPr>
              <a:t>IoT</a:t>
            </a:r>
            <a:r>
              <a:rPr lang="en-US" sz="1200" dirty="0" smtClean="0">
                <a:solidFill>
                  <a:schemeClr val="tx2">
                    <a:lumMod val="50000"/>
                  </a:schemeClr>
                </a:solidFill>
              </a:rPr>
              <a:t>, Big data as well as authorization access and event management </a:t>
            </a:r>
          </a:p>
        </p:txBody>
      </p:sp>
      <p:sp>
        <p:nvSpPr>
          <p:cNvPr id="53" name="Cloud Callout 52"/>
          <p:cNvSpPr/>
          <p:nvPr/>
        </p:nvSpPr>
        <p:spPr>
          <a:xfrm>
            <a:off x="4395027" y="2819400"/>
            <a:ext cx="2766059" cy="1790175"/>
          </a:xfrm>
          <a:prstGeom prst="cloudCallout">
            <a:avLst>
              <a:gd name="adj1" fmla="val -47918"/>
              <a:gd name="adj2" fmla="val 67071"/>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cts as a front end to much of the functionality delivered via the APIs, including thing modeling, authorization, and business partner relationships</a:t>
            </a:r>
            <a:endParaRPr lang="en-US" sz="1100" dirty="0" smtClean="0">
              <a:solidFill>
                <a:schemeClr val="tx1"/>
              </a:solidFill>
            </a:endParaRPr>
          </a:p>
        </p:txBody>
      </p:sp>
      <p:sp>
        <p:nvSpPr>
          <p:cNvPr id="54" name="Cloud Callout 53"/>
          <p:cNvSpPr/>
          <p:nvPr/>
        </p:nvSpPr>
        <p:spPr>
          <a:xfrm>
            <a:off x="7467600" y="2604665"/>
            <a:ext cx="2362201" cy="1357735"/>
          </a:xfrm>
          <a:prstGeom prst="cloudCallout">
            <a:avLst>
              <a:gd name="adj1" fmla="val -47918"/>
              <a:gd name="adj2" fmla="val 67071"/>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To rapidly prototype </a:t>
            </a:r>
            <a:r>
              <a:rPr lang="en-US" sz="1100" dirty="0" err="1">
                <a:solidFill>
                  <a:schemeClr val="tx1"/>
                </a:solidFill>
              </a:rPr>
              <a:t>IoT</a:t>
            </a:r>
            <a:r>
              <a:rPr lang="en-US" sz="1100" dirty="0">
                <a:solidFill>
                  <a:schemeClr val="tx1"/>
                </a:solidFill>
              </a:rPr>
              <a:t> applications that can be easily extended from the generated source code.</a:t>
            </a:r>
            <a:endParaRPr lang="en-US" sz="1100" dirty="0" smtClean="0">
              <a:solidFill>
                <a:schemeClr val="tx1"/>
              </a:solidFill>
            </a:endParaRPr>
          </a:p>
        </p:txBody>
      </p:sp>
    </p:spTree>
    <p:extLst>
      <p:ext uri="{BB962C8B-B14F-4D97-AF65-F5344CB8AC3E}">
        <p14:creationId xmlns:p14="http://schemas.microsoft.com/office/powerpoint/2010/main" val="18472823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1000"/>
                                        <p:tgtEl>
                                          <p:spTgt spid="53"/>
                                        </p:tgtEl>
                                      </p:cBhvr>
                                    </p:animEffect>
                                    <p:anim calcmode="lin" valueType="num">
                                      <p:cBhvr>
                                        <p:cTn id="15" dur="1000" fill="hold"/>
                                        <p:tgtEl>
                                          <p:spTgt spid="53"/>
                                        </p:tgtEl>
                                        <p:attrNameLst>
                                          <p:attrName>ppt_x</p:attrName>
                                        </p:attrNameLst>
                                      </p:cBhvr>
                                      <p:tavLst>
                                        <p:tav tm="0">
                                          <p:val>
                                            <p:strVal val="#ppt_x"/>
                                          </p:val>
                                        </p:tav>
                                        <p:tav tm="100000">
                                          <p:val>
                                            <p:strVal val="#ppt_x"/>
                                          </p:val>
                                        </p:tav>
                                      </p:tavLst>
                                    </p:anim>
                                    <p:anim calcmode="lin" valueType="num">
                                      <p:cBhvr>
                                        <p:cTn id="16"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1000"/>
                                        <p:tgtEl>
                                          <p:spTgt spid="54"/>
                                        </p:tgtEl>
                                      </p:cBhvr>
                                    </p:animEffect>
                                    <p:anim calcmode="lin" valueType="num">
                                      <p:cBhvr>
                                        <p:cTn id="22" dur="1000" fill="hold"/>
                                        <p:tgtEl>
                                          <p:spTgt spid="54"/>
                                        </p:tgtEl>
                                        <p:attrNameLst>
                                          <p:attrName>ppt_x</p:attrName>
                                        </p:attrNameLst>
                                      </p:cBhvr>
                                      <p:tavLst>
                                        <p:tav tm="0">
                                          <p:val>
                                            <p:strVal val="#ppt_x"/>
                                          </p:val>
                                        </p:tav>
                                        <p:tav tm="100000">
                                          <p:val>
                                            <p:strVal val="#ppt_x"/>
                                          </p:val>
                                        </p:tav>
                                      </p:tavLst>
                                    </p:anim>
                                    <p:anim calcmode="lin" valueType="num">
                                      <p:cBhvr>
                                        <p:cTn id="23"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53" grpId="0" animBg="1"/>
      <p:bldP spid="5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0">
            <a:extLst>
              <a:ext uri="{FF2B5EF4-FFF2-40B4-BE49-F238E27FC236}">
                <a16:creationId xmlns:a16="http://schemas.microsoft.com/office/drawing/2014/main" xmlns="" id="{8B0F37B3-0E54-49E8-B8AA-CE502F5DF1BD}"/>
              </a:ext>
            </a:extLst>
          </p:cNvPr>
          <p:cNvSpPr txBox="1">
            <a:spLocks/>
          </p:cNvSpPr>
          <p:nvPr/>
        </p:nvSpPr>
        <p:spPr>
          <a:xfrm>
            <a:off x="1683526" y="2066926"/>
            <a:ext cx="3223985" cy="335045"/>
          </a:xfrm>
          <a:prstGeom prst="rect">
            <a:avLst/>
          </a:prstGeom>
        </p:spPr>
        <p:txBody>
          <a:bodyPr/>
          <a:lst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nSpc>
                <a:spcPts val="1981"/>
              </a:lnSpc>
              <a:spcBef>
                <a:spcPts val="0"/>
              </a:spcBef>
              <a:spcAft>
                <a:spcPts val="397"/>
              </a:spcAft>
            </a:pPr>
            <a:r>
              <a:rPr lang="en-IN" sz="1717" dirty="0">
                <a:solidFill>
                  <a:srgbClr val="12ABDB"/>
                </a:solidFill>
              </a:rPr>
              <a:t>ID SAP</a:t>
            </a:r>
          </a:p>
          <a:p>
            <a:pPr>
              <a:lnSpc>
                <a:spcPts val="1981"/>
              </a:lnSpc>
              <a:spcBef>
                <a:spcPts val="0"/>
              </a:spcBef>
              <a:spcAft>
                <a:spcPts val="397"/>
              </a:spcAft>
            </a:pPr>
            <a:endParaRPr lang="en-IN" sz="1717" dirty="0">
              <a:solidFill>
                <a:srgbClr val="12ABDB"/>
              </a:solidFill>
            </a:endParaRPr>
          </a:p>
        </p:txBody>
      </p:sp>
      <p:sp>
        <p:nvSpPr>
          <p:cNvPr id="13" name="Text Placeholder 11">
            <a:extLst>
              <a:ext uri="{FF2B5EF4-FFF2-40B4-BE49-F238E27FC236}">
                <a16:creationId xmlns:a16="http://schemas.microsoft.com/office/drawing/2014/main" xmlns="" id="{BB3FE6B2-5A0C-4660-8C0E-23CBED114539}"/>
              </a:ext>
            </a:extLst>
          </p:cNvPr>
          <p:cNvSpPr txBox="1">
            <a:spLocks/>
          </p:cNvSpPr>
          <p:nvPr/>
        </p:nvSpPr>
        <p:spPr>
          <a:xfrm>
            <a:off x="1683525" y="2314576"/>
            <a:ext cx="3223985" cy="1395145"/>
          </a:xfrm>
          <a:prstGeom prst="rect">
            <a:avLst/>
          </a:prstGeom>
        </p:spPr>
        <p:txBody>
          <a:bodyPr/>
          <a:lst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nSpc>
                <a:spcPts val="1981"/>
              </a:lnSpc>
              <a:spcBef>
                <a:spcPts val="0"/>
              </a:spcBef>
              <a:spcAft>
                <a:spcPts val="397"/>
              </a:spcAft>
            </a:pPr>
            <a:r>
              <a:rPr lang="en-IN" sz="1717" dirty="0">
                <a:solidFill>
                  <a:srgbClr val="FFFFFF"/>
                </a:solidFill>
              </a:rPr>
              <a:t>SAP Leonardo</a:t>
            </a:r>
          </a:p>
        </p:txBody>
      </p:sp>
      <p:sp>
        <p:nvSpPr>
          <p:cNvPr id="14" name="Text Placeholder 11">
            <a:extLst>
              <a:ext uri="{FF2B5EF4-FFF2-40B4-BE49-F238E27FC236}">
                <a16:creationId xmlns:a16="http://schemas.microsoft.com/office/drawing/2014/main" xmlns="" id="{F0C6AF37-B41B-46A9-B2E0-853962CC23DD}"/>
              </a:ext>
            </a:extLst>
          </p:cNvPr>
          <p:cNvSpPr txBox="1">
            <a:spLocks/>
          </p:cNvSpPr>
          <p:nvPr/>
        </p:nvSpPr>
        <p:spPr>
          <a:xfrm>
            <a:off x="4638902" y="3243264"/>
            <a:ext cx="3223985" cy="1395145"/>
          </a:xfrm>
          <a:prstGeom prst="rect">
            <a:avLst/>
          </a:prstGeom>
        </p:spPr>
        <p:txBody>
          <a:bodyPr/>
          <a:lst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r>
              <a:rPr lang="en-IN" sz="3250" dirty="0">
                <a:solidFill>
                  <a:prstClr val="black"/>
                </a:solidFill>
              </a:rPr>
              <a:t>Thank you</a:t>
            </a:r>
          </a:p>
        </p:txBody>
      </p:sp>
    </p:spTree>
    <p:extLst>
      <p:ext uri="{BB962C8B-B14F-4D97-AF65-F5344CB8AC3E}">
        <p14:creationId xmlns:p14="http://schemas.microsoft.com/office/powerpoint/2010/main" val="563169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04813"/>
            <a:ext cx="8950325" cy="863600"/>
          </a:xfrm>
        </p:spPr>
        <p:txBody>
          <a:bodyPr/>
          <a:lstStyle/>
          <a:p>
            <a:r>
              <a:rPr lang="en-US" sz="2400" dirty="0" smtClean="0"/>
              <a:t>What is </a:t>
            </a:r>
            <a:r>
              <a:rPr lang="en-US" sz="2400" dirty="0" err="1" smtClean="0"/>
              <a:t>IoT</a:t>
            </a:r>
            <a:r>
              <a:rPr lang="en-US" sz="2400" dirty="0" smtClean="0"/>
              <a:t>..?</a:t>
            </a:r>
            <a:endParaRPr lang="en-US" sz="2400" dirty="0"/>
          </a:p>
        </p:txBody>
      </p:sp>
      <p:sp>
        <p:nvSpPr>
          <p:cNvPr id="3" name="TextBox 2"/>
          <p:cNvSpPr txBox="1"/>
          <p:nvPr/>
        </p:nvSpPr>
        <p:spPr>
          <a:xfrm>
            <a:off x="419101" y="1676400"/>
            <a:ext cx="9067800" cy="1524007"/>
          </a:xfrm>
          <a:prstGeom prst="rect">
            <a:avLst/>
          </a:prstGeom>
          <a:noFill/>
        </p:spPr>
        <p:txBody>
          <a:bodyPr wrap="square" rtlCol="0">
            <a:spAutoFit/>
          </a:bodyPr>
          <a:lstStyle/>
          <a:p>
            <a:pPr marL="285750" indent="-285750" algn="just">
              <a:lnSpc>
                <a:spcPct val="150000"/>
              </a:lnSpc>
              <a:buFont typeface="Arial" panose="020B0604020202020204" pitchFamily="34" charset="0"/>
              <a:buChar char="•"/>
            </a:pPr>
            <a:r>
              <a:rPr lang="en-US" sz="1600" dirty="0"/>
              <a:t>Internet of Things (</a:t>
            </a:r>
            <a:r>
              <a:rPr lang="en-US" sz="1600" dirty="0" err="1"/>
              <a:t>IoT</a:t>
            </a:r>
            <a:r>
              <a:rPr lang="en-US" sz="1600" dirty="0"/>
              <a:t>) is a network of devices which can sense, accumulate and transfer data over the internet without any human intervention</a:t>
            </a:r>
            <a:r>
              <a:rPr lang="en-US" sz="1600" dirty="0" smtClean="0"/>
              <a:t>.</a:t>
            </a:r>
          </a:p>
          <a:p>
            <a:pPr marL="285750" indent="-285750" algn="just">
              <a:lnSpc>
                <a:spcPct val="150000"/>
              </a:lnSpc>
              <a:buFont typeface="Arial" panose="020B0604020202020204" pitchFamily="34" charset="0"/>
              <a:buChar char="•"/>
            </a:pPr>
            <a:endParaRPr lang="en-US" sz="1600" i="1" dirty="0">
              <a:solidFill>
                <a:schemeClr val="tx2">
                  <a:lumMod val="50000"/>
                </a:schemeClr>
              </a:solidFill>
            </a:endParaRPr>
          </a:p>
          <a:p>
            <a:pPr marL="285750" indent="-285750" algn="just">
              <a:lnSpc>
                <a:spcPct val="150000"/>
              </a:lnSpc>
              <a:buFont typeface="Arial" panose="020B0604020202020204" pitchFamily="34" charset="0"/>
              <a:buChar char="•"/>
            </a:pPr>
            <a:endParaRPr lang="en-US" sz="1600" dirty="0" smtClean="0">
              <a:solidFill>
                <a:schemeClr val="tx2">
                  <a:lumMod val="50000"/>
                </a:schemeClr>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0" y="2590800"/>
            <a:ext cx="4648200" cy="320532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404813"/>
            <a:ext cx="8950325" cy="863600"/>
          </a:xfrm>
        </p:spPr>
        <p:txBody>
          <a:bodyPr/>
          <a:lstStyle/>
          <a:p>
            <a:r>
              <a:rPr lang="en-US" sz="2400" dirty="0" err="1" smtClean="0"/>
              <a:t>IoT</a:t>
            </a:r>
            <a:r>
              <a:rPr lang="en-US" sz="2400" dirty="0" smtClean="0"/>
              <a:t> Applications:</a:t>
            </a:r>
            <a:endParaRPr lang="en-US" sz="2400" dirty="0"/>
          </a:p>
        </p:txBody>
      </p:sp>
      <p:pic>
        <p:nvPicPr>
          <p:cNvPr id="5" name="Picture 4"/>
          <p:cNvPicPr>
            <a:picLocks noChangeAspect="1"/>
          </p:cNvPicPr>
          <p:nvPr/>
        </p:nvPicPr>
        <p:blipFill>
          <a:blip r:embed="rId2"/>
          <a:stretch>
            <a:fillRect/>
          </a:stretch>
        </p:blipFill>
        <p:spPr>
          <a:xfrm>
            <a:off x="685800" y="1371600"/>
            <a:ext cx="7643812" cy="4672457"/>
          </a:xfrm>
          <a:prstGeom prst="rect">
            <a:avLst/>
          </a:prstGeom>
        </p:spPr>
      </p:pic>
    </p:spTree>
    <p:extLst>
      <p:ext uri="{BB962C8B-B14F-4D97-AF65-F5344CB8AC3E}">
        <p14:creationId xmlns:p14="http://schemas.microsoft.com/office/powerpoint/2010/main" val="428057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04813"/>
            <a:ext cx="8950325" cy="863600"/>
          </a:xfrm>
        </p:spPr>
        <p:txBody>
          <a:bodyPr/>
          <a:lstStyle/>
          <a:p>
            <a:r>
              <a:rPr lang="en-US" sz="2400" dirty="0" smtClean="0"/>
              <a:t>Why do we need </a:t>
            </a:r>
            <a:r>
              <a:rPr lang="en-US" sz="2400" dirty="0" err="1" smtClean="0"/>
              <a:t>IoT</a:t>
            </a:r>
            <a:r>
              <a:rPr lang="en-US" sz="2400" dirty="0" smtClean="0"/>
              <a:t>..?</a:t>
            </a:r>
            <a:endParaRPr lang="en-US" sz="2400" dirty="0"/>
          </a:p>
        </p:txBody>
      </p:sp>
      <p:sp>
        <p:nvSpPr>
          <p:cNvPr id="3" name="TextBox 2"/>
          <p:cNvSpPr txBox="1"/>
          <p:nvPr/>
        </p:nvSpPr>
        <p:spPr>
          <a:xfrm>
            <a:off x="419101" y="1510198"/>
            <a:ext cx="9067800" cy="2123658"/>
          </a:xfrm>
          <a:prstGeom prst="rect">
            <a:avLst/>
          </a:prstGeom>
          <a:noFill/>
        </p:spPr>
        <p:txBody>
          <a:bodyPr wrap="square" rtlCol="0">
            <a:spAutoFit/>
          </a:bodyPr>
          <a:lstStyle/>
          <a:p>
            <a:pPr algn="just">
              <a:lnSpc>
                <a:spcPct val="150000"/>
              </a:lnSpc>
            </a:pPr>
            <a:r>
              <a:rPr lang="en-US" sz="1400" dirty="0" smtClean="0"/>
              <a:t>Let’s look at an example, The patient is at constant life-support at home where his health-status is being checked to a health monitoring system present on the cloud, Suppose If there is some irregularity in heart beat the system on the cloud is connected to a hospital. So based on his condition the hospital authorities enable to dispatch an ambulance immediately.</a:t>
            </a:r>
          </a:p>
          <a:p>
            <a:pPr marL="285750" indent="-285750" algn="just">
              <a:lnSpc>
                <a:spcPct val="150000"/>
              </a:lnSpc>
              <a:buFont typeface="Arial" panose="020B0604020202020204" pitchFamily="34" charset="0"/>
              <a:buChar char="•"/>
            </a:pPr>
            <a:endParaRPr lang="en-US" sz="1600" i="1" dirty="0">
              <a:solidFill>
                <a:schemeClr val="tx2">
                  <a:lumMod val="50000"/>
                </a:schemeClr>
              </a:solidFill>
            </a:endParaRPr>
          </a:p>
          <a:p>
            <a:pPr marL="285750" indent="-285750" algn="just">
              <a:lnSpc>
                <a:spcPct val="150000"/>
              </a:lnSpc>
              <a:buFont typeface="Arial" panose="020B0604020202020204" pitchFamily="34" charset="0"/>
              <a:buChar char="•"/>
            </a:pPr>
            <a:endParaRPr lang="en-US" sz="1600" dirty="0" smtClean="0">
              <a:solidFill>
                <a:schemeClr val="tx2">
                  <a:lumMod val="50000"/>
                </a:schemeClr>
              </a:solidFill>
            </a:endParaRPr>
          </a:p>
        </p:txBody>
      </p:sp>
      <p:pic>
        <p:nvPicPr>
          <p:cNvPr id="4" name="Picture 3"/>
          <p:cNvPicPr>
            <a:picLocks noChangeAspect="1"/>
          </p:cNvPicPr>
          <p:nvPr/>
        </p:nvPicPr>
        <p:blipFill>
          <a:blip r:embed="rId2"/>
          <a:stretch>
            <a:fillRect/>
          </a:stretch>
        </p:blipFill>
        <p:spPr>
          <a:xfrm>
            <a:off x="838200" y="4267200"/>
            <a:ext cx="1790700" cy="1695450"/>
          </a:xfrm>
          <a:prstGeom prst="rect">
            <a:avLst/>
          </a:prstGeom>
        </p:spPr>
      </p:pic>
      <p:pic>
        <p:nvPicPr>
          <p:cNvPr id="5" name="Picture 4"/>
          <p:cNvPicPr>
            <a:picLocks noChangeAspect="1"/>
          </p:cNvPicPr>
          <p:nvPr/>
        </p:nvPicPr>
        <p:blipFill>
          <a:blip r:embed="rId3"/>
          <a:stretch>
            <a:fillRect/>
          </a:stretch>
        </p:blipFill>
        <p:spPr>
          <a:xfrm>
            <a:off x="4062745" y="2627897"/>
            <a:ext cx="2009775" cy="1695450"/>
          </a:xfrm>
          <a:prstGeom prst="rect">
            <a:avLst/>
          </a:prstGeom>
        </p:spPr>
      </p:pic>
      <p:sp>
        <p:nvSpPr>
          <p:cNvPr id="7" name="Oval 6"/>
          <p:cNvSpPr/>
          <p:nvPr/>
        </p:nvSpPr>
        <p:spPr>
          <a:xfrm>
            <a:off x="3617691" y="4267200"/>
            <a:ext cx="533400" cy="4572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Oval 7"/>
          <p:cNvSpPr/>
          <p:nvPr/>
        </p:nvSpPr>
        <p:spPr>
          <a:xfrm>
            <a:off x="3124200" y="4663819"/>
            <a:ext cx="228600" cy="228601"/>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7987" y="4219575"/>
            <a:ext cx="2619375" cy="1743075"/>
          </a:xfrm>
          <a:prstGeom prst="rect">
            <a:avLst/>
          </a:prstGeom>
        </p:spPr>
      </p:pic>
      <p:sp>
        <p:nvSpPr>
          <p:cNvPr id="10" name="Oval 9"/>
          <p:cNvSpPr/>
          <p:nvPr/>
        </p:nvSpPr>
        <p:spPr>
          <a:xfrm>
            <a:off x="6326886" y="3475622"/>
            <a:ext cx="533400" cy="4572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Oval 10"/>
          <p:cNvSpPr/>
          <p:nvPr/>
        </p:nvSpPr>
        <p:spPr>
          <a:xfrm>
            <a:off x="7271193" y="3818522"/>
            <a:ext cx="228600" cy="228601"/>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43156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04813"/>
            <a:ext cx="8950325" cy="863600"/>
          </a:xfrm>
        </p:spPr>
        <p:txBody>
          <a:bodyPr/>
          <a:lstStyle/>
          <a:p>
            <a:r>
              <a:rPr lang="en-US" sz="2400" dirty="0" smtClean="0"/>
              <a:t>Why do we need </a:t>
            </a:r>
            <a:r>
              <a:rPr lang="en-US" sz="2400" dirty="0" err="1" smtClean="0"/>
              <a:t>IoT</a:t>
            </a:r>
            <a:r>
              <a:rPr lang="en-US" sz="2400" dirty="0" smtClean="0"/>
              <a:t>..?</a:t>
            </a:r>
            <a:endParaRPr lang="en-US" sz="2400" dirty="0"/>
          </a:p>
        </p:txBody>
      </p:sp>
      <p:sp>
        <p:nvSpPr>
          <p:cNvPr id="6" name="TextBox 5"/>
          <p:cNvSpPr txBox="1"/>
          <p:nvPr/>
        </p:nvSpPr>
        <p:spPr>
          <a:xfrm>
            <a:off x="457200" y="1656936"/>
            <a:ext cx="6019800"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chemeClr val="tx2">
                    <a:lumMod val="50000"/>
                  </a:schemeClr>
                </a:solidFill>
              </a:rPr>
              <a:t>It increases transparency</a:t>
            </a:r>
          </a:p>
          <a:p>
            <a:pPr marL="285750" indent="-285750">
              <a:buFont typeface="Arial" panose="020B0604020202020204" pitchFamily="34" charset="0"/>
              <a:buChar char="•"/>
            </a:pPr>
            <a:r>
              <a:rPr lang="en-US" sz="1600" dirty="0" smtClean="0">
                <a:solidFill>
                  <a:schemeClr val="tx2">
                    <a:lumMod val="50000"/>
                  </a:schemeClr>
                </a:solidFill>
              </a:rPr>
              <a:t>Reduces lot of effort and time</a:t>
            </a:r>
          </a:p>
        </p:txBody>
      </p:sp>
      <p:sp>
        <p:nvSpPr>
          <p:cNvPr id="12" name="TextBox 11"/>
          <p:cNvSpPr txBox="1"/>
          <p:nvPr/>
        </p:nvSpPr>
        <p:spPr>
          <a:xfrm rot="20637270">
            <a:off x="700080" y="2812581"/>
            <a:ext cx="1526893" cy="369332"/>
          </a:xfrm>
          <a:prstGeom prst="rect">
            <a:avLst/>
          </a:prstGeom>
          <a:noFill/>
        </p:spPr>
        <p:txBody>
          <a:bodyPr wrap="none" rtlCol="0">
            <a:spAutoFit/>
          </a:bodyPr>
          <a:lstStyle/>
          <a:p>
            <a:r>
              <a:rPr lang="en-US" sz="1800" dirty="0" smtClean="0">
                <a:solidFill>
                  <a:schemeClr val="tx2">
                    <a:lumMod val="50000"/>
                  </a:schemeClr>
                </a:solidFill>
              </a:rPr>
              <a:t>EXPANDING</a:t>
            </a:r>
          </a:p>
        </p:txBody>
      </p:sp>
      <p:sp>
        <p:nvSpPr>
          <p:cNvPr id="13" name="Rectangle 12"/>
          <p:cNvSpPr/>
          <p:nvPr/>
        </p:nvSpPr>
        <p:spPr>
          <a:xfrm rot="20667704">
            <a:off x="442914" y="3209508"/>
            <a:ext cx="2514601" cy="433515"/>
          </a:xfrm>
          <a:prstGeom prst="rect">
            <a:avLst/>
          </a:prstGeom>
          <a:solidFill>
            <a:srgbClr val="FF0000">
              <a:alpha val="44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Interdependence</a:t>
            </a:r>
          </a:p>
        </p:txBody>
      </p:sp>
      <p:sp>
        <p:nvSpPr>
          <p:cNvPr id="14" name="TextBox 13"/>
          <p:cNvSpPr txBox="1"/>
          <p:nvPr/>
        </p:nvSpPr>
        <p:spPr>
          <a:xfrm rot="20753323">
            <a:off x="1055659" y="3725548"/>
            <a:ext cx="1569660" cy="369332"/>
          </a:xfrm>
          <a:prstGeom prst="rect">
            <a:avLst/>
          </a:prstGeom>
          <a:noFill/>
        </p:spPr>
        <p:txBody>
          <a:bodyPr wrap="none" rtlCol="0">
            <a:spAutoFit/>
          </a:bodyPr>
          <a:lstStyle/>
          <a:p>
            <a:r>
              <a:rPr lang="en-US" sz="1800" dirty="0" smtClean="0">
                <a:solidFill>
                  <a:schemeClr val="tx2">
                    <a:lumMod val="50000"/>
                  </a:schemeClr>
                </a:solidFill>
              </a:rPr>
              <a:t>OF HUMANS</a:t>
            </a:r>
          </a:p>
        </p:txBody>
      </p:sp>
      <p:sp>
        <p:nvSpPr>
          <p:cNvPr id="15" name="TextBox 14"/>
          <p:cNvSpPr txBox="1"/>
          <p:nvPr/>
        </p:nvSpPr>
        <p:spPr>
          <a:xfrm>
            <a:off x="4640426" y="3895569"/>
            <a:ext cx="1082348" cy="307777"/>
          </a:xfrm>
          <a:prstGeom prst="rect">
            <a:avLst/>
          </a:prstGeom>
          <a:noFill/>
        </p:spPr>
        <p:txBody>
          <a:bodyPr wrap="none" rtlCol="0">
            <a:spAutoFit/>
          </a:bodyPr>
          <a:lstStyle/>
          <a:p>
            <a:r>
              <a:rPr lang="en-US" sz="1400" dirty="0" smtClean="0">
                <a:solidFill>
                  <a:schemeClr val="tx2">
                    <a:lumMod val="50000"/>
                  </a:schemeClr>
                </a:solidFill>
              </a:rPr>
              <a:t>INTERACT</a:t>
            </a:r>
          </a:p>
        </p:txBody>
      </p:sp>
      <p:sp>
        <p:nvSpPr>
          <p:cNvPr id="16" name="Rectangle 15"/>
          <p:cNvSpPr/>
          <p:nvPr/>
        </p:nvSpPr>
        <p:spPr>
          <a:xfrm>
            <a:off x="4419600" y="3806324"/>
            <a:ext cx="1524000" cy="460526"/>
          </a:xfrm>
          <a:prstGeom prst="rect">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Rectangle 16"/>
          <p:cNvSpPr/>
          <p:nvPr/>
        </p:nvSpPr>
        <p:spPr>
          <a:xfrm>
            <a:off x="4267200" y="4364072"/>
            <a:ext cx="1905000" cy="512728"/>
          </a:xfrm>
          <a:prstGeom prst="rect">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Rectangle 17"/>
          <p:cNvSpPr/>
          <p:nvPr/>
        </p:nvSpPr>
        <p:spPr>
          <a:xfrm>
            <a:off x="4114800" y="5029200"/>
            <a:ext cx="2286000" cy="533400"/>
          </a:xfrm>
          <a:prstGeom prst="rect">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TextBox 18"/>
          <p:cNvSpPr txBox="1"/>
          <p:nvPr/>
        </p:nvSpPr>
        <p:spPr>
          <a:xfrm>
            <a:off x="4494610" y="4445169"/>
            <a:ext cx="1526380" cy="338554"/>
          </a:xfrm>
          <a:prstGeom prst="rect">
            <a:avLst/>
          </a:prstGeom>
          <a:noFill/>
        </p:spPr>
        <p:txBody>
          <a:bodyPr wrap="none" rtlCol="0">
            <a:spAutoFit/>
          </a:bodyPr>
          <a:lstStyle/>
          <a:p>
            <a:r>
              <a:rPr lang="en-US" sz="1600" b="1" dirty="0" smtClean="0">
                <a:solidFill>
                  <a:srgbClr val="0070C0"/>
                </a:solidFill>
              </a:rPr>
              <a:t>CONTRIBUTE</a:t>
            </a:r>
          </a:p>
        </p:txBody>
      </p:sp>
      <p:sp>
        <p:nvSpPr>
          <p:cNvPr id="20" name="TextBox 19"/>
          <p:cNvSpPr txBox="1"/>
          <p:nvPr/>
        </p:nvSpPr>
        <p:spPr>
          <a:xfrm>
            <a:off x="4350327" y="5126623"/>
            <a:ext cx="1738746" cy="338554"/>
          </a:xfrm>
          <a:prstGeom prst="rect">
            <a:avLst/>
          </a:prstGeom>
          <a:noFill/>
        </p:spPr>
        <p:txBody>
          <a:bodyPr wrap="none" rtlCol="0">
            <a:spAutoFit/>
          </a:bodyPr>
          <a:lstStyle/>
          <a:p>
            <a:r>
              <a:rPr lang="en-US" sz="1600" b="1" dirty="0" smtClean="0">
                <a:solidFill>
                  <a:srgbClr val="C00000"/>
                </a:solidFill>
              </a:rPr>
              <a:t>COLLABORATE</a:t>
            </a:r>
          </a:p>
        </p:txBody>
      </p:sp>
      <p:sp>
        <p:nvSpPr>
          <p:cNvPr id="21" name="TextBox 20"/>
          <p:cNvSpPr txBox="1"/>
          <p:nvPr/>
        </p:nvSpPr>
        <p:spPr>
          <a:xfrm>
            <a:off x="3559435" y="3939450"/>
            <a:ext cx="333746" cy="307777"/>
          </a:xfrm>
          <a:prstGeom prst="rect">
            <a:avLst/>
          </a:prstGeom>
          <a:noFill/>
        </p:spPr>
        <p:txBody>
          <a:bodyPr wrap="none" rtlCol="0">
            <a:spAutoFit/>
          </a:bodyPr>
          <a:lstStyle/>
          <a:p>
            <a:r>
              <a:rPr lang="en-US" sz="1400" i="1" dirty="0" smtClean="0">
                <a:solidFill>
                  <a:schemeClr val="tx2">
                    <a:lumMod val="50000"/>
                  </a:schemeClr>
                </a:solidFill>
              </a:rPr>
              <a:t>to</a:t>
            </a:r>
          </a:p>
        </p:txBody>
      </p:sp>
      <p:sp>
        <p:nvSpPr>
          <p:cNvPr id="22" name="TextBox 21"/>
          <p:cNvSpPr txBox="1"/>
          <p:nvPr/>
        </p:nvSpPr>
        <p:spPr>
          <a:xfrm>
            <a:off x="3467100" y="5142011"/>
            <a:ext cx="304892" cy="307777"/>
          </a:xfrm>
          <a:prstGeom prst="rect">
            <a:avLst/>
          </a:prstGeom>
          <a:noFill/>
        </p:spPr>
        <p:txBody>
          <a:bodyPr wrap="none" rtlCol="0">
            <a:spAutoFit/>
          </a:bodyPr>
          <a:lstStyle/>
          <a:p>
            <a:r>
              <a:rPr lang="en-US" sz="1400" dirty="0" smtClean="0">
                <a:solidFill>
                  <a:schemeClr val="tx2">
                    <a:lumMod val="50000"/>
                  </a:schemeClr>
                </a:solidFill>
              </a:rPr>
              <a:t>&amp;</a:t>
            </a:r>
          </a:p>
        </p:txBody>
      </p:sp>
      <p:sp>
        <p:nvSpPr>
          <p:cNvPr id="23" name="TextBox 22"/>
          <p:cNvSpPr txBox="1"/>
          <p:nvPr/>
        </p:nvSpPr>
        <p:spPr>
          <a:xfrm>
            <a:off x="7924800" y="5414623"/>
            <a:ext cx="1437253" cy="369332"/>
          </a:xfrm>
          <a:prstGeom prst="rect">
            <a:avLst/>
          </a:prstGeom>
          <a:noFill/>
        </p:spPr>
        <p:txBody>
          <a:bodyPr wrap="none" rtlCol="0">
            <a:spAutoFit/>
          </a:bodyPr>
          <a:lstStyle/>
          <a:p>
            <a:r>
              <a:rPr lang="en-US" sz="1800" b="1" dirty="0" smtClean="0">
                <a:solidFill>
                  <a:schemeClr val="tx2">
                    <a:lumMod val="50000"/>
                  </a:schemeClr>
                </a:solidFill>
              </a:rPr>
              <a:t>TO THINGS</a:t>
            </a:r>
          </a:p>
        </p:txBody>
      </p:sp>
    </p:spTree>
    <p:extLst>
      <p:ext uri="{BB962C8B-B14F-4D97-AF65-F5344CB8AC3E}">
        <p14:creationId xmlns:p14="http://schemas.microsoft.com/office/powerpoint/2010/main" val="146996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04813"/>
            <a:ext cx="8950325" cy="863600"/>
          </a:xfrm>
        </p:spPr>
        <p:txBody>
          <a:bodyPr/>
          <a:lstStyle/>
          <a:p>
            <a:r>
              <a:rPr lang="en-US" sz="2400" dirty="0" smtClean="0"/>
              <a:t>Benefits of </a:t>
            </a:r>
            <a:r>
              <a:rPr lang="en-US" sz="2400" dirty="0" err="1" smtClean="0"/>
              <a:t>IoT</a:t>
            </a:r>
            <a:endParaRPr lang="en-US" sz="2400" dirty="0"/>
          </a:p>
        </p:txBody>
      </p:sp>
      <p:sp>
        <p:nvSpPr>
          <p:cNvPr id="4" name="TextBox 3"/>
          <p:cNvSpPr txBox="1"/>
          <p:nvPr/>
        </p:nvSpPr>
        <p:spPr>
          <a:xfrm>
            <a:off x="533400" y="1828800"/>
            <a:ext cx="6705600" cy="3908762"/>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1600" dirty="0" smtClean="0">
                <a:solidFill>
                  <a:schemeClr val="tx2">
                    <a:lumMod val="50000"/>
                  </a:schemeClr>
                </a:solidFill>
              </a:rPr>
              <a:t>Efficient “RESOURCE UTILIZATION”</a:t>
            </a:r>
          </a:p>
          <a:p>
            <a:pPr marL="285750" indent="-285750">
              <a:lnSpc>
                <a:spcPct val="200000"/>
              </a:lnSpc>
              <a:buFont typeface="Arial" panose="020B0604020202020204" pitchFamily="34" charset="0"/>
              <a:buChar char="•"/>
            </a:pPr>
            <a:r>
              <a:rPr lang="en-US" sz="1600" dirty="0" smtClean="0">
                <a:solidFill>
                  <a:schemeClr val="tx2">
                    <a:lumMod val="50000"/>
                  </a:schemeClr>
                </a:solidFill>
              </a:rPr>
              <a:t>Minimizing Human Effort</a:t>
            </a:r>
          </a:p>
          <a:p>
            <a:pPr marL="285750" indent="-285750">
              <a:lnSpc>
                <a:spcPct val="200000"/>
              </a:lnSpc>
              <a:buFont typeface="Arial" panose="020B0604020202020204" pitchFamily="34" charset="0"/>
              <a:buChar char="•"/>
            </a:pPr>
            <a:r>
              <a:rPr lang="en-US" sz="1600" dirty="0" smtClean="0">
                <a:solidFill>
                  <a:schemeClr val="tx2">
                    <a:lumMod val="50000"/>
                  </a:schemeClr>
                </a:solidFill>
              </a:rPr>
              <a:t>Saves Time</a:t>
            </a:r>
          </a:p>
          <a:p>
            <a:pPr marL="285750" indent="-285750">
              <a:lnSpc>
                <a:spcPct val="200000"/>
              </a:lnSpc>
              <a:buFont typeface="Arial" panose="020B0604020202020204" pitchFamily="34" charset="0"/>
              <a:buChar char="•"/>
            </a:pPr>
            <a:r>
              <a:rPr lang="en-US" sz="1600" dirty="0" smtClean="0">
                <a:solidFill>
                  <a:schemeClr val="tx2">
                    <a:lumMod val="50000"/>
                  </a:schemeClr>
                </a:solidFill>
              </a:rPr>
              <a:t>Development of AI through </a:t>
            </a:r>
            <a:r>
              <a:rPr lang="en-US" sz="1600" dirty="0" err="1" smtClean="0">
                <a:solidFill>
                  <a:schemeClr val="tx2">
                    <a:lumMod val="50000"/>
                  </a:schemeClr>
                </a:solidFill>
              </a:rPr>
              <a:t>IoT</a:t>
            </a:r>
            <a:endParaRPr lang="en-US" sz="1600" dirty="0" smtClean="0">
              <a:solidFill>
                <a:schemeClr val="tx2">
                  <a:lumMod val="50000"/>
                </a:schemeClr>
              </a:solidFill>
            </a:endParaRPr>
          </a:p>
          <a:p>
            <a:pPr marL="285750" indent="-285750">
              <a:lnSpc>
                <a:spcPct val="200000"/>
              </a:lnSpc>
              <a:buFont typeface="Arial" panose="020B0604020202020204" pitchFamily="34" charset="0"/>
              <a:buChar char="•"/>
            </a:pPr>
            <a:r>
              <a:rPr lang="en-US" sz="1600" dirty="0" smtClean="0">
                <a:solidFill>
                  <a:schemeClr val="tx2">
                    <a:lumMod val="50000"/>
                  </a:schemeClr>
                </a:solidFill>
              </a:rPr>
              <a:t>Improvement of security</a:t>
            </a:r>
          </a:p>
          <a:p>
            <a:pPr marL="285750" indent="-285750">
              <a:lnSpc>
                <a:spcPct val="200000"/>
              </a:lnSpc>
              <a:buFont typeface="Arial" panose="020B0604020202020204" pitchFamily="34" charset="0"/>
              <a:buChar char="•"/>
            </a:pPr>
            <a:r>
              <a:rPr lang="en-US" sz="1600" dirty="0" smtClean="0">
                <a:solidFill>
                  <a:schemeClr val="tx2">
                    <a:lumMod val="50000"/>
                  </a:schemeClr>
                </a:solidFill>
              </a:rPr>
              <a:t>Increases transparency</a:t>
            </a:r>
          </a:p>
          <a:p>
            <a:pPr>
              <a:lnSpc>
                <a:spcPct val="200000"/>
              </a:lnSpc>
            </a:pPr>
            <a:endParaRPr lang="en-US" sz="1400" dirty="0" smtClean="0">
              <a:solidFill>
                <a:schemeClr val="tx2">
                  <a:lumMod val="50000"/>
                </a:schemeClr>
              </a:solidFill>
            </a:endParaRPr>
          </a:p>
          <a:p>
            <a:pPr>
              <a:lnSpc>
                <a:spcPct val="200000"/>
              </a:lnSpc>
            </a:pPr>
            <a:endParaRPr lang="en-US" sz="1400" dirty="0" err="1" smtClean="0">
              <a:solidFill>
                <a:schemeClr val="tx2">
                  <a:lumMod val="50000"/>
                </a:schemeClr>
              </a:solidFill>
            </a:endParaRPr>
          </a:p>
        </p:txBody>
      </p:sp>
    </p:spTree>
    <p:extLst>
      <p:ext uri="{BB962C8B-B14F-4D97-AF65-F5344CB8AC3E}">
        <p14:creationId xmlns:p14="http://schemas.microsoft.com/office/powerpoint/2010/main" val="645720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404813"/>
            <a:ext cx="8950325" cy="863600"/>
          </a:xfrm>
        </p:spPr>
        <p:txBody>
          <a:bodyPr/>
          <a:lstStyle/>
          <a:p>
            <a:r>
              <a:rPr lang="en-US" sz="2400" dirty="0" err="1" smtClean="0"/>
              <a:t>IoT</a:t>
            </a:r>
            <a:r>
              <a:rPr lang="en-US" sz="2400" dirty="0" smtClean="0"/>
              <a:t> Features…</a:t>
            </a:r>
            <a:endParaRPr lang="en-US" sz="2400" dirty="0"/>
          </a:p>
        </p:txBody>
      </p:sp>
      <p:sp>
        <p:nvSpPr>
          <p:cNvPr id="2" name="Rectangle 1"/>
          <p:cNvSpPr/>
          <p:nvPr/>
        </p:nvSpPr>
        <p:spPr>
          <a:xfrm>
            <a:off x="533400" y="2057400"/>
            <a:ext cx="3124200" cy="3657600"/>
          </a:xfrm>
          <a:prstGeom prst="rect">
            <a:avLst/>
          </a:prstGeom>
          <a:solidFill>
            <a:srgbClr val="00B0F0">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 name="Rectangle 4"/>
          <p:cNvSpPr/>
          <p:nvPr/>
        </p:nvSpPr>
        <p:spPr>
          <a:xfrm>
            <a:off x="838200" y="2362200"/>
            <a:ext cx="2362200" cy="609600"/>
          </a:xfrm>
          <a:prstGeom prst="rect">
            <a:avLst/>
          </a:prstGeom>
          <a:solidFill>
            <a:schemeClr val="bg1"/>
          </a:solid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smtClean="0">
                <a:solidFill>
                  <a:srgbClr val="C00000"/>
                </a:solidFill>
              </a:rPr>
              <a:t>CONNECT</a:t>
            </a:r>
          </a:p>
        </p:txBody>
      </p:sp>
      <p:sp>
        <p:nvSpPr>
          <p:cNvPr id="10" name="Rectangle 9"/>
          <p:cNvSpPr/>
          <p:nvPr/>
        </p:nvSpPr>
        <p:spPr>
          <a:xfrm>
            <a:off x="835152" y="3390900"/>
            <a:ext cx="2362200" cy="609600"/>
          </a:xfrm>
          <a:prstGeom prst="rect">
            <a:avLst/>
          </a:prstGeom>
          <a:solidFill>
            <a:schemeClr val="bg1"/>
          </a:solid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smtClean="0">
                <a:solidFill>
                  <a:srgbClr val="C00000"/>
                </a:solidFill>
              </a:rPr>
              <a:t>ANALYZE</a:t>
            </a:r>
          </a:p>
        </p:txBody>
      </p:sp>
      <p:sp>
        <p:nvSpPr>
          <p:cNvPr id="11" name="Rectangle 10"/>
          <p:cNvSpPr/>
          <p:nvPr/>
        </p:nvSpPr>
        <p:spPr>
          <a:xfrm>
            <a:off x="835152" y="4419600"/>
            <a:ext cx="2362200" cy="609600"/>
          </a:xfrm>
          <a:prstGeom prst="rect">
            <a:avLst/>
          </a:prstGeom>
          <a:solidFill>
            <a:schemeClr val="bg1"/>
          </a:solid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smtClean="0">
                <a:solidFill>
                  <a:srgbClr val="C00000"/>
                </a:solidFill>
              </a:rPr>
              <a:t>INTEGRATE</a:t>
            </a:r>
          </a:p>
        </p:txBody>
      </p:sp>
      <p:sp>
        <p:nvSpPr>
          <p:cNvPr id="12" name="Rectangle 11"/>
          <p:cNvSpPr/>
          <p:nvPr/>
        </p:nvSpPr>
        <p:spPr>
          <a:xfrm>
            <a:off x="4114800" y="2209800"/>
            <a:ext cx="5562600" cy="7620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Connect various things to the </a:t>
            </a:r>
            <a:r>
              <a:rPr lang="en-US" sz="1600" dirty="0" err="1" smtClean="0">
                <a:solidFill>
                  <a:schemeClr val="tx2">
                    <a:lumMod val="50000"/>
                  </a:schemeClr>
                </a:solidFill>
              </a:rPr>
              <a:t>IoT</a:t>
            </a:r>
            <a:r>
              <a:rPr lang="en-US" sz="1600" dirty="0" smtClean="0">
                <a:solidFill>
                  <a:schemeClr val="tx2">
                    <a:lumMod val="50000"/>
                  </a:schemeClr>
                </a:solidFill>
              </a:rPr>
              <a:t> Platform</a:t>
            </a:r>
          </a:p>
        </p:txBody>
      </p:sp>
      <p:sp>
        <p:nvSpPr>
          <p:cNvPr id="13" name="Rectangle 12"/>
          <p:cNvSpPr/>
          <p:nvPr/>
        </p:nvSpPr>
        <p:spPr>
          <a:xfrm>
            <a:off x="4114800" y="3314700"/>
            <a:ext cx="5562600" cy="7620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Analyze the data collected and use it to build Business intelligence</a:t>
            </a:r>
          </a:p>
        </p:txBody>
      </p:sp>
      <p:sp>
        <p:nvSpPr>
          <p:cNvPr id="14" name="Rectangle 13"/>
          <p:cNvSpPr/>
          <p:nvPr/>
        </p:nvSpPr>
        <p:spPr>
          <a:xfrm>
            <a:off x="4114800" y="4450737"/>
            <a:ext cx="5562600" cy="76200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Integrate various models to improve user experience</a:t>
            </a:r>
          </a:p>
        </p:txBody>
      </p:sp>
    </p:spTree>
    <p:extLst>
      <p:ext uri="{BB962C8B-B14F-4D97-AF65-F5344CB8AC3E}">
        <p14:creationId xmlns:p14="http://schemas.microsoft.com/office/powerpoint/2010/main" val="4282255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404813"/>
            <a:ext cx="8950325" cy="863600"/>
          </a:xfrm>
        </p:spPr>
        <p:txBody>
          <a:bodyPr/>
          <a:lstStyle/>
          <a:p>
            <a:r>
              <a:rPr lang="en-US" sz="2400" dirty="0" err="1" smtClean="0"/>
              <a:t>IoT</a:t>
            </a:r>
            <a:r>
              <a:rPr lang="en-US" sz="2400" dirty="0" smtClean="0"/>
              <a:t> Ecosystem</a:t>
            </a:r>
            <a:endParaRPr lang="en-US" sz="2400" dirty="0"/>
          </a:p>
        </p:txBody>
      </p:sp>
      <p:sp>
        <p:nvSpPr>
          <p:cNvPr id="6" name="Rectangle 5"/>
          <p:cNvSpPr/>
          <p:nvPr/>
        </p:nvSpPr>
        <p:spPr>
          <a:xfrm>
            <a:off x="1307592" y="5410200"/>
            <a:ext cx="2743200" cy="685800"/>
          </a:xfrm>
          <a:prstGeom prst="rect">
            <a:avLst/>
          </a:prstGeom>
          <a:solidFill>
            <a:srgbClr val="0070C0">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smtClean="0">
                <a:solidFill>
                  <a:schemeClr val="bg1"/>
                </a:solidFill>
              </a:rPr>
              <a:t>Perception Layer</a:t>
            </a:r>
          </a:p>
        </p:txBody>
      </p:sp>
      <p:sp>
        <p:nvSpPr>
          <p:cNvPr id="7" name="Rectangle 6"/>
          <p:cNvSpPr/>
          <p:nvPr/>
        </p:nvSpPr>
        <p:spPr>
          <a:xfrm>
            <a:off x="1307592" y="4453128"/>
            <a:ext cx="2743200" cy="685800"/>
          </a:xfrm>
          <a:prstGeom prst="rect">
            <a:avLst/>
          </a:prstGeom>
          <a:solidFill>
            <a:srgbClr val="00B05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smtClean="0">
                <a:solidFill>
                  <a:schemeClr val="bg1"/>
                </a:solidFill>
              </a:rPr>
              <a:t>Transport Layer</a:t>
            </a:r>
          </a:p>
        </p:txBody>
      </p:sp>
      <p:sp>
        <p:nvSpPr>
          <p:cNvPr id="8" name="Rectangle 7"/>
          <p:cNvSpPr/>
          <p:nvPr/>
        </p:nvSpPr>
        <p:spPr>
          <a:xfrm>
            <a:off x="1307592" y="3496056"/>
            <a:ext cx="2743200" cy="685800"/>
          </a:xfrm>
          <a:prstGeom prst="rect">
            <a:avLst/>
          </a:prstGeom>
          <a:solidFill>
            <a:srgbClr val="FF000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smtClean="0">
                <a:solidFill>
                  <a:schemeClr val="bg1"/>
                </a:solidFill>
              </a:rPr>
              <a:t>Processing Layer</a:t>
            </a:r>
          </a:p>
        </p:txBody>
      </p:sp>
      <p:sp>
        <p:nvSpPr>
          <p:cNvPr id="11" name="Rectangle 10"/>
          <p:cNvSpPr/>
          <p:nvPr/>
        </p:nvSpPr>
        <p:spPr>
          <a:xfrm>
            <a:off x="1307592" y="2489126"/>
            <a:ext cx="2743200" cy="685800"/>
          </a:xfrm>
          <a:prstGeom prst="rect">
            <a:avLst/>
          </a:prstGeom>
          <a:solidFill>
            <a:srgbClr val="00B05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smtClean="0">
                <a:solidFill>
                  <a:schemeClr val="bg1"/>
                </a:solidFill>
              </a:rPr>
              <a:t>Application Layer</a:t>
            </a:r>
          </a:p>
        </p:txBody>
      </p:sp>
      <p:sp>
        <p:nvSpPr>
          <p:cNvPr id="12" name="Rectangle 11"/>
          <p:cNvSpPr/>
          <p:nvPr/>
        </p:nvSpPr>
        <p:spPr>
          <a:xfrm>
            <a:off x="1307592" y="1482196"/>
            <a:ext cx="2743200" cy="685800"/>
          </a:xfrm>
          <a:prstGeom prst="rect">
            <a:avLst/>
          </a:prstGeom>
          <a:solidFill>
            <a:srgbClr val="0070C0">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smtClean="0">
                <a:solidFill>
                  <a:schemeClr val="bg1"/>
                </a:solidFill>
              </a:rPr>
              <a:t>Business Layer</a:t>
            </a:r>
          </a:p>
        </p:txBody>
      </p:sp>
      <p:pic>
        <p:nvPicPr>
          <p:cNvPr id="13" name="Picture 12"/>
          <p:cNvPicPr>
            <a:picLocks noChangeAspect="1"/>
          </p:cNvPicPr>
          <p:nvPr/>
        </p:nvPicPr>
        <p:blipFill>
          <a:blip r:embed="rId2"/>
          <a:stretch>
            <a:fillRect/>
          </a:stretch>
        </p:blipFill>
        <p:spPr>
          <a:xfrm>
            <a:off x="533400" y="1482196"/>
            <a:ext cx="638175" cy="638175"/>
          </a:xfrm>
          <a:prstGeom prst="rect">
            <a:avLst/>
          </a:prstGeom>
        </p:spPr>
      </p:pic>
      <p:pic>
        <p:nvPicPr>
          <p:cNvPr id="14" name="Picture 13"/>
          <p:cNvPicPr>
            <a:picLocks noChangeAspect="1"/>
          </p:cNvPicPr>
          <p:nvPr/>
        </p:nvPicPr>
        <p:blipFill>
          <a:blip r:embed="rId3"/>
          <a:stretch>
            <a:fillRect/>
          </a:stretch>
        </p:blipFill>
        <p:spPr>
          <a:xfrm>
            <a:off x="461391" y="2428928"/>
            <a:ext cx="809625" cy="742950"/>
          </a:xfrm>
          <a:prstGeom prst="rect">
            <a:avLst/>
          </a:prstGeom>
        </p:spPr>
      </p:pic>
      <p:pic>
        <p:nvPicPr>
          <p:cNvPr id="15" name="Picture 14"/>
          <p:cNvPicPr>
            <a:picLocks noChangeAspect="1"/>
          </p:cNvPicPr>
          <p:nvPr/>
        </p:nvPicPr>
        <p:blipFill>
          <a:blip r:embed="rId4"/>
          <a:stretch>
            <a:fillRect/>
          </a:stretch>
        </p:blipFill>
        <p:spPr>
          <a:xfrm>
            <a:off x="533400" y="3448431"/>
            <a:ext cx="723900" cy="733425"/>
          </a:xfrm>
          <a:prstGeom prst="rect">
            <a:avLst/>
          </a:prstGeom>
        </p:spPr>
      </p:pic>
      <p:pic>
        <p:nvPicPr>
          <p:cNvPr id="16" name="Picture 15"/>
          <p:cNvPicPr>
            <a:picLocks noChangeAspect="1"/>
          </p:cNvPicPr>
          <p:nvPr/>
        </p:nvPicPr>
        <p:blipFill>
          <a:blip r:embed="rId5"/>
          <a:stretch>
            <a:fillRect/>
          </a:stretch>
        </p:blipFill>
        <p:spPr>
          <a:xfrm>
            <a:off x="551878" y="4468368"/>
            <a:ext cx="628650" cy="533400"/>
          </a:xfrm>
          <a:prstGeom prst="rect">
            <a:avLst/>
          </a:prstGeom>
        </p:spPr>
      </p:pic>
      <p:pic>
        <p:nvPicPr>
          <p:cNvPr id="17" name="Picture 16"/>
          <p:cNvPicPr>
            <a:picLocks noChangeAspect="1"/>
          </p:cNvPicPr>
          <p:nvPr/>
        </p:nvPicPr>
        <p:blipFill>
          <a:blip r:embed="rId6"/>
          <a:stretch>
            <a:fillRect/>
          </a:stretch>
        </p:blipFill>
        <p:spPr>
          <a:xfrm>
            <a:off x="580453" y="5467350"/>
            <a:ext cx="571500" cy="571500"/>
          </a:xfrm>
          <a:prstGeom prst="rect">
            <a:avLst/>
          </a:prstGeom>
        </p:spPr>
      </p:pic>
      <p:sp>
        <p:nvSpPr>
          <p:cNvPr id="18" name="Isosceles Triangle 17"/>
          <p:cNvSpPr/>
          <p:nvPr/>
        </p:nvSpPr>
        <p:spPr>
          <a:xfrm rot="5400000">
            <a:off x="4105656" y="1415140"/>
            <a:ext cx="685800" cy="826008"/>
          </a:xfrm>
          <a:prstGeom prst="triangle">
            <a:avLst>
              <a:gd name="adj" fmla="val 5202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Isosceles Triangle 18"/>
          <p:cNvSpPr/>
          <p:nvPr/>
        </p:nvSpPr>
        <p:spPr>
          <a:xfrm rot="5400000">
            <a:off x="4120896" y="2394203"/>
            <a:ext cx="685800" cy="826008"/>
          </a:xfrm>
          <a:prstGeom prst="triangle">
            <a:avLst>
              <a:gd name="adj" fmla="val 5202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0" name="Isosceles Triangle 19"/>
          <p:cNvSpPr/>
          <p:nvPr/>
        </p:nvSpPr>
        <p:spPr>
          <a:xfrm rot="5400000">
            <a:off x="4120896" y="3425952"/>
            <a:ext cx="685800" cy="826008"/>
          </a:xfrm>
          <a:prstGeom prst="triangle">
            <a:avLst>
              <a:gd name="adj" fmla="val 5202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1" name="Isosceles Triangle 20"/>
          <p:cNvSpPr/>
          <p:nvPr/>
        </p:nvSpPr>
        <p:spPr>
          <a:xfrm rot="5400000">
            <a:off x="4120896" y="4383024"/>
            <a:ext cx="685800" cy="826008"/>
          </a:xfrm>
          <a:prstGeom prst="triangle">
            <a:avLst>
              <a:gd name="adj" fmla="val 5202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2" name="Isosceles Triangle 21"/>
          <p:cNvSpPr/>
          <p:nvPr/>
        </p:nvSpPr>
        <p:spPr>
          <a:xfrm rot="5400000">
            <a:off x="4105656" y="5340096"/>
            <a:ext cx="685800" cy="826008"/>
          </a:xfrm>
          <a:prstGeom prst="triangle">
            <a:avLst>
              <a:gd name="adj" fmla="val 5202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3" name="Rectangle 22"/>
          <p:cNvSpPr/>
          <p:nvPr/>
        </p:nvSpPr>
        <p:spPr>
          <a:xfrm>
            <a:off x="4035552" y="1482196"/>
            <a:ext cx="5337048" cy="685800"/>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4" name="Rectangle 23"/>
          <p:cNvSpPr/>
          <p:nvPr/>
        </p:nvSpPr>
        <p:spPr>
          <a:xfrm>
            <a:off x="4050792" y="2464307"/>
            <a:ext cx="5337048" cy="685800"/>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5" name="Rectangle 24"/>
          <p:cNvSpPr/>
          <p:nvPr/>
        </p:nvSpPr>
        <p:spPr>
          <a:xfrm>
            <a:off x="4050792" y="3472243"/>
            <a:ext cx="5337048" cy="685800"/>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6" name="Rectangle 25"/>
          <p:cNvSpPr/>
          <p:nvPr/>
        </p:nvSpPr>
        <p:spPr>
          <a:xfrm>
            <a:off x="4050792" y="4453128"/>
            <a:ext cx="5337048" cy="685800"/>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7" name="Rectangle 26"/>
          <p:cNvSpPr/>
          <p:nvPr/>
        </p:nvSpPr>
        <p:spPr>
          <a:xfrm>
            <a:off x="4035552" y="5399531"/>
            <a:ext cx="5337048" cy="685800"/>
          </a:xfrm>
          <a:prstGeom prst="rect">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 name="TextBox 27"/>
          <p:cNvSpPr txBox="1"/>
          <p:nvPr/>
        </p:nvSpPr>
        <p:spPr>
          <a:xfrm>
            <a:off x="4861560" y="1563486"/>
            <a:ext cx="3916906" cy="461665"/>
          </a:xfrm>
          <a:prstGeom prst="rect">
            <a:avLst/>
          </a:prstGeom>
          <a:noFill/>
        </p:spPr>
        <p:txBody>
          <a:bodyPr wrap="none" rtlCol="0">
            <a:spAutoFit/>
          </a:bodyPr>
          <a:lstStyle/>
          <a:p>
            <a:r>
              <a:rPr lang="en-US" sz="1200" dirty="0" smtClean="0">
                <a:solidFill>
                  <a:schemeClr val="tx2">
                    <a:lumMod val="50000"/>
                  </a:schemeClr>
                </a:solidFill>
              </a:rPr>
              <a:t>Manages the whole </a:t>
            </a:r>
            <a:r>
              <a:rPr lang="en-US" sz="1200" dirty="0" err="1" smtClean="0">
                <a:solidFill>
                  <a:schemeClr val="tx2">
                    <a:lumMod val="50000"/>
                  </a:schemeClr>
                </a:solidFill>
              </a:rPr>
              <a:t>IoT</a:t>
            </a:r>
            <a:r>
              <a:rPr lang="en-US" sz="1200" dirty="0" smtClean="0">
                <a:solidFill>
                  <a:schemeClr val="tx2">
                    <a:lumMod val="50000"/>
                  </a:schemeClr>
                </a:solidFill>
              </a:rPr>
              <a:t> System, including applications,</a:t>
            </a:r>
          </a:p>
          <a:p>
            <a:r>
              <a:rPr lang="en-US" sz="1200" dirty="0" smtClean="0">
                <a:solidFill>
                  <a:schemeClr val="tx2">
                    <a:lumMod val="50000"/>
                  </a:schemeClr>
                </a:solidFill>
              </a:rPr>
              <a:t>Business and profit models, and user’s privacy</a:t>
            </a:r>
          </a:p>
        </p:txBody>
      </p:sp>
      <p:sp>
        <p:nvSpPr>
          <p:cNvPr id="29" name="TextBox 28"/>
          <p:cNvSpPr txBox="1"/>
          <p:nvPr/>
        </p:nvSpPr>
        <p:spPr>
          <a:xfrm>
            <a:off x="4846320" y="2551777"/>
            <a:ext cx="4526280" cy="461665"/>
          </a:xfrm>
          <a:prstGeom prst="rect">
            <a:avLst/>
          </a:prstGeom>
          <a:noFill/>
        </p:spPr>
        <p:txBody>
          <a:bodyPr wrap="square" rtlCol="0">
            <a:spAutoFit/>
          </a:bodyPr>
          <a:lstStyle/>
          <a:p>
            <a:r>
              <a:rPr lang="en-US" sz="1200" dirty="0" smtClean="0">
                <a:solidFill>
                  <a:schemeClr val="tx2">
                    <a:lumMod val="50000"/>
                  </a:schemeClr>
                </a:solidFill>
              </a:rPr>
              <a:t>Responsible for delivering application specific services to the user</a:t>
            </a:r>
          </a:p>
        </p:txBody>
      </p:sp>
      <p:sp>
        <p:nvSpPr>
          <p:cNvPr id="30" name="TextBox 29"/>
          <p:cNvSpPr txBox="1"/>
          <p:nvPr/>
        </p:nvSpPr>
        <p:spPr>
          <a:xfrm>
            <a:off x="4800601" y="3527708"/>
            <a:ext cx="4572000" cy="461665"/>
          </a:xfrm>
          <a:prstGeom prst="rect">
            <a:avLst/>
          </a:prstGeom>
          <a:noFill/>
        </p:spPr>
        <p:txBody>
          <a:bodyPr wrap="square" rtlCol="0">
            <a:spAutoFit/>
          </a:bodyPr>
          <a:lstStyle/>
          <a:p>
            <a:r>
              <a:rPr lang="en-US" sz="1200" dirty="0" smtClean="0">
                <a:solidFill>
                  <a:schemeClr val="tx2">
                    <a:lumMod val="50000"/>
                  </a:schemeClr>
                </a:solidFill>
              </a:rPr>
              <a:t>Stores, analyses, and processes huge amounts of data. Employs Databases, cloud computing &amp; big data processing modules.</a:t>
            </a:r>
          </a:p>
        </p:txBody>
      </p:sp>
      <p:sp>
        <p:nvSpPr>
          <p:cNvPr id="31" name="TextBox 30"/>
          <p:cNvSpPr txBox="1"/>
          <p:nvPr/>
        </p:nvSpPr>
        <p:spPr>
          <a:xfrm>
            <a:off x="4806697" y="4534418"/>
            <a:ext cx="4565903" cy="461665"/>
          </a:xfrm>
          <a:prstGeom prst="rect">
            <a:avLst/>
          </a:prstGeom>
          <a:noFill/>
        </p:spPr>
        <p:txBody>
          <a:bodyPr wrap="square" rtlCol="0">
            <a:spAutoFit/>
          </a:bodyPr>
          <a:lstStyle/>
          <a:p>
            <a:r>
              <a:rPr lang="en-US" sz="1200" dirty="0" smtClean="0">
                <a:solidFill>
                  <a:schemeClr val="tx2">
                    <a:lumMod val="50000"/>
                  </a:schemeClr>
                </a:solidFill>
              </a:rPr>
              <a:t>Transfers the sensor data between different layer through networks Such as wireless, 3G, LAN, Bluetooth, RFID, and NFC</a:t>
            </a:r>
          </a:p>
        </p:txBody>
      </p:sp>
      <p:sp>
        <p:nvSpPr>
          <p:cNvPr id="32" name="TextBox 31"/>
          <p:cNvSpPr txBox="1"/>
          <p:nvPr/>
        </p:nvSpPr>
        <p:spPr>
          <a:xfrm>
            <a:off x="4907473" y="5603931"/>
            <a:ext cx="4346062" cy="276999"/>
          </a:xfrm>
          <a:prstGeom prst="rect">
            <a:avLst/>
          </a:prstGeom>
          <a:noFill/>
        </p:spPr>
        <p:txBody>
          <a:bodyPr wrap="none" rtlCol="0">
            <a:spAutoFit/>
          </a:bodyPr>
          <a:lstStyle/>
          <a:p>
            <a:r>
              <a:rPr lang="en-US" sz="1200" dirty="0" smtClean="0">
                <a:solidFill>
                  <a:schemeClr val="tx2">
                    <a:lumMod val="50000"/>
                  </a:schemeClr>
                </a:solidFill>
              </a:rPr>
              <a:t>Sensors sense and gather information about the environment</a:t>
            </a:r>
          </a:p>
        </p:txBody>
      </p:sp>
    </p:spTree>
    <p:extLst>
      <p:ext uri="{BB962C8B-B14F-4D97-AF65-F5344CB8AC3E}">
        <p14:creationId xmlns:p14="http://schemas.microsoft.com/office/powerpoint/2010/main" val="339237602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heme/theme1.xml><?xml version="1.0" encoding="utf-8"?>
<a:theme xmlns:a="http://schemas.openxmlformats.org/drawingml/2006/main" name="Theme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Theme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Theme1" id="{78ED3715-0868-4EE4-9187-743F953C61D9}" vid="{61D18CD8-B784-43A8-8A87-AA60187E817C}"/>
    </a:ext>
  </a:extLst>
</a:theme>
</file>

<file path=ppt/theme/theme7.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heme2">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id="{D869233C-1254-4825-B3FC-6B5916926518}" vid="{271A67FD-B187-493C-A67E-1A35636785A6}"/>
    </a:ext>
  </a:extLst>
</a:theme>
</file>

<file path=ppt/theme/theme9.xml><?xml version="1.0" encoding="utf-8"?>
<a:theme xmlns:a="http://schemas.openxmlformats.org/drawingml/2006/main" name="1_Theme2">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id="{D869233C-1254-4825-B3FC-6B5916926518}" vid="{271A67FD-B187-493C-A67E-1A35636785A6}"/>
    </a:ext>
  </a:extLst>
</a:theme>
</file>

<file path=docProps/app.xml><?xml version="1.0" encoding="utf-8"?>
<Properties xmlns="http://schemas.openxmlformats.org/officeDocument/2006/extended-properties" xmlns:vt="http://schemas.openxmlformats.org/officeDocument/2006/docPropsVTypes">
  <Template>Theme1</Template>
  <TotalTime>0</TotalTime>
  <Words>1980</Words>
  <Application>Microsoft Office PowerPoint</Application>
  <PresentationFormat>A4 Paper (210x297 mm)</PresentationFormat>
  <Paragraphs>447</Paragraphs>
  <Slides>28</Slides>
  <Notes>5</Notes>
  <HiddenSlides>0</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28</vt:i4>
      </vt:variant>
    </vt:vector>
  </HeadingPairs>
  <TitlesOfParts>
    <vt:vector size="46" baseType="lpstr">
      <vt:lpstr>Arial</vt:lpstr>
      <vt:lpstr>Calibri</vt:lpstr>
      <vt:lpstr>Georgia</vt:lpstr>
      <vt:lpstr>Helvetica Light</vt:lpstr>
      <vt:lpstr>Times New Roman</vt:lpstr>
      <vt:lpstr>Verdana</vt:lpstr>
      <vt:lpstr>Wingdings</vt:lpstr>
      <vt:lpstr>Theme1</vt:lpstr>
      <vt:lpstr>Closing slides</vt:lpstr>
      <vt:lpstr>Section break</vt:lpstr>
      <vt:lpstr>1_ppt_Template_Capgemini</vt:lpstr>
      <vt:lpstr>2_ppt_Template_Capgemini</vt:lpstr>
      <vt:lpstr>1_Theme1</vt:lpstr>
      <vt:lpstr>1_Closing slides</vt:lpstr>
      <vt:lpstr>Theme2</vt:lpstr>
      <vt:lpstr>1_Theme2</vt:lpstr>
      <vt:lpstr>Capgemini Master</vt:lpstr>
      <vt:lpstr>think-cell Slide</vt:lpstr>
      <vt:lpstr>SAP Leonardo IoT</vt:lpstr>
      <vt:lpstr>Agenda</vt:lpstr>
      <vt:lpstr>What is IoT..?</vt:lpstr>
      <vt:lpstr>IoT Applications:</vt:lpstr>
      <vt:lpstr>Why do we need IoT..?</vt:lpstr>
      <vt:lpstr>Why do we need IoT..?</vt:lpstr>
      <vt:lpstr>Benefits of IoT</vt:lpstr>
      <vt:lpstr>IoT Features…</vt:lpstr>
      <vt:lpstr>IoT Ecosystem</vt:lpstr>
      <vt:lpstr>IoT Offerings:</vt:lpstr>
      <vt:lpstr>Sensors, Connectivity &amp; SAP Cloud Platform</vt:lpstr>
      <vt:lpstr>Sensors, Connectivity &amp; SAP Cloud Platform</vt:lpstr>
      <vt:lpstr>PowerPoint Presentation</vt:lpstr>
      <vt:lpstr>Sensors, Connectivity &amp; SAP Cloud Platform</vt:lpstr>
      <vt:lpstr>SAP’s Vision for an IOT Platform</vt:lpstr>
      <vt:lpstr>PowerPoint Presentation</vt:lpstr>
      <vt:lpstr>SAP Device Management – Functional Capabilities</vt:lpstr>
      <vt:lpstr>SAP Leonardo IOT Foundation – Technical Services</vt:lpstr>
      <vt:lpstr>Extending the Intelligent Enterprise to the Edge</vt:lpstr>
      <vt:lpstr>PowerPoint Presentation</vt:lpstr>
      <vt:lpstr>Essential Business functions service for ERP and S4/HANA</vt:lpstr>
      <vt:lpstr>Essential Business functions service for –  SAP Asset Intelligence Network (AIN)</vt:lpstr>
      <vt:lpstr>SAP IoT Application Enablement</vt:lpstr>
      <vt:lpstr>SAP Leonardo IoT Application Enablement Service</vt:lpstr>
      <vt:lpstr>SAP LEONARDO IOT APPLICATION ENABLEMENT SERVICE</vt:lpstr>
      <vt:lpstr>Developer Experience</vt:lpstr>
      <vt:lpstr>Application Enablement Servi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Leonardo IOT</dc:title>
  <dc:creator/>
  <cp:keywords>ID SAP COE</cp:keywords>
  <cp:lastModifiedBy/>
  <cp:revision>1</cp:revision>
  <dcterms:created xsi:type="dcterms:W3CDTF">2019-04-22T09:49:00Z</dcterms:created>
  <dcterms:modified xsi:type="dcterms:W3CDTF">2019-05-28T09:53:17Z</dcterms:modified>
  <cp:category>ID SAP</cp:category>
</cp:coreProperties>
</file>